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8781" r:id="rId4"/>
    <p:sldMasterId id="2147488788" r:id="rId5"/>
  </p:sldMasterIdLst>
  <p:notesMasterIdLst>
    <p:notesMasterId r:id="rId15"/>
  </p:notesMasterIdLst>
  <p:handoutMasterIdLst>
    <p:handoutMasterId r:id="rId16"/>
  </p:handoutMasterIdLst>
  <p:sldIdLst>
    <p:sldId id="2146847048" r:id="rId6"/>
    <p:sldId id="2146847077" r:id="rId7"/>
    <p:sldId id="2146847576" r:id="rId8"/>
    <p:sldId id="2146847584" r:id="rId9"/>
    <p:sldId id="2146847170" r:id="rId10"/>
    <p:sldId id="2146847574" r:id="rId11"/>
    <p:sldId id="2146847172" r:id="rId12"/>
    <p:sldId id="2146847575" r:id="rId13"/>
    <p:sldId id="2146847577" r:id="rId14"/>
  </p:sldIdLst>
  <p:sldSz cx="9906000" cy="6858000" type="A4"/>
  <p:notesSz cx="6858000" cy="91440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2B7BEE9B-C5D9-4E6C-A228-737609A0A096}">
          <p14:sldIdLst>
            <p14:sldId id="2146847048"/>
          </p14:sldIdLst>
        </p14:section>
        <p14:section name="Introduction" id="{3F1E9871-F69C-45DC-BD0C-067D3A26E7DA}">
          <p14:sldIdLst/>
        </p14:section>
        <p14:section name="Summary Overview" id="{BCF3FCE0-4469-490E-913B-5A8D011796F6}">
          <p14:sldIdLst>
            <p14:sldId id="2146847077"/>
            <p14:sldId id="2146847576"/>
            <p14:sldId id="2146847584"/>
            <p14:sldId id="2146847170"/>
            <p14:sldId id="2146847574"/>
            <p14:sldId id="2146847172"/>
            <p14:sldId id="2146847575"/>
            <p14:sldId id="2146847577"/>
          </p14:sldIdLst>
        </p14:section>
        <p14:section name="Annex" id="{28C936E8-EEA0-4EE4-A162-E82C31CA1CE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071" userDrawn="1">
          <p15:clr>
            <a:srgbClr val="A4A3A4"/>
          </p15:clr>
        </p15:guide>
        <p15:guide id="2" orient="horz" pos="2999" userDrawn="1">
          <p15:clr>
            <a:srgbClr val="A4A3A4"/>
          </p15:clr>
        </p15:guide>
        <p15:guide id="3" pos="3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B288222-D658-395E-091B-B060D92B499C}" name="Derks Maria 101842" initials="D1" userId="S-1-5-21-2733292141-944319808-1953232315-41790" providerId="AD"/>
  <p188:author id="{52D3BB5F-938A-A5C4-2FEA-27765391E2D9}" name="Schlipf Dominik" initials="DS" userId="S::D.Schlipf@transnetbw.de::709dd79b-46fb-43aa-9c7b-5dec1d0911ab" providerId="AD"/>
  <p188:author id="{CE8ADF7E-3153-ABF5-9C14-612E292554B0}" name="Pflanzer Václav" initials="VP" userId="S::pflanzer@ceps.cz::dd649313-377e-4125-b736-9980f49a2890" providerId="AD"/>
  <p188:author id="{AA02EA94-4687-FFBC-3A78-9FCF81999B7A}" name="Kasper, Dr. Ulf Sebastian" initials="UK" userId="S::ulf.Kasper@amprion.net::20335c05-bffb-47fa-8abc-4c227a3b3f52" providerId="AD"/>
  <p188:author id="{C2E055D6-C107-A639-C8D1-B18A6376D2FF}" name="e-ceps\101428" initials="ec" userId="e-ceps\101428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  <p:cmAuthor id="5" name="Florian Evert" initials="FE" lastIdx="2" clrIdx="5">
    <p:extLst>
      <p:ext uri="{19B8F6BF-5375-455C-9EA6-DF929625EA0E}">
        <p15:presenceInfo xmlns:p15="http://schemas.microsoft.com/office/powerpoint/2012/main" userId="S-1-5-21-1227816517-2390591808-2095617564-38029" providerId="AD"/>
      </p:ext>
    </p:extLst>
  </p:cmAuthor>
  <p:cmAuthor id="6" name="Remppis Simon" initials="RS" lastIdx="5" clrIdx="6">
    <p:extLst>
      <p:ext uri="{19B8F6BF-5375-455C-9EA6-DF929625EA0E}">
        <p15:presenceInfo xmlns:p15="http://schemas.microsoft.com/office/powerpoint/2012/main" userId="S::S.Remppis@transnetbw.de::2aef5ab0-cc38-4cab-becd-f8ca1315620f" providerId="AD"/>
      </p:ext>
    </p:extLst>
  </p:cmAuthor>
  <p:cmAuthor id="7" name="Kasper, Dr. Ulf Sebastian" initials="KDUS" lastIdx="2" clrIdx="7">
    <p:extLst>
      <p:ext uri="{19B8F6BF-5375-455C-9EA6-DF929625EA0E}">
        <p15:presenceInfo xmlns:p15="http://schemas.microsoft.com/office/powerpoint/2012/main" userId="S-1-5-21-2885048325-740612993-2269387334-13942" providerId="AD"/>
      </p:ext>
    </p:extLst>
  </p:cmAuthor>
  <p:cmAuthor id="8" name="Pellegrin Cécile" initials="PC" lastIdx="18" clrIdx="8">
    <p:extLst>
      <p:ext uri="{19B8F6BF-5375-455C-9EA6-DF929625EA0E}">
        <p15:presenceInfo xmlns:p15="http://schemas.microsoft.com/office/powerpoint/2012/main" userId="S-1-5-21-2137143959-1876693506-2580398563-11052" providerId="AD"/>
      </p:ext>
    </p:extLst>
  </p:cmAuthor>
  <p:cmAuthor id="9" name="e-ceps\100665" initials="e" lastIdx="3" clrIdx="9">
    <p:extLst>
      <p:ext uri="{19B8F6BF-5375-455C-9EA6-DF929625EA0E}">
        <p15:presenceInfo xmlns:p15="http://schemas.microsoft.com/office/powerpoint/2012/main" userId="e-ceps\100665" providerId="None"/>
      </p:ext>
    </p:extLst>
  </p:cmAuthor>
  <p:cmAuthor id="10" name="Schlipf Dominik  101428" initials="S1" lastIdx="35" clrIdx="10">
    <p:extLst>
      <p:ext uri="{19B8F6BF-5375-455C-9EA6-DF929625EA0E}">
        <p15:presenceInfo xmlns:p15="http://schemas.microsoft.com/office/powerpoint/2012/main" userId="S-1-5-21-2733292141-944319808-1953232315-40670" providerId="AD"/>
      </p:ext>
    </p:extLst>
  </p:cmAuthor>
  <p:cmAuthor id="11" name="Steber David 101525" initials="S1" lastIdx="42" clrIdx="11">
    <p:extLst>
      <p:ext uri="{19B8F6BF-5375-455C-9EA6-DF929625EA0E}">
        <p15:presenceInfo xmlns:p15="http://schemas.microsoft.com/office/powerpoint/2012/main" userId="S-1-5-21-2733292141-944319808-1953232315-40898" providerId="AD"/>
      </p:ext>
    </p:extLst>
  </p:cmAuthor>
  <p:cmAuthor id="12" name="Brun Vanessa 102250" initials="B1" lastIdx="5" clrIdx="12">
    <p:extLst>
      <p:ext uri="{19B8F6BF-5375-455C-9EA6-DF929625EA0E}">
        <p15:presenceInfo xmlns:p15="http://schemas.microsoft.com/office/powerpoint/2012/main" userId="S-1-5-21-2733292141-944319808-1953232315-43224" providerId="AD"/>
      </p:ext>
    </p:extLst>
  </p:cmAuthor>
  <p:cmAuthor id="13" name="Derks Maria 101842" initials="D1" lastIdx="11" clrIdx="13">
    <p:extLst>
      <p:ext uri="{19B8F6BF-5375-455C-9EA6-DF929625EA0E}">
        <p15:presenceInfo xmlns:p15="http://schemas.microsoft.com/office/powerpoint/2012/main" userId="S-1-5-21-2733292141-944319808-1953232315-41790" providerId="AD"/>
      </p:ext>
    </p:extLst>
  </p:cmAuthor>
  <p:cmAuthor id="14" name="Magnant Philippe" initials="MP" lastIdx="11" clrIdx="14">
    <p:extLst>
      <p:ext uri="{19B8F6BF-5375-455C-9EA6-DF929625EA0E}">
        <p15:presenceInfo xmlns:p15="http://schemas.microsoft.com/office/powerpoint/2012/main" userId="S-1-5-21-2137143959-1876693506-2580398563-50940" providerId="AD"/>
      </p:ext>
    </p:extLst>
  </p:cmAuthor>
  <p:cmAuthor id="15" name="Pellegrin Cécile" initials="PC [2]" lastIdx="38" clrIdx="15">
    <p:extLst>
      <p:ext uri="{19B8F6BF-5375-455C-9EA6-DF929625EA0E}">
        <p15:presenceInfo xmlns:p15="http://schemas.microsoft.com/office/powerpoint/2012/main" userId="S::GDK125@Belgrid.net::021e483e-7e46-4a1a-b0a1-acd8d2fcafe6" providerId="AD"/>
      </p:ext>
    </p:extLst>
  </p:cmAuthor>
  <p:cmAuthor id="16" name="Schlipf Dominik" initials="SD" lastIdx="2" clrIdx="16">
    <p:extLst>
      <p:ext uri="{19B8F6BF-5375-455C-9EA6-DF929625EA0E}">
        <p15:presenceInfo xmlns:p15="http://schemas.microsoft.com/office/powerpoint/2012/main" userId="S::D.Schlipf@transnetbw.de::709dd79b-46fb-43aa-9c7b-5dec1d0911ab" providerId="AD"/>
      </p:ext>
    </p:extLst>
  </p:cmAuthor>
  <p:cmAuthor id="17" name="Schindler Jonathan 102214" initials="S1" lastIdx="1" clrIdx="17">
    <p:extLst>
      <p:ext uri="{19B8F6BF-5375-455C-9EA6-DF929625EA0E}">
        <p15:presenceInfo xmlns:p15="http://schemas.microsoft.com/office/powerpoint/2012/main" userId="S-1-5-21-2733292141-944319808-1953232315-42866" providerId="AD"/>
      </p:ext>
    </p:extLst>
  </p:cmAuthor>
  <p:cmAuthor id="18" name="Kindsmüller, Dr. Andreas" initials="KDA" lastIdx="1" clrIdx="18">
    <p:extLst>
      <p:ext uri="{19B8F6BF-5375-455C-9EA6-DF929625EA0E}">
        <p15:presenceInfo xmlns:p15="http://schemas.microsoft.com/office/powerpoint/2012/main" userId="S::Andreas.Kindsmueller@amprion.net::c883c555-d0e5-4065-8e2b-5214fb4922fa" providerId="AD"/>
      </p:ext>
    </p:extLst>
  </p:cmAuthor>
  <p:cmAuthor id="19" name="Kasper, Dr. Ulf Sebastian" initials="KDUS [2]" lastIdx="1" clrIdx="19">
    <p:extLst>
      <p:ext uri="{19B8F6BF-5375-455C-9EA6-DF929625EA0E}">
        <p15:presenceInfo xmlns:p15="http://schemas.microsoft.com/office/powerpoint/2012/main" userId="S::ulf.Kasper@amprion.net::20335c05-bffb-47fa-8abc-4c227a3b3f52" providerId="AD"/>
      </p:ext>
    </p:extLst>
  </p:cmAuthor>
  <p:cmAuthor id="20" name="Magnant Philippe" initials="MP [2]" lastIdx="7" clrIdx="20">
    <p:extLst>
      <p:ext uri="{19B8F6BF-5375-455C-9EA6-DF929625EA0E}">
        <p15:presenceInfo xmlns:p15="http://schemas.microsoft.com/office/powerpoint/2012/main" userId="S::HCA259@Belgrid.net::8957c13f-c36e-4c1b-8734-ac072f95afef" providerId="AD"/>
      </p:ext>
    </p:extLst>
  </p:cmAuthor>
  <p:cmAuthor id="21" name="Susanne Dornick" initials="SD" lastIdx="2" clrIdx="21">
    <p:extLst>
      <p:ext uri="{19B8F6BF-5375-455C-9EA6-DF929625EA0E}">
        <p15:presenceInfo xmlns:p15="http://schemas.microsoft.com/office/powerpoint/2012/main" userId="S::SDornick@e-bridge.com::7e4f279d-63da-4c2d-9759-c2a082094936" providerId="AD"/>
      </p:ext>
    </p:extLst>
  </p:cmAuthor>
  <p:cmAuthor id="22" name="Szer Anna 101106" initials="S1" lastIdx="3" clrIdx="22">
    <p:extLst>
      <p:ext uri="{19B8F6BF-5375-455C-9EA6-DF929625EA0E}">
        <p15:presenceInfo xmlns:p15="http://schemas.microsoft.com/office/powerpoint/2012/main" userId="S-1-5-21-2733292141-944319808-1953232315-39629" providerId="AD"/>
      </p:ext>
    </p:extLst>
  </p:cmAuthor>
  <p:cmAuthor id="23" name="Kasper Ulf 101046" initials="K1" lastIdx="1" clrIdx="23">
    <p:extLst>
      <p:ext uri="{19B8F6BF-5375-455C-9EA6-DF929625EA0E}">
        <p15:presenceInfo xmlns:p15="http://schemas.microsoft.com/office/powerpoint/2012/main" userId="S-1-5-21-2733292141-944319808-1953232315-39559" providerId="AD"/>
      </p:ext>
    </p:extLst>
  </p:cmAuthor>
  <p:cmAuthor id="24" name="Aebi Stefanie" initials="AS" lastIdx="1" clrIdx="24">
    <p:extLst>
      <p:ext uri="{19B8F6BF-5375-455C-9EA6-DF929625EA0E}">
        <p15:presenceInfo xmlns:p15="http://schemas.microsoft.com/office/powerpoint/2012/main" userId="S::stefanie.aebi@swissgrid.ch::8e470f4e-f134-441b-8898-c161125c6f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hiddenSlides="1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82"/>
    <a:srgbClr val="67B9FF"/>
    <a:srgbClr val="002060"/>
    <a:srgbClr val="000000"/>
    <a:srgbClr val="BFBFBF"/>
    <a:srgbClr val="595959"/>
    <a:srgbClr val="FFFFFF"/>
    <a:srgbClr val="1F497D"/>
    <a:srgbClr val="AB5905"/>
    <a:srgbClr val="BDE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71" autoAdjust="0"/>
    <p:restoredTop sz="96357" autoAdjust="0"/>
  </p:normalViewPr>
  <p:slideViewPr>
    <p:cSldViewPr snapToGrid="0">
      <p:cViewPr varScale="1">
        <p:scale>
          <a:sx n="64" d="100"/>
          <a:sy n="64" d="100"/>
        </p:scale>
        <p:origin x="1252" y="48"/>
      </p:cViewPr>
      <p:guideLst>
        <p:guide orient="horz" pos="1071"/>
        <p:guide orient="horz" pos="2999"/>
        <p:guide pos="32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841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5523B9D-8214-22DC-3110-3CB2B9CBB35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EFDF7A-745C-7C37-8E33-762DCD6161C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7AD7CF-D4F2-44C1-BC58-904412505C51}" type="datetimeFigureOut">
              <a:rPr lang="en-US" smtClean="0"/>
              <a:t>11/25/2024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A2457C8-AF14-A0C3-9FE9-4E7F1D3825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7AF438A-29F3-0105-81C5-3495971407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4122B0-FFC2-47FC-84A8-CBEFC2AEC11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9EDAFB-0D03-6BCB-9550-0A774409D1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F10393-5494-426C-B021-084917FEA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380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87033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3824156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781C4-3037-62D9-EBE8-330E33832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65482C-E014-D2C9-0D1E-BBB048C10F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597210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781C4-3037-62D9-EBE8-330E33832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65482C-E014-D2C9-0D1E-BBB048C10F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00605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128846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958437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42343-B7FF-CC28-D94E-E2DA9E08A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5D2E37-BCC3-BDA9-37E6-D8BFB7AF5B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29032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581077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61954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jpe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svg"/><Relationship Id="rId42" Type="http://schemas.openxmlformats.org/officeDocument/2006/relationships/image" Target="../media/image42.svg"/><Relationship Id="rId7" Type="http://schemas.openxmlformats.org/officeDocument/2006/relationships/image" Target="../media/image7.gif"/><Relationship Id="rId2" Type="http://schemas.openxmlformats.org/officeDocument/2006/relationships/image" Target="../media/image2.jpeg"/><Relationship Id="rId16" Type="http://schemas.openxmlformats.org/officeDocument/2006/relationships/image" Target="../media/image16.png"/><Relationship Id="rId20" Type="http://schemas.openxmlformats.org/officeDocument/2006/relationships/image" Target="../media/image20.jpeg"/><Relationship Id="rId29" Type="http://schemas.openxmlformats.org/officeDocument/2006/relationships/image" Target="../media/image29.jpeg"/><Relationship Id="rId41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11" Type="http://schemas.openxmlformats.org/officeDocument/2006/relationships/image" Target="../media/image11.png"/><Relationship Id="rId24" Type="http://schemas.openxmlformats.org/officeDocument/2006/relationships/image" Target="../media/image24.emf"/><Relationship Id="rId32" Type="http://schemas.openxmlformats.org/officeDocument/2006/relationships/image" Target="../media/image32.jpeg"/><Relationship Id="rId37" Type="http://schemas.openxmlformats.org/officeDocument/2006/relationships/image" Target="../media/image37.png"/><Relationship Id="rId40" Type="http://schemas.openxmlformats.org/officeDocument/2006/relationships/image" Target="../media/image40.svg"/><Relationship Id="rId5" Type="http://schemas.openxmlformats.org/officeDocument/2006/relationships/image" Target="../media/image5.jpg"/><Relationship Id="rId15" Type="http://schemas.openxmlformats.org/officeDocument/2006/relationships/image" Target="../media/image15.svg"/><Relationship Id="rId23" Type="http://schemas.openxmlformats.org/officeDocument/2006/relationships/image" Target="../media/image23.emf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10" Type="http://schemas.openxmlformats.org/officeDocument/2006/relationships/image" Target="../media/image10.jpeg"/><Relationship Id="rId19" Type="http://schemas.openxmlformats.org/officeDocument/2006/relationships/image" Target="../media/image19.svg"/><Relationship Id="rId31" Type="http://schemas.openxmlformats.org/officeDocument/2006/relationships/image" Target="../media/image31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svg"/><Relationship Id="rId27" Type="http://schemas.openxmlformats.org/officeDocument/2006/relationships/image" Target="../media/image27.png"/><Relationship Id="rId30" Type="http://schemas.openxmlformats.org/officeDocument/2006/relationships/image" Target="../media/image30.jpeg"/><Relationship Id="rId35" Type="http://schemas.openxmlformats.org/officeDocument/2006/relationships/image" Target="../media/image35.png"/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5" Type="http://schemas.openxmlformats.org/officeDocument/2006/relationships/image" Target="../media/image25.jpeg"/><Relationship Id="rId33" Type="http://schemas.openxmlformats.org/officeDocument/2006/relationships/image" Target="../media/image33.png"/><Relationship Id="rId38" Type="http://schemas.openxmlformats.org/officeDocument/2006/relationships/image" Target="../media/image38.svg"/></Relationships>
</file>

<file path=ppt/slideLayouts/_rels/slideLayout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jpe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svg"/><Relationship Id="rId42" Type="http://schemas.openxmlformats.org/officeDocument/2006/relationships/image" Target="../media/image42.svg"/><Relationship Id="rId7" Type="http://schemas.openxmlformats.org/officeDocument/2006/relationships/image" Target="../media/image7.gif"/><Relationship Id="rId2" Type="http://schemas.openxmlformats.org/officeDocument/2006/relationships/image" Target="../media/image2.jpeg"/><Relationship Id="rId16" Type="http://schemas.openxmlformats.org/officeDocument/2006/relationships/image" Target="../media/image16.png"/><Relationship Id="rId20" Type="http://schemas.openxmlformats.org/officeDocument/2006/relationships/image" Target="../media/image20.jpeg"/><Relationship Id="rId29" Type="http://schemas.openxmlformats.org/officeDocument/2006/relationships/image" Target="../media/image29.jpeg"/><Relationship Id="rId41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11" Type="http://schemas.openxmlformats.org/officeDocument/2006/relationships/image" Target="../media/image11.png"/><Relationship Id="rId24" Type="http://schemas.openxmlformats.org/officeDocument/2006/relationships/image" Target="../media/image24.emf"/><Relationship Id="rId32" Type="http://schemas.openxmlformats.org/officeDocument/2006/relationships/image" Target="../media/image32.jpeg"/><Relationship Id="rId37" Type="http://schemas.openxmlformats.org/officeDocument/2006/relationships/image" Target="../media/image37.png"/><Relationship Id="rId40" Type="http://schemas.openxmlformats.org/officeDocument/2006/relationships/image" Target="../media/image40.svg"/><Relationship Id="rId5" Type="http://schemas.openxmlformats.org/officeDocument/2006/relationships/image" Target="../media/image5.jpg"/><Relationship Id="rId15" Type="http://schemas.openxmlformats.org/officeDocument/2006/relationships/image" Target="../media/image15.svg"/><Relationship Id="rId23" Type="http://schemas.openxmlformats.org/officeDocument/2006/relationships/image" Target="../media/image23.emf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10" Type="http://schemas.openxmlformats.org/officeDocument/2006/relationships/image" Target="../media/image10.jpeg"/><Relationship Id="rId19" Type="http://schemas.openxmlformats.org/officeDocument/2006/relationships/image" Target="../media/image19.svg"/><Relationship Id="rId31" Type="http://schemas.openxmlformats.org/officeDocument/2006/relationships/image" Target="../media/image31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svg"/><Relationship Id="rId27" Type="http://schemas.openxmlformats.org/officeDocument/2006/relationships/image" Target="../media/image27.png"/><Relationship Id="rId30" Type="http://schemas.openxmlformats.org/officeDocument/2006/relationships/image" Target="../media/image30.jpeg"/><Relationship Id="rId35" Type="http://schemas.openxmlformats.org/officeDocument/2006/relationships/image" Target="../media/image35.png"/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5" Type="http://schemas.openxmlformats.org/officeDocument/2006/relationships/image" Target="../media/image25.jpeg"/><Relationship Id="rId33" Type="http://schemas.openxmlformats.org/officeDocument/2006/relationships/image" Target="../media/image33.png"/><Relationship Id="rId38" Type="http://schemas.openxmlformats.org/officeDocument/2006/relationships/image" Target="../media/image38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0" i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640000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AB5905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4320000"/>
          </a:xfrm>
        </p:spPr>
        <p:txBody>
          <a:bodyPr/>
          <a:lstStyle>
            <a:lvl1pPr>
              <a:defRPr b="0" i="0">
                <a:solidFill>
                  <a:srgbClr val="AB5905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2860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897200" y="1784174"/>
            <a:ext cx="7395317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1950" b="1" i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5127654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8F492C-84EC-E4C3-9659-6C750DB842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181DB50-0322-43D5-2B21-3AE2D501C8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4618E9F-5E7A-7595-4565-BBCFDBBC6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080001"/>
            <a:ext cx="8774912" cy="53091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1"/>
            <a:r>
              <a:rPr lang="en-GB" noProof="0" dirty="0"/>
              <a:t>[Add text]</a:t>
            </a:r>
          </a:p>
          <a:p>
            <a:pPr lvl="2"/>
            <a:r>
              <a:rPr lang="en-GB" noProof="0" dirty="0"/>
              <a:t>[Add text]</a:t>
            </a:r>
          </a:p>
          <a:p>
            <a:pPr lvl="3"/>
            <a:r>
              <a:rPr lang="en-GB" noProof="0" dirty="0"/>
              <a:t>[Add text]</a:t>
            </a:r>
          </a:p>
        </p:txBody>
      </p:sp>
    </p:spTree>
    <p:extLst>
      <p:ext uri="{BB962C8B-B14F-4D97-AF65-F5344CB8AC3E}">
        <p14:creationId xmlns:p14="http://schemas.microsoft.com/office/powerpoint/2010/main" val="1188439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B59A47-E689-5DB3-0764-1145BCE1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CC23F5A-9C38-DEE6-DC6D-00F73092F6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455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slide -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34C407-60D9-53C9-D316-70630442E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5894"/>
            <a:ext cx="7932633" cy="371475"/>
          </a:xfrm>
          <a:prstGeom prst="rect">
            <a:avLst/>
          </a:prstGeom>
        </p:spPr>
        <p:txBody>
          <a:bodyPr/>
          <a:lstStyle/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80D-4F5A-5A4B-A853-B190CB172C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/>
              <a:t>Mastertext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07A5BD7F-9935-5545-AA13-A9D4CCF638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561" y="6449526"/>
            <a:ext cx="624557" cy="4152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52108FB-23E0-4454-978B-54EB3005B0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6805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6798796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0" i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376894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AB5905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562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926168" y="2912663"/>
            <a:ext cx="7395317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322"/>
            <a:ext cx="7395317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the meet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5FB8CB5-6E10-2979-542A-4EBEE48228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6648" y="3319766"/>
            <a:ext cx="422354" cy="1454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F95900-904C-F02A-0F92-1EFF6F256A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4717" y="2411655"/>
            <a:ext cx="532101" cy="3322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E8E291B-6534-86DB-40A8-A8B7DBCEA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1726" y="3472967"/>
            <a:ext cx="288089" cy="4290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A43429-E6FF-FD14-989D-5B725AEEFE8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65144" y="3499382"/>
            <a:ext cx="573844" cy="276342"/>
          </a:xfrm>
          <a:prstGeom prst="rect">
            <a:avLst/>
          </a:prstGeom>
        </p:spPr>
      </p:pic>
      <p:pic>
        <p:nvPicPr>
          <p:cNvPr id="6" name="Picture 12">
            <a:extLst>
              <a:ext uri="{FF2B5EF4-FFF2-40B4-BE49-F238E27FC236}">
                <a16:creationId xmlns:a16="http://schemas.microsoft.com/office/drawing/2014/main" id="{4A8456BA-32B6-3F39-E72E-6FA941FC87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269428" y="3972359"/>
            <a:ext cx="855487" cy="168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0F27A9-3616-C837-6029-02BCD00D5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059102" y="1773023"/>
            <a:ext cx="490160" cy="1691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4E4920-729D-7AD6-95B3-72F330B87A0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595" y="3227776"/>
            <a:ext cx="592836" cy="1965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440D2A-E7B9-0F1D-0592-E9F64BC4CD1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648" y="2308102"/>
            <a:ext cx="614614" cy="3841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BA2E0CB-A1A3-FA57-310A-704DA76CCBF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538" y="3818518"/>
            <a:ext cx="327901" cy="3033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1611681-35B1-2CE2-58B7-7616CDE4581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90625" y="4403223"/>
            <a:ext cx="448906" cy="21547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901F1F31-A665-D1D8-6CC3-4CF35A4144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64093" y="4198024"/>
            <a:ext cx="414645" cy="1146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7459666-32C9-FC1B-F776-E23BC647B49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064" y="4619850"/>
            <a:ext cx="435374" cy="22752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35F260C3-DC66-6E67-4916-48FCDCED9AD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1708" y="4187654"/>
            <a:ext cx="643805" cy="13386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DCAEECF-3C1C-DF76-5BDE-D470E798957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079" y="4907492"/>
            <a:ext cx="577379" cy="17043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99CC57ED-C6BA-CD6F-9D9A-E853229D64E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30336" y="4693268"/>
            <a:ext cx="676854" cy="12277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8F6C81E-0438-3532-FB29-02214451A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2765" y="5166907"/>
            <a:ext cx="593685" cy="155426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3F7D4BB-9CE9-7F5F-9786-3317471D8990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68288" y="4462295"/>
            <a:ext cx="808142" cy="9732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402333B-3BB0-2367-EE1D-CABE8CC56F41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14829" y="5431225"/>
            <a:ext cx="568341" cy="20703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BB970F1-0449-223C-5BC3-835EA9179867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191141" y="5726561"/>
            <a:ext cx="392029" cy="20572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2F891CD-5F52-8B4D-DD50-C484879A3214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311188" y="5446689"/>
            <a:ext cx="525653" cy="1582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61B61BA-3451-9CA8-0F9B-75871671140A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280021" y="6014808"/>
            <a:ext cx="587985" cy="20965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FE57573-6803-E801-CD01-2D0854A48C76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293424" y="5201077"/>
            <a:ext cx="593685" cy="1484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2EE3EE6-B337-3D30-9CDF-74F70B279C5C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268288" y="5745692"/>
            <a:ext cx="657218" cy="18289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569EE79-5175-C23B-70E7-7C9B0CBBBFD3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219739" y="1684636"/>
            <a:ext cx="624539" cy="29380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75B6CC1-FF45-FA19-7046-AFD5F6799FB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0319" y="4888883"/>
            <a:ext cx="657890" cy="24706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05B0162-F282-0952-5516-340E1BE95AC5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799933" y="1435623"/>
            <a:ext cx="673419" cy="24706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8F37742-0A8D-D78A-71FB-53681DE56843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72587" y="2073954"/>
            <a:ext cx="471691" cy="236355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49711F22-ABAE-848E-A11D-45C3E94C3608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95785" y="6020587"/>
            <a:ext cx="562406" cy="182896"/>
          </a:xfrm>
          <a:prstGeom prst="rect">
            <a:avLst/>
          </a:prstGeom>
        </p:spPr>
      </p:pic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1FE56AA1-6C07-232E-331A-157764775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/>
          <a:srcRect l="12229" t="22237" r="11435" b="22043"/>
          <a:stretch/>
        </p:blipFill>
        <p:spPr>
          <a:xfrm>
            <a:off x="985302" y="2046846"/>
            <a:ext cx="583371" cy="21712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5E19DC3D-7C47-7DC1-7A71-9010945143F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0" y="2830147"/>
            <a:ext cx="463016" cy="369792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6A38F86-951A-99D1-1889-6EDC4BC64909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62733" y="3050411"/>
            <a:ext cx="695458" cy="132137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65A51B2-CD31-7BBC-55E3-BA95F083FE47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51332" y="1451315"/>
            <a:ext cx="423831" cy="163012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DEA386B9-C325-8201-CBC0-A8CEB0F0363C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36496" y="2774232"/>
            <a:ext cx="684000" cy="85365"/>
          </a:xfrm>
          <a:prstGeom prst="rect">
            <a:avLst/>
          </a:prstGeom>
        </p:spPr>
      </p:pic>
      <p:grpSp>
        <p:nvGrpSpPr>
          <p:cNvPr id="207" name="Graphic 3">
            <a:extLst>
              <a:ext uri="{FF2B5EF4-FFF2-40B4-BE49-F238E27FC236}">
                <a16:creationId xmlns:a16="http://schemas.microsoft.com/office/drawing/2014/main" id="{6C5630B3-5D86-46C2-B8DB-3E03A15F4D6F}"/>
              </a:ext>
            </a:extLst>
          </p:cNvPr>
          <p:cNvGrpSpPr>
            <a:grpSpLocks/>
          </p:cNvGrpSpPr>
          <p:nvPr userDrawn="1"/>
        </p:nvGrpSpPr>
        <p:grpSpPr>
          <a:xfrm>
            <a:off x="5713683" y="4733612"/>
            <a:ext cx="2052000" cy="1641600"/>
            <a:chOff x="66025" y="-34306"/>
            <a:chExt cx="6381750" cy="5895975"/>
          </a:xfrm>
          <a:solidFill>
            <a:srgbClr val="AB5905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DF1C6926-7E09-445D-942D-739A542D1496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97209D62-7999-4AFE-9202-6D9FB0D67525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946B35F7-4880-47FB-A820-C5D1FC523305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9B745E42-BF6B-41F0-B172-A74D4D34C133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5F74314-2332-46A7-A840-E368E4E3689D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C1860C1-92DC-42E3-878B-6453D3683983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D7847173-1BFC-4CB3-A383-DCE33BDF1B4B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F211357D-C519-4D08-B6D9-C690290AE35B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4730C910-FBC7-497C-A170-D9ABDB2FD1D7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69922009-40AA-485F-ACEB-72D71DB3BD0D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D1870B85-1BE1-4EDF-ABE9-DBE80EBE91A4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212315A-EA4E-4CFE-89A4-632D6D372656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5F073723-3662-41EC-8C91-C250BC62F91C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95739E1-EAAE-4CFF-800E-CDAFB71738DA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E3442D4A-0595-47F3-B068-D616390F2649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2B0A1A23-C7C6-4593-8000-1AB3F418EAC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6B3F18D0-4555-4694-8135-E43A13D04B15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6B95CB78-0FFF-435B-9D2E-859A9E5FB8DB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EBA2AC37-E578-444F-81CA-0C447F994635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3786B048-801D-427E-B8A0-5DE6A7F73D78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FD848426-C9FA-4F11-9EDD-D5AA7C2A4440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FE358A75-DC4C-4446-BF86-18225090025C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AB5905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EFB5CBF6-C98A-42B8-BD3E-537669C97C2F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BA85F83-09C1-4ACD-9B61-657716CCDA92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5CA54CCC-6588-41BA-A30E-7B4C8191AB99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20534E79-9AFC-4637-8F2F-5283FD9AC659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9A2D72E-4BED-45BF-B916-A015A475CE82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BFFDB486-829E-4155-86EA-821963653258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022E6BB0-30AB-4649-B619-AD125BC3D05F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2003B5A1-223D-4CFD-A499-E71AFEA1A961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11F58EC9-5155-4018-85E5-8FA89206D507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73B7B7D2-8F31-4F8A-9D35-59763E197301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1E13289D-A2D0-410E-9EC3-DE33E874901F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A98D6D9A-5E62-45B0-9709-A6A5EC194928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4DDA3362-6F00-48C1-BD1B-814213FD64CA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7E838FDC-6056-47B1-9714-5E7E2FCBBCA8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BF58B258-5ADD-4E7A-8CF5-67C5DC71E07E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AB5905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4E5EF0C1-C47D-4B5B-A9D0-44E77A577E27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CACF616B-051B-4341-9D3B-0126B1BB417C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57718A91-CEE4-4F72-A765-488A3B33310A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CE30FA5F-F830-49D5-8A32-21FF56F04D32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2AF4E577-699B-4FE2-8273-6E4EDE2E7529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2F9B6826-2ABF-4ED1-A190-71DB34DCA622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386FF569-DBCD-4575-B42C-8DC139921432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C479E04-1613-4D79-A46C-FDA03029E837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C5814A0C-E3D2-47B1-B168-B8D2108346DC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1EBFD853-89B0-4720-9472-9C4B6F0FB87D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8EB10DCA-5F94-4442-BABF-0DDAF1E1E94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A5378A87-B0DF-4E4A-B01E-EE0C2B2A1A10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32117AE6-699D-4965-BA5F-14EF39C93D71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E1052503-EE97-407D-83B1-54E45DEB74B9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9" name="Graphic 3">
            <a:extLst>
              <a:ext uri="{FF2B5EF4-FFF2-40B4-BE49-F238E27FC236}">
                <a16:creationId xmlns:a16="http://schemas.microsoft.com/office/drawing/2014/main" id="{BA31456A-57A8-4A38-BCFA-3A76CB0CCD9E}"/>
              </a:ext>
            </a:extLst>
          </p:cNvPr>
          <p:cNvGrpSpPr>
            <a:grpSpLocks/>
          </p:cNvGrpSpPr>
          <p:nvPr userDrawn="1"/>
        </p:nvGrpSpPr>
        <p:grpSpPr>
          <a:xfrm>
            <a:off x="3801457" y="3812820"/>
            <a:ext cx="2052000" cy="1641600"/>
            <a:chOff x="66025" y="-34306"/>
            <a:chExt cx="6381750" cy="5895975"/>
          </a:xfrm>
          <a:solidFill>
            <a:srgbClr val="D9DBDC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360" name="Freeform: Shape 207">
              <a:extLst>
                <a:ext uri="{FF2B5EF4-FFF2-40B4-BE49-F238E27FC236}">
                  <a16:creationId xmlns:a16="http://schemas.microsoft.com/office/drawing/2014/main" id="{9BE9CD2B-B2A9-448B-8CF8-5924032A79D2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1" name="Freeform: Shape 208">
              <a:extLst>
                <a:ext uri="{FF2B5EF4-FFF2-40B4-BE49-F238E27FC236}">
                  <a16:creationId xmlns:a16="http://schemas.microsoft.com/office/drawing/2014/main" id="{BFCFC2E3-3BD9-46EC-85CE-058D4DEF814C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2" name="Freeform: Shape 209">
              <a:extLst>
                <a:ext uri="{FF2B5EF4-FFF2-40B4-BE49-F238E27FC236}">
                  <a16:creationId xmlns:a16="http://schemas.microsoft.com/office/drawing/2014/main" id="{4465790A-3345-407B-8FCF-04606A48737B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3" name="Freeform: Shape 210">
              <a:extLst>
                <a:ext uri="{FF2B5EF4-FFF2-40B4-BE49-F238E27FC236}">
                  <a16:creationId xmlns:a16="http://schemas.microsoft.com/office/drawing/2014/main" id="{EE1B4B5B-9617-4585-BB43-B86E6E5857C7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4" name="Freeform: Shape 211">
              <a:extLst>
                <a:ext uri="{FF2B5EF4-FFF2-40B4-BE49-F238E27FC236}">
                  <a16:creationId xmlns:a16="http://schemas.microsoft.com/office/drawing/2014/main" id="{6DB5682F-CD8D-4881-8443-6FDA118129AF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5" name="Freeform: Shape 212">
              <a:extLst>
                <a:ext uri="{FF2B5EF4-FFF2-40B4-BE49-F238E27FC236}">
                  <a16:creationId xmlns:a16="http://schemas.microsoft.com/office/drawing/2014/main" id="{C38907C6-5BD2-4B3F-B82C-DD9412CE7D9A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6" name="Freeform: Shape 213">
              <a:extLst>
                <a:ext uri="{FF2B5EF4-FFF2-40B4-BE49-F238E27FC236}">
                  <a16:creationId xmlns:a16="http://schemas.microsoft.com/office/drawing/2014/main" id="{B94BED68-60E7-4142-8AE7-A324A5FA54B8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7" name="Freeform: Shape 214">
              <a:extLst>
                <a:ext uri="{FF2B5EF4-FFF2-40B4-BE49-F238E27FC236}">
                  <a16:creationId xmlns:a16="http://schemas.microsoft.com/office/drawing/2014/main" id="{07E67F46-1057-4570-B929-952607A4F9C4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8" name="Freeform: Shape 215">
              <a:extLst>
                <a:ext uri="{FF2B5EF4-FFF2-40B4-BE49-F238E27FC236}">
                  <a16:creationId xmlns:a16="http://schemas.microsoft.com/office/drawing/2014/main" id="{DBC05B98-E6D9-4507-9217-51752B3150EC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B8BC53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9" name="Freeform: Shape 216">
              <a:extLst>
                <a:ext uri="{FF2B5EF4-FFF2-40B4-BE49-F238E27FC236}">
                  <a16:creationId xmlns:a16="http://schemas.microsoft.com/office/drawing/2014/main" id="{F71B027A-5791-4FE0-A124-AFB129F788D6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B8BC53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0" name="Freeform: Shape 217">
              <a:extLst>
                <a:ext uri="{FF2B5EF4-FFF2-40B4-BE49-F238E27FC236}">
                  <a16:creationId xmlns:a16="http://schemas.microsoft.com/office/drawing/2014/main" id="{C7133936-E64E-4B0C-B666-11A4A2A65D49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B8BC53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1" name="Freeform: Shape 218">
              <a:extLst>
                <a:ext uri="{FF2B5EF4-FFF2-40B4-BE49-F238E27FC236}">
                  <a16:creationId xmlns:a16="http://schemas.microsoft.com/office/drawing/2014/main" id="{B269942E-88E5-48D5-A5EF-9F42754A4514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2" name="Freeform: Shape 219">
              <a:extLst>
                <a:ext uri="{FF2B5EF4-FFF2-40B4-BE49-F238E27FC236}">
                  <a16:creationId xmlns:a16="http://schemas.microsoft.com/office/drawing/2014/main" id="{10D891EA-BF99-4148-8CD7-E79F2C122E5B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3" name="Freeform: Shape 220">
              <a:extLst>
                <a:ext uri="{FF2B5EF4-FFF2-40B4-BE49-F238E27FC236}">
                  <a16:creationId xmlns:a16="http://schemas.microsoft.com/office/drawing/2014/main" id="{FA590221-AC93-418E-A2C1-4331A2BD8273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6" name="Freeform: Shape 221">
              <a:extLst>
                <a:ext uri="{FF2B5EF4-FFF2-40B4-BE49-F238E27FC236}">
                  <a16:creationId xmlns:a16="http://schemas.microsoft.com/office/drawing/2014/main" id="{78DAD396-2B6D-48C0-8120-1939532B136D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7" name="Freeform: Shape 222">
              <a:extLst>
                <a:ext uri="{FF2B5EF4-FFF2-40B4-BE49-F238E27FC236}">
                  <a16:creationId xmlns:a16="http://schemas.microsoft.com/office/drawing/2014/main" id="{C31E71E0-4B03-4B1F-BDB3-C655A4AC123A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8" name="Freeform: Shape 223">
              <a:extLst>
                <a:ext uri="{FF2B5EF4-FFF2-40B4-BE49-F238E27FC236}">
                  <a16:creationId xmlns:a16="http://schemas.microsoft.com/office/drawing/2014/main" id="{FB7B89AD-8140-41E4-B3B5-84DC03FF9765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9" name="Freeform: Shape 224">
              <a:extLst>
                <a:ext uri="{FF2B5EF4-FFF2-40B4-BE49-F238E27FC236}">
                  <a16:creationId xmlns:a16="http://schemas.microsoft.com/office/drawing/2014/main" id="{D3F7BF3A-EA27-4E40-8CDB-540B500ADC23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0" name="Freeform: Shape 225">
              <a:extLst>
                <a:ext uri="{FF2B5EF4-FFF2-40B4-BE49-F238E27FC236}">
                  <a16:creationId xmlns:a16="http://schemas.microsoft.com/office/drawing/2014/main" id="{CB3A4FF1-D1A0-49A6-9697-B4D18BD13B07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1" name="Freeform: Shape 226">
              <a:extLst>
                <a:ext uri="{FF2B5EF4-FFF2-40B4-BE49-F238E27FC236}">
                  <a16:creationId xmlns:a16="http://schemas.microsoft.com/office/drawing/2014/main" id="{585E86D0-EF21-47E4-A5DA-5A249E002F4F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2" name="Freeform: Shape 227">
              <a:extLst>
                <a:ext uri="{FF2B5EF4-FFF2-40B4-BE49-F238E27FC236}">
                  <a16:creationId xmlns:a16="http://schemas.microsoft.com/office/drawing/2014/main" id="{A485DFEC-69BE-4514-83E3-3E3EA27A6F37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3" name="Freeform: Shape 228">
              <a:extLst>
                <a:ext uri="{FF2B5EF4-FFF2-40B4-BE49-F238E27FC236}">
                  <a16:creationId xmlns:a16="http://schemas.microsoft.com/office/drawing/2014/main" id="{363F7AD6-5DD3-4578-91B0-32DE1B0EC425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4" name="Freeform: Shape 229">
              <a:extLst>
                <a:ext uri="{FF2B5EF4-FFF2-40B4-BE49-F238E27FC236}">
                  <a16:creationId xmlns:a16="http://schemas.microsoft.com/office/drawing/2014/main" id="{F3B91686-589D-4278-BAC4-8D016336E607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5" name="Freeform: Shape 230">
              <a:extLst>
                <a:ext uri="{FF2B5EF4-FFF2-40B4-BE49-F238E27FC236}">
                  <a16:creationId xmlns:a16="http://schemas.microsoft.com/office/drawing/2014/main" id="{2A4357AE-4727-49DC-8D3D-DD1063CB0EB6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6" name="Freeform: Shape 231">
              <a:extLst>
                <a:ext uri="{FF2B5EF4-FFF2-40B4-BE49-F238E27FC236}">
                  <a16:creationId xmlns:a16="http://schemas.microsoft.com/office/drawing/2014/main" id="{38FCC6FF-63EE-47C6-A777-813EB7705F2E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7" name="Freeform: Shape 232">
              <a:extLst>
                <a:ext uri="{FF2B5EF4-FFF2-40B4-BE49-F238E27FC236}">
                  <a16:creationId xmlns:a16="http://schemas.microsoft.com/office/drawing/2014/main" id="{19BBE053-1F16-41E5-9681-428646BBE2A8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8" name="Freeform: Shape 233">
              <a:extLst>
                <a:ext uri="{FF2B5EF4-FFF2-40B4-BE49-F238E27FC236}">
                  <a16:creationId xmlns:a16="http://schemas.microsoft.com/office/drawing/2014/main" id="{821A5F1B-D883-4833-9C97-C7CBDA49A28C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9" name="Freeform: Shape 234">
              <a:extLst>
                <a:ext uri="{FF2B5EF4-FFF2-40B4-BE49-F238E27FC236}">
                  <a16:creationId xmlns:a16="http://schemas.microsoft.com/office/drawing/2014/main" id="{924FC286-51E6-4D26-9A82-38323054D5EC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0" name="Freeform: Shape 235">
              <a:extLst>
                <a:ext uri="{FF2B5EF4-FFF2-40B4-BE49-F238E27FC236}">
                  <a16:creationId xmlns:a16="http://schemas.microsoft.com/office/drawing/2014/main" id="{78EB149C-3963-475D-B2CA-7B0EF172E771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1" name="Freeform: Shape 236">
              <a:extLst>
                <a:ext uri="{FF2B5EF4-FFF2-40B4-BE49-F238E27FC236}">
                  <a16:creationId xmlns:a16="http://schemas.microsoft.com/office/drawing/2014/main" id="{B5E8B1F1-4023-4E49-98EA-15E9EBB8B79B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2" name="Freeform: Shape 237">
              <a:extLst>
                <a:ext uri="{FF2B5EF4-FFF2-40B4-BE49-F238E27FC236}">
                  <a16:creationId xmlns:a16="http://schemas.microsoft.com/office/drawing/2014/main" id="{5E4EAB9D-F6DC-47C0-8670-0B2345FE60CB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3" name="Freeform: Shape 238">
              <a:extLst>
                <a:ext uri="{FF2B5EF4-FFF2-40B4-BE49-F238E27FC236}">
                  <a16:creationId xmlns:a16="http://schemas.microsoft.com/office/drawing/2014/main" id="{6352758A-12C2-45D1-A5B3-20B2E56D0B05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4" name="Freeform: Shape 239">
              <a:extLst>
                <a:ext uri="{FF2B5EF4-FFF2-40B4-BE49-F238E27FC236}">
                  <a16:creationId xmlns:a16="http://schemas.microsoft.com/office/drawing/2014/main" id="{9EE88F9E-706E-4594-AC1F-CFEF6125F0CB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5" name="Freeform: Shape 240">
              <a:extLst>
                <a:ext uri="{FF2B5EF4-FFF2-40B4-BE49-F238E27FC236}">
                  <a16:creationId xmlns:a16="http://schemas.microsoft.com/office/drawing/2014/main" id="{41E50EAA-E65B-489D-A140-D9AA67E8FE98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6" name="Freeform: Shape 241">
              <a:extLst>
                <a:ext uri="{FF2B5EF4-FFF2-40B4-BE49-F238E27FC236}">
                  <a16:creationId xmlns:a16="http://schemas.microsoft.com/office/drawing/2014/main" id="{1248ED66-A4D4-4019-8E2C-5029FDD36B76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7" name="Freeform: Shape 242">
              <a:extLst>
                <a:ext uri="{FF2B5EF4-FFF2-40B4-BE49-F238E27FC236}">
                  <a16:creationId xmlns:a16="http://schemas.microsoft.com/office/drawing/2014/main" id="{4173D4A0-BFCA-435A-A321-ABD10E7BC18E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8" name="Freeform: Shape 243">
              <a:extLst>
                <a:ext uri="{FF2B5EF4-FFF2-40B4-BE49-F238E27FC236}">
                  <a16:creationId xmlns:a16="http://schemas.microsoft.com/office/drawing/2014/main" id="{37CA7899-E54C-4707-A6F5-89854FAA7FA8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9" name="Freeform: Shape 244">
              <a:extLst>
                <a:ext uri="{FF2B5EF4-FFF2-40B4-BE49-F238E27FC236}">
                  <a16:creationId xmlns:a16="http://schemas.microsoft.com/office/drawing/2014/main" id="{4AD62B61-33C0-491D-92FC-B4F1A36BE5FB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0" name="Freeform: Shape 245">
              <a:extLst>
                <a:ext uri="{FF2B5EF4-FFF2-40B4-BE49-F238E27FC236}">
                  <a16:creationId xmlns:a16="http://schemas.microsoft.com/office/drawing/2014/main" id="{2A23FDDC-9B3F-40E9-99E6-89E0CF545C1B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B8BC53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1" name="Freeform: Shape 246">
              <a:extLst>
                <a:ext uri="{FF2B5EF4-FFF2-40B4-BE49-F238E27FC236}">
                  <a16:creationId xmlns:a16="http://schemas.microsoft.com/office/drawing/2014/main" id="{F1CEA002-AB4B-4434-98FC-67FFBE0F449B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2" name="Freeform: Shape 247">
              <a:extLst>
                <a:ext uri="{FF2B5EF4-FFF2-40B4-BE49-F238E27FC236}">
                  <a16:creationId xmlns:a16="http://schemas.microsoft.com/office/drawing/2014/main" id="{00F0D02C-645A-4621-8E7E-3973E9F173A6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3" name="Freeform: Shape 248">
              <a:extLst>
                <a:ext uri="{FF2B5EF4-FFF2-40B4-BE49-F238E27FC236}">
                  <a16:creationId xmlns:a16="http://schemas.microsoft.com/office/drawing/2014/main" id="{3CFFA3C1-4870-4DE7-9687-82863975F96C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4" name="Freeform: Shape 249">
              <a:extLst>
                <a:ext uri="{FF2B5EF4-FFF2-40B4-BE49-F238E27FC236}">
                  <a16:creationId xmlns:a16="http://schemas.microsoft.com/office/drawing/2014/main" id="{402794C5-5BE7-47BB-97CB-F97E1A424E78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5" name="Freeform: Shape 250">
              <a:extLst>
                <a:ext uri="{FF2B5EF4-FFF2-40B4-BE49-F238E27FC236}">
                  <a16:creationId xmlns:a16="http://schemas.microsoft.com/office/drawing/2014/main" id="{064D601D-E8A9-4ECF-B7EA-1B025B989371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6" name="Freeform: Shape 251">
              <a:extLst>
                <a:ext uri="{FF2B5EF4-FFF2-40B4-BE49-F238E27FC236}">
                  <a16:creationId xmlns:a16="http://schemas.microsoft.com/office/drawing/2014/main" id="{D2E9567D-D7F2-4183-A39D-498D295218D6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7" name="Freeform: Shape 252">
              <a:extLst>
                <a:ext uri="{FF2B5EF4-FFF2-40B4-BE49-F238E27FC236}">
                  <a16:creationId xmlns:a16="http://schemas.microsoft.com/office/drawing/2014/main" id="{2CB31E1F-1259-46B2-BE8E-B74588E3E5B9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8" name="Freeform: Shape 253">
              <a:extLst>
                <a:ext uri="{FF2B5EF4-FFF2-40B4-BE49-F238E27FC236}">
                  <a16:creationId xmlns:a16="http://schemas.microsoft.com/office/drawing/2014/main" id="{D00BD463-0641-47B2-9F65-341E0A924827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9" name="Freeform: Shape 254">
              <a:extLst>
                <a:ext uri="{FF2B5EF4-FFF2-40B4-BE49-F238E27FC236}">
                  <a16:creationId xmlns:a16="http://schemas.microsoft.com/office/drawing/2014/main" id="{6FEA3187-1C99-469C-A81E-D6B7A59474A5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0" name="Freeform: Shape 255">
              <a:extLst>
                <a:ext uri="{FF2B5EF4-FFF2-40B4-BE49-F238E27FC236}">
                  <a16:creationId xmlns:a16="http://schemas.microsoft.com/office/drawing/2014/main" id="{CE5E44B2-FB8B-4209-8BE7-3CCC25EF82A3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1" name="Freeform: Shape 256">
              <a:extLst>
                <a:ext uri="{FF2B5EF4-FFF2-40B4-BE49-F238E27FC236}">
                  <a16:creationId xmlns:a16="http://schemas.microsoft.com/office/drawing/2014/main" id="{B58EEAC0-E59E-4E68-950D-9CB5A2069C78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2" name="Freeform: Shape 257">
              <a:extLst>
                <a:ext uri="{FF2B5EF4-FFF2-40B4-BE49-F238E27FC236}">
                  <a16:creationId xmlns:a16="http://schemas.microsoft.com/office/drawing/2014/main" id="{08ED1F34-8ACD-4E40-BA4D-A23A456A363C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15" name="Graphic 3">
            <a:extLst>
              <a:ext uri="{FF2B5EF4-FFF2-40B4-BE49-F238E27FC236}">
                <a16:creationId xmlns:a16="http://schemas.microsoft.com/office/drawing/2014/main" id="{950F6323-C861-4919-9195-A2A7FB96C2DA}"/>
              </a:ext>
            </a:extLst>
          </p:cNvPr>
          <p:cNvGrpSpPr>
            <a:grpSpLocks/>
          </p:cNvGrpSpPr>
          <p:nvPr userDrawn="1"/>
        </p:nvGrpSpPr>
        <p:grpSpPr>
          <a:xfrm>
            <a:off x="1893665" y="4766199"/>
            <a:ext cx="2052000" cy="1641600"/>
            <a:chOff x="66025" y="-34306"/>
            <a:chExt cx="6381750" cy="5895975"/>
          </a:xfrm>
          <a:solidFill>
            <a:srgbClr val="D9DBDC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516" name="Freeform: Shape 207">
              <a:extLst>
                <a:ext uri="{FF2B5EF4-FFF2-40B4-BE49-F238E27FC236}">
                  <a16:creationId xmlns:a16="http://schemas.microsoft.com/office/drawing/2014/main" id="{FED2A8E4-73A7-4BF8-843E-F3FE67CBF860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7" name="Freeform: Shape 208">
              <a:extLst>
                <a:ext uri="{FF2B5EF4-FFF2-40B4-BE49-F238E27FC236}">
                  <a16:creationId xmlns:a16="http://schemas.microsoft.com/office/drawing/2014/main" id="{E329E79E-5D4A-40FC-A88A-7D4557233ACB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8" name="Freeform: Shape 209">
              <a:extLst>
                <a:ext uri="{FF2B5EF4-FFF2-40B4-BE49-F238E27FC236}">
                  <a16:creationId xmlns:a16="http://schemas.microsoft.com/office/drawing/2014/main" id="{3294A837-3542-4587-9B46-6E716858839A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9" name="Freeform: Shape 210">
              <a:extLst>
                <a:ext uri="{FF2B5EF4-FFF2-40B4-BE49-F238E27FC236}">
                  <a16:creationId xmlns:a16="http://schemas.microsoft.com/office/drawing/2014/main" id="{A08D7817-86DC-4D54-B73D-915F709ADD14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0" name="Freeform: Shape 211">
              <a:extLst>
                <a:ext uri="{FF2B5EF4-FFF2-40B4-BE49-F238E27FC236}">
                  <a16:creationId xmlns:a16="http://schemas.microsoft.com/office/drawing/2014/main" id="{D619CCAC-2355-419E-9F03-9E43224B5EAC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1" name="Freeform: Shape 212">
              <a:extLst>
                <a:ext uri="{FF2B5EF4-FFF2-40B4-BE49-F238E27FC236}">
                  <a16:creationId xmlns:a16="http://schemas.microsoft.com/office/drawing/2014/main" id="{ADDDE562-4004-482F-813D-641E307436B0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2" name="Freeform: Shape 213">
              <a:extLst>
                <a:ext uri="{FF2B5EF4-FFF2-40B4-BE49-F238E27FC236}">
                  <a16:creationId xmlns:a16="http://schemas.microsoft.com/office/drawing/2014/main" id="{1511B9FC-0E69-453B-A115-967E00F849AB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3" name="Freeform: Shape 214">
              <a:extLst>
                <a:ext uri="{FF2B5EF4-FFF2-40B4-BE49-F238E27FC236}">
                  <a16:creationId xmlns:a16="http://schemas.microsoft.com/office/drawing/2014/main" id="{4801476A-AD51-418C-B4DD-708035074DE3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4" name="Freeform: Shape 215">
              <a:extLst>
                <a:ext uri="{FF2B5EF4-FFF2-40B4-BE49-F238E27FC236}">
                  <a16:creationId xmlns:a16="http://schemas.microsoft.com/office/drawing/2014/main" id="{92E7A99F-2886-47A1-8FF1-1713EC5C86D6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5" name="Freeform: Shape 216">
              <a:extLst>
                <a:ext uri="{FF2B5EF4-FFF2-40B4-BE49-F238E27FC236}">
                  <a16:creationId xmlns:a16="http://schemas.microsoft.com/office/drawing/2014/main" id="{DD45A704-768E-4C87-B7FA-55AB00FE5B21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6" name="Freeform: Shape 217">
              <a:extLst>
                <a:ext uri="{FF2B5EF4-FFF2-40B4-BE49-F238E27FC236}">
                  <a16:creationId xmlns:a16="http://schemas.microsoft.com/office/drawing/2014/main" id="{8DB9EFD5-2C73-441F-B73C-08E78C471DA1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7" name="Freeform: Shape 218">
              <a:extLst>
                <a:ext uri="{FF2B5EF4-FFF2-40B4-BE49-F238E27FC236}">
                  <a16:creationId xmlns:a16="http://schemas.microsoft.com/office/drawing/2014/main" id="{A1036A72-C9A0-4A06-8033-98343EF858C0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8" name="Freeform: Shape 219">
              <a:extLst>
                <a:ext uri="{FF2B5EF4-FFF2-40B4-BE49-F238E27FC236}">
                  <a16:creationId xmlns:a16="http://schemas.microsoft.com/office/drawing/2014/main" id="{B4ECB645-4BFE-4AA7-A7FD-017C355A8FD2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9" name="Freeform: Shape 220">
              <a:extLst>
                <a:ext uri="{FF2B5EF4-FFF2-40B4-BE49-F238E27FC236}">
                  <a16:creationId xmlns:a16="http://schemas.microsoft.com/office/drawing/2014/main" id="{5DC187EC-BE12-4FAF-982C-DE805EFEB843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0" name="Freeform: Shape 221">
              <a:extLst>
                <a:ext uri="{FF2B5EF4-FFF2-40B4-BE49-F238E27FC236}">
                  <a16:creationId xmlns:a16="http://schemas.microsoft.com/office/drawing/2014/main" id="{F77ED3FF-89DE-4508-9722-45A29DCEA822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1" name="Freeform: Shape 222">
              <a:extLst>
                <a:ext uri="{FF2B5EF4-FFF2-40B4-BE49-F238E27FC236}">
                  <a16:creationId xmlns:a16="http://schemas.microsoft.com/office/drawing/2014/main" id="{1CED5C17-6427-480A-BC34-D962233231EB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2" name="Freeform: Shape 223">
              <a:extLst>
                <a:ext uri="{FF2B5EF4-FFF2-40B4-BE49-F238E27FC236}">
                  <a16:creationId xmlns:a16="http://schemas.microsoft.com/office/drawing/2014/main" id="{72F9D50A-F9B8-43B1-B372-27DB2D7E7F7C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3" name="Freeform: Shape 224">
              <a:extLst>
                <a:ext uri="{FF2B5EF4-FFF2-40B4-BE49-F238E27FC236}">
                  <a16:creationId xmlns:a16="http://schemas.microsoft.com/office/drawing/2014/main" id="{EB8992B7-65EB-46A4-A088-0287BD71F3E2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4" name="Freeform: Shape 225">
              <a:extLst>
                <a:ext uri="{FF2B5EF4-FFF2-40B4-BE49-F238E27FC236}">
                  <a16:creationId xmlns:a16="http://schemas.microsoft.com/office/drawing/2014/main" id="{70A0B587-DFBB-4F7A-B00E-C083BEC29CAE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5" name="Freeform: Shape 226">
              <a:extLst>
                <a:ext uri="{FF2B5EF4-FFF2-40B4-BE49-F238E27FC236}">
                  <a16:creationId xmlns:a16="http://schemas.microsoft.com/office/drawing/2014/main" id="{62B57CA1-7447-414B-B30A-5922236D59B7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6" name="Freeform: Shape 227">
              <a:extLst>
                <a:ext uri="{FF2B5EF4-FFF2-40B4-BE49-F238E27FC236}">
                  <a16:creationId xmlns:a16="http://schemas.microsoft.com/office/drawing/2014/main" id="{92D73E69-3AA5-4AED-8D04-BE425F02B856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7" name="Freeform: Shape 228">
              <a:extLst>
                <a:ext uri="{FF2B5EF4-FFF2-40B4-BE49-F238E27FC236}">
                  <a16:creationId xmlns:a16="http://schemas.microsoft.com/office/drawing/2014/main" id="{BA8C321E-728E-4AA7-9AA4-5463339B8EAF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8" name="Freeform: Shape 229">
              <a:extLst>
                <a:ext uri="{FF2B5EF4-FFF2-40B4-BE49-F238E27FC236}">
                  <a16:creationId xmlns:a16="http://schemas.microsoft.com/office/drawing/2014/main" id="{73806736-6DF9-4EE5-BB07-FB4C2B7A99BB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9" name="Freeform: Shape 230">
              <a:extLst>
                <a:ext uri="{FF2B5EF4-FFF2-40B4-BE49-F238E27FC236}">
                  <a16:creationId xmlns:a16="http://schemas.microsoft.com/office/drawing/2014/main" id="{33436423-BD45-4C1A-B872-C37789E1C10C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0" name="Freeform: Shape 231">
              <a:extLst>
                <a:ext uri="{FF2B5EF4-FFF2-40B4-BE49-F238E27FC236}">
                  <a16:creationId xmlns:a16="http://schemas.microsoft.com/office/drawing/2014/main" id="{2027629A-0E76-42D0-971F-CD5CF3077964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1" name="Freeform: Shape 232">
              <a:extLst>
                <a:ext uri="{FF2B5EF4-FFF2-40B4-BE49-F238E27FC236}">
                  <a16:creationId xmlns:a16="http://schemas.microsoft.com/office/drawing/2014/main" id="{C33D8146-DEFC-451E-BF4F-06FBF8B98D30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2" name="Freeform: Shape 233">
              <a:extLst>
                <a:ext uri="{FF2B5EF4-FFF2-40B4-BE49-F238E27FC236}">
                  <a16:creationId xmlns:a16="http://schemas.microsoft.com/office/drawing/2014/main" id="{8C6C57D5-CD8A-49DC-90F8-AD296CBD9900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3" name="Freeform: Shape 234">
              <a:extLst>
                <a:ext uri="{FF2B5EF4-FFF2-40B4-BE49-F238E27FC236}">
                  <a16:creationId xmlns:a16="http://schemas.microsoft.com/office/drawing/2014/main" id="{BDAC8EBA-F6CD-447C-B62A-101CCD5E42AE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4" name="Freeform: Shape 235">
              <a:extLst>
                <a:ext uri="{FF2B5EF4-FFF2-40B4-BE49-F238E27FC236}">
                  <a16:creationId xmlns:a16="http://schemas.microsoft.com/office/drawing/2014/main" id="{957EC5F6-C36D-43E2-A2C8-AC046A11054B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5" name="Freeform: Shape 236">
              <a:extLst>
                <a:ext uri="{FF2B5EF4-FFF2-40B4-BE49-F238E27FC236}">
                  <a16:creationId xmlns:a16="http://schemas.microsoft.com/office/drawing/2014/main" id="{716CB3FC-BA61-440B-A209-F132AD6B652C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6" name="Freeform: Shape 237">
              <a:extLst>
                <a:ext uri="{FF2B5EF4-FFF2-40B4-BE49-F238E27FC236}">
                  <a16:creationId xmlns:a16="http://schemas.microsoft.com/office/drawing/2014/main" id="{CB631182-3B4B-4794-ACF3-E2725365258B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7" name="Freeform: Shape 238">
              <a:extLst>
                <a:ext uri="{FF2B5EF4-FFF2-40B4-BE49-F238E27FC236}">
                  <a16:creationId xmlns:a16="http://schemas.microsoft.com/office/drawing/2014/main" id="{A70AB619-6494-43B7-A80E-3F16D5BF47A4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8" name="Freeform: Shape 239">
              <a:extLst>
                <a:ext uri="{FF2B5EF4-FFF2-40B4-BE49-F238E27FC236}">
                  <a16:creationId xmlns:a16="http://schemas.microsoft.com/office/drawing/2014/main" id="{6A552C01-7F10-4D03-AA51-D51DE1DA6377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9" name="Freeform: Shape 240">
              <a:extLst>
                <a:ext uri="{FF2B5EF4-FFF2-40B4-BE49-F238E27FC236}">
                  <a16:creationId xmlns:a16="http://schemas.microsoft.com/office/drawing/2014/main" id="{D22D325C-D6FE-49AB-942E-B73639B06DD4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0" name="Freeform: Shape 241">
              <a:extLst>
                <a:ext uri="{FF2B5EF4-FFF2-40B4-BE49-F238E27FC236}">
                  <a16:creationId xmlns:a16="http://schemas.microsoft.com/office/drawing/2014/main" id="{D5C89369-97BB-4607-842F-48DFCD59F429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1" name="Freeform: Shape 242">
              <a:extLst>
                <a:ext uri="{FF2B5EF4-FFF2-40B4-BE49-F238E27FC236}">
                  <a16:creationId xmlns:a16="http://schemas.microsoft.com/office/drawing/2014/main" id="{E0D0E801-E506-4030-AAB6-0C972B1747A5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2" name="Freeform: Shape 243">
              <a:extLst>
                <a:ext uri="{FF2B5EF4-FFF2-40B4-BE49-F238E27FC236}">
                  <a16:creationId xmlns:a16="http://schemas.microsoft.com/office/drawing/2014/main" id="{C5D2D6E2-90BA-4CDA-B019-10023D282F7A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3" name="Freeform: Shape 244">
              <a:extLst>
                <a:ext uri="{FF2B5EF4-FFF2-40B4-BE49-F238E27FC236}">
                  <a16:creationId xmlns:a16="http://schemas.microsoft.com/office/drawing/2014/main" id="{B4268EE0-1D5A-449C-AE7D-B9CB9658C02A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4" name="Freeform: Shape 245">
              <a:extLst>
                <a:ext uri="{FF2B5EF4-FFF2-40B4-BE49-F238E27FC236}">
                  <a16:creationId xmlns:a16="http://schemas.microsoft.com/office/drawing/2014/main" id="{549348AD-2997-4507-A440-72853B466136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5" name="Freeform: Shape 246">
              <a:extLst>
                <a:ext uri="{FF2B5EF4-FFF2-40B4-BE49-F238E27FC236}">
                  <a16:creationId xmlns:a16="http://schemas.microsoft.com/office/drawing/2014/main" id="{81935574-74CD-4C5F-B73C-A258787A1979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6" name="Freeform: Shape 247">
              <a:extLst>
                <a:ext uri="{FF2B5EF4-FFF2-40B4-BE49-F238E27FC236}">
                  <a16:creationId xmlns:a16="http://schemas.microsoft.com/office/drawing/2014/main" id="{96698380-6AC9-4BCA-8127-B615A43CA5E2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7" name="Freeform: Shape 248">
              <a:extLst>
                <a:ext uri="{FF2B5EF4-FFF2-40B4-BE49-F238E27FC236}">
                  <a16:creationId xmlns:a16="http://schemas.microsoft.com/office/drawing/2014/main" id="{CC80A0A4-3B7B-42B2-8D67-59E7593C662D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8" name="Freeform: Shape 249">
              <a:extLst>
                <a:ext uri="{FF2B5EF4-FFF2-40B4-BE49-F238E27FC236}">
                  <a16:creationId xmlns:a16="http://schemas.microsoft.com/office/drawing/2014/main" id="{92285187-3C21-4BAB-A7AB-3B371C889E07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9" name="Freeform: Shape 250">
              <a:extLst>
                <a:ext uri="{FF2B5EF4-FFF2-40B4-BE49-F238E27FC236}">
                  <a16:creationId xmlns:a16="http://schemas.microsoft.com/office/drawing/2014/main" id="{76C8BCEA-99F1-40D8-93CC-77C727E8E3C6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0" name="Freeform: Shape 251">
              <a:extLst>
                <a:ext uri="{FF2B5EF4-FFF2-40B4-BE49-F238E27FC236}">
                  <a16:creationId xmlns:a16="http://schemas.microsoft.com/office/drawing/2014/main" id="{89186125-9613-4E6C-8BAD-2C7B2E3E88D1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1" name="Freeform: Shape 252">
              <a:extLst>
                <a:ext uri="{FF2B5EF4-FFF2-40B4-BE49-F238E27FC236}">
                  <a16:creationId xmlns:a16="http://schemas.microsoft.com/office/drawing/2014/main" id="{814AEC62-7CDE-452C-B276-2FAC0D23E154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2" name="Freeform: Shape 253">
              <a:extLst>
                <a:ext uri="{FF2B5EF4-FFF2-40B4-BE49-F238E27FC236}">
                  <a16:creationId xmlns:a16="http://schemas.microsoft.com/office/drawing/2014/main" id="{4E975ADB-8218-4A0F-A027-A1A65A83E03F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3" name="Freeform: Shape 254">
              <a:extLst>
                <a:ext uri="{FF2B5EF4-FFF2-40B4-BE49-F238E27FC236}">
                  <a16:creationId xmlns:a16="http://schemas.microsoft.com/office/drawing/2014/main" id="{4CD1830C-B303-4ECD-A543-0C24673629A3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4" name="Freeform: Shape 255">
              <a:extLst>
                <a:ext uri="{FF2B5EF4-FFF2-40B4-BE49-F238E27FC236}">
                  <a16:creationId xmlns:a16="http://schemas.microsoft.com/office/drawing/2014/main" id="{A0033C3B-1EF7-4F3B-ADC8-4DDE8A1F3F9B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5" name="Freeform: Shape 256">
              <a:extLst>
                <a:ext uri="{FF2B5EF4-FFF2-40B4-BE49-F238E27FC236}">
                  <a16:creationId xmlns:a16="http://schemas.microsoft.com/office/drawing/2014/main" id="{F25F7842-8099-4B5F-8ACC-0D49B6B4914C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6" name="Freeform: Shape 257">
              <a:extLst>
                <a:ext uri="{FF2B5EF4-FFF2-40B4-BE49-F238E27FC236}">
                  <a16:creationId xmlns:a16="http://schemas.microsoft.com/office/drawing/2014/main" id="{37C6BDBF-AAE2-4035-BE69-7158E18DD3F2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2" name="Graphic 3">
            <a:extLst>
              <a:ext uri="{FF2B5EF4-FFF2-40B4-BE49-F238E27FC236}">
                <a16:creationId xmlns:a16="http://schemas.microsoft.com/office/drawing/2014/main" id="{6C5630B3-5D86-46C2-B8DB-3E03A15F4D6F}"/>
              </a:ext>
            </a:extLst>
          </p:cNvPr>
          <p:cNvGrpSpPr>
            <a:grpSpLocks/>
          </p:cNvGrpSpPr>
          <p:nvPr userDrawn="1"/>
        </p:nvGrpSpPr>
        <p:grpSpPr>
          <a:xfrm>
            <a:off x="7621884" y="3794506"/>
            <a:ext cx="2052000" cy="1641600"/>
            <a:chOff x="66025" y="-34306"/>
            <a:chExt cx="6381750" cy="5895975"/>
          </a:xfrm>
          <a:solidFill>
            <a:srgbClr val="D9DBDC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313" name="Freeform: Shape 207">
              <a:extLst>
                <a:ext uri="{FF2B5EF4-FFF2-40B4-BE49-F238E27FC236}">
                  <a16:creationId xmlns:a16="http://schemas.microsoft.com/office/drawing/2014/main" id="{DF1C6926-7E09-445D-942D-739A542D1496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4" name="Freeform: Shape 208">
              <a:extLst>
                <a:ext uri="{FF2B5EF4-FFF2-40B4-BE49-F238E27FC236}">
                  <a16:creationId xmlns:a16="http://schemas.microsoft.com/office/drawing/2014/main" id="{97209D62-7999-4AFE-9202-6D9FB0D67525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5" name="Freeform: Shape 209">
              <a:extLst>
                <a:ext uri="{FF2B5EF4-FFF2-40B4-BE49-F238E27FC236}">
                  <a16:creationId xmlns:a16="http://schemas.microsoft.com/office/drawing/2014/main" id="{946B35F7-4880-47FB-A820-C5D1FC523305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6" name="Freeform: Shape 210">
              <a:extLst>
                <a:ext uri="{FF2B5EF4-FFF2-40B4-BE49-F238E27FC236}">
                  <a16:creationId xmlns:a16="http://schemas.microsoft.com/office/drawing/2014/main" id="{9B745E42-BF6B-41F0-B172-A74D4D34C133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7" name="Freeform: Shape 211">
              <a:extLst>
                <a:ext uri="{FF2B5EF4-FFF2-40B4-BE49-F238E27FC236}">
                  <a16:creationId xmlns:a16="http://schemas.microsoft.com/office/drawing/2014/main" id="{65F74314-2332-46A7-A840-E368E4E3689D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8" name="Freeform: Shape 212">
              <a:extLst>
                <a:ext uri="{FF2B5EF4-FFF2-40B4-BE49-F238E27FC236}">
                  <a16:creationId xmlns:a16="http://schemas.microsoft.com/office/drawing/2014/main" id="{7C1860C1-92DC-42E3-878B-6453D3683983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9" name="Freeform: Shape 213">
              <a:extLst>
                <a:ext uri="{FF2B5EF4-FFF2-40B4-BE49-F238E27FC236}">
                  <a16:creationId xmlns:a16="http://schemas.microsoft.com/office/drawing/2014/main" id="{D7847173-1BFC-4CB3-A383-DCE33BDF1B4B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0" name="Freeform: Shape 214">
              <a:extLst>
                <a:ext uri="{FF2B5EF4-FFF2-40B4-BE49-F238E27FC236}">
                  <a16:creationId xmlns:a16="http://schemas.microsoft.com/office/drawing/2014/main" id="{F211357D-C519-4D08-B6D9-C690290AE35B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1" name="Freeform: Shape 215">
              <a:extLst>
                <a:ext uri="{FF2B5EF4-FFF2-40B4-BE49-F238E27FC236}">
                  <a16:creationId xmlns:a16="http://schemas.microsoft.com/office/drawing/2014/main" id="{4730C910-FBC7-497C-A170-D9ABDB2FD1D7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2" name="Freeform: Shape 216">
              <a:extLst>
                <a:ext uri="{FF2B5EF4-FFF2-40B4-BE49-F238E27FC236}">
                  <a16:creationId xmlns:a16="http://schemas.microsoft.com/office/drawing/2014/main" id="{69922009-40AA-485F-ACEB-72D71DB3BD0D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3" name="Freeform: Shape 217">
              <a:extLst>
                <a:ext uri="{FF2B5EF4-FFF2-40B4-BE49-F238E27FC236}">
                  <a16:creationId xmlns:a16="http://schemas.microsoft.com/office/drawing/2014/main" id="{D1870B85-1BE1-4EDF-ABE9-DBE80EBE91A4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4" name="Freeform: Shape 218">
              <a:extLst>
                <a:ext uri="{FF2B5EF4-FFF2-40B4-BE49-F238E27FC236}">
                  <a16:creationId xmlns:a16="http://schemas.microsoft.com/office/drawing/2014/main" id="{6212315A-EA4E-4CFE-89A4-632D6D372656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5" name="Freeform: Shape 219">
              <a:extLst>
                <a:ext uri="{FF2B5EF4-FFF2-40B4-BE49-F238E27FC236}">
                  <a16:creationId xmlns:a16="http://schemas.microsoft.com/office/drawing/2014/main" id="{5F073723-3662-41EC-8C91-C250BC62F91C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6" name="Freeform: Shape 220">
              <a:extLst>
                <a:ext uri="{FF2B5EF4-FFF2-40B4-BE49-F238E27FC236}">
                  <a16:creationId xmlns:a16="http://schemas.microsoft.com/office/drawing/2014/main" id="{695739E1-EAAE-4CFF-800E-CDAFB71738DA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7" name="Freeform: Shape 221">
              <a:extLst>
                <a:ext uri="{FF2B5EF4-FFF2-40B4-BE49-F238E27FC236}">
                  <a16:creationId xmlns:a16="http://schemas.microsoft.com/office/drawing/2014/main" id="{E3442D4A-0595-47F3-B068-D616390F2649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4BB2F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8" name="Freeform: Shape 222">
              <a:extLst>
                <a:ext uri="{FF2B5EF4-FFF2-40B4-BE49-F238E27FC236}">
                  <a16:creationId xmlns:a16="http://schemas.microsoft.com/office/drawing/2014/main" id="{2B0A1A23-C7C6-4593-8000-1AB3F418EAC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7F7F7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9" name="Freeform: Shape 223">
              <a:extLst>
                <a:ext uri="{FF2B5EF4-FFF2-40B4-BE49-F238E27FC236}">
                  <a16:creationId xmlns:a16="http://schemas.microsoft.com/office/drawing/2014/main" id="{6B3F18D0-4555-4694-8135-E43A13D04B15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0" name="Freeform: Shape 224">
              <a:extLst>
                <a:ext uri="{FF2B5EF4-FFF2-40B4-BE49-F238E27FC236}">
                  <a16:creationId xmlns:a16="http://schemas.microsoft.com/office/drawing/2014/main" id="{6B95CB78-0FFF-435B-9D2E-859A9E5FB8DB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1" name="Freeform: Shape 225">
              <a:extLst>
                <a:ext uri="{FF2B5EF4-FFF2-40B4-BE49-F238E27FC236}">
                  <a16:creationId xmlns:a16="http://schemas.microsoft.com/office/drawing/2014/main" id="{EBA2AC37-E578-444F-81CA-0C447F994635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2" name="Freeform: Shape 226">
              <a:extLst>
                <a:ext uri="{FF2B5EF4-FFF2-40B4-BE49-F238E27FC236}">
                  <a16:creationId xmlns:a16="http://schemas.microsoft.com/office/drawing/2014/main" id="{3786B048-801D-427E-B8A0-5DE6A7F73D78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3" name="Freeform: Shape 227">
              <a:extLst>
                <a:ext uri="{FF2B5EF4-FFF2-40B4-BE49-F238E27FC236}">
                  <a16:creationId xmlns:a16="http://schemas.microsoft.com/office/drawing/2014/main" id="{FD848426-C9FA-4F11-9EDD-D5AA7C2A4440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4" name="Freeform: Shape 228">
              <a:extLst>
                <a:ext uri="{FF2B5EF4-FFF2-40B4-BE49-F238E27FC236}">
                  <a16:creationId xmlns:a16="http://schemas.microsoft.com/office/drawing/2014/main" id="{FE358A75-DC4C-4446-BF86-18225090025C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5" name="Freeform: Shape 229">
              <a:extLst>
                <a:ext uri="{FF2B5EF4-FFF2-40B4-BE49-F238E27FC236}">
                  <a16:creationId xmlns:a16="http://schemas.microsoft.com/office/drawing/2014/main" id="{EFB5CBF6-C98A-42B8-BD3E-537669C97C2F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6" name="Freeform: Shape 230">
              <a:extLst>
                <a:ext uri="{FF2B5EF4-FFF2-40B4-BE49-F238E27FC236}">
                  <a16:creationId xmlns:a16="http://schemas.microsoft.com/office/drawing/2014/main" id="{4BA85F83-09C1-4ACD-9B61-657716CCDA92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7" name="Freeform: Shape 231">
              <a:extLst>
                <a:ext uri="{FF2B5EF4-FFF2-40B4-BE49-F238E27FC236}">
                  <a16:creationId xmlns:a16="http://schemas.microsoft.com/office/drawing/2014/main" id="{5CA54CCC-6588-41BA-A30E-7B4C8191AB99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8" name="Freeform: Shape 232">
              <a:extLst>
                <a:ext uri="{FF2B5EF4-FFF2-40B4-BE49-F238E27FC236}">
                  <a16:creationId xmlns:a16="http://schemas.microsoft.com/office/drawing/2014/main" id="{20534E79-9AFC-4637-8F2F-5283FD9AC659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9" name="Freeform: Shape 233">
              <a:extLst>
                <a:ext uri="{FF2B5EF4-FFF2-40B4-BE49-F238E27FC236}">
                  <a16:creationId xmlns:a16="http://schemas.microsoft.com/office/drawing/2014/main" id="{79A2D72E-4BED-45BF-B916-A015A475CE82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0" name="Freeform: Shape 234">
              <a:extLst>
                <a:ext uri="{FF2B5EF4-FFF2-40B4-BE49-F238E27FC236}">
                  <a16:creationId xmlns:a16="http://schemas.microsoft.com/office/drawing/2014/main" id="{BFFDB486-829E-4155-86EA-821963653258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1" name="Freeform: Shape 235">
              <a:extLst>
                <a:ext uri="{FF2B5EF4-FFF2-40B4-BE49-F238E27FC236}">
                  <a16:creationId xmlns:a16="http://schemas.microsoft.com/office/drawing/2014/main" id="{022E6BB0-30AB-4649-B619-AD125BC3D05F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2" name="Freeform: Shape 236">
              <a:extLst>
                <a:ext uri="{FF2B5EF4-FFF2-40B4-BE49-F238E27FC236}">
                  <a16:creationId xmlns:a16="http://schemas.microsoft.com/office/drawing/2014/main" id="{2003B5A1-223D-4CFD-A499-E71AFEA1A961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3" name="Freeform: Shape 237">
              <a:extLst>
                <a:ext uri="{FF2B5EF4-FFF2-40B4-BE49-F238E27FC236}">
                  <a16:creationId xmlns:a16="http://schemas.microsoft.com/office/drawing/2014/main" id="{11F58EC9-5155-4018-85E5-8FA89206D507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4" name="Freeform: Shape 238">
              <a:extLst>
                <a:ext uri="{FF2B5EF4-FFF2-40B4-BE49-F238E27FC236}">
                  <a16:creationId xmlns:a16="http://schemas.microsoft.com/office/drawing/2014/main" id="{73B7B7D2-8F31-4F8A-9D35-59763E197301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5" name="Freeform: Shape 239">
              <a:extLst>
                <a:ext uri="{FF2B5EF4-FFF2-40B4-BE49-F238E27FC236}">
                  <a16:creationId xmlns:a16="http://schemas.microsoft.com/office/drawing/2014/main" id="{1E13289D-A2D0-410E-9EC3-DE33E874901F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6" name="Freeform: Shape 240">
              <a:extLst>
                <a:ext uri="{FF2B5EF4-FFF2-40B4-BE49-F238E27FC236}">
                  <a16:creationId xmlns:a16="http://schemas.microsoft.com/office/drawing/2014/main" id="{A98D6D9A-5E62-45B0-9709-A6A5EC194928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7" name="Freeform: Shape 241">
              <a:extLst>
                <a:ext uri="{FF2B5EF4-FFF2-40B4-BE49-F238E27FC236}">
                  <a16:creationId xmlns:a16="http://schemas.microsoft.com/office/drawing/2014/main" id="{4DDA3362-6F00-48C1-BD1B-814213FD64CA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8" name="Freeform: Shape 242">
              <a:extLst>
                <a:ext uri="{FF2B5EF4-FFF2-40B4-BE49-F238E27FC236}">
                  <a16:creationId xmlns:a16="http://schemas.microsoft.com/office/drawing/2014/main" id="{7E838FDC-6056-47B1-9714-5E7E2FCBBCA8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9" name="Freeform: Shape 243">
              <a:extLst>
                <a:ext uri="{FF2B5EF4-FFF2-40B4-BE49-F238E27FC236}">
                  <a16:creationId xmlns:a16="http://schemas.microsoft.com/office/drawing/2014/main" id="{BF58B258-5ADD-4E7A-8CF5-67C5DC71E07E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0" name="Freeform: Shape 244">
              <a:extLst>
                <a:ext uri="{FF2B5EF4-FFF2-40B4-BE49-F238E27FC236}">
                  <a16:creationId xmlns:a16="http://schemas.microsoft.com/office/drawing/2014/main" id="{4E5EF0C1-C47D-4B5B-A9D0-44E77A577E27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BDE3F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1" name="Freeform: Shape 245">
              <a:extLst>
                <a:ext uri="{FF2B5EF4-FFF2-40B4-BE49-F238E27FC236}">
                  <a16:creationId xmlns:a16="http://schemas.microsoft.com/office/drawing/2014/main" id="{CACF616B-051B-4341-9D3B-0126B1BB417C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2" name="Freeform: Shape 246">
              <a:extLst>
                <a:ext uri="{FF2B5EF4-FFF2-40B4-BE49-F238E27FC236}">
                  <a16:creationId xmlns:a16="http://schemas.microsoft.com/office/drawing/2014/main" id="{57718A91-CEE4-4F72-A765-488A3B33310A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3" name="Freeform: Shape 247">
              <a:extLst>
                <a:ext uri="{FF2B5EF4-FFF2-40B4-BE49-F238E27FC236}">
                  <a16:creationId xmlns:a16="http://schemas.microsoft.com/office/drawing/2014/main" id="{CE30FA5F-F830-49D5-8A32-21FF56F04D32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4" name="Freeform: Shape 248">
              <a:extLst>
                <a:ext uri="{FF2B5EF4-FFF2-40B4-BE49-F238E27FC236}">
                  <a16:creationId xmlns:a16="http://schemas.microsoft.com/office/drawing/2014/main" id="{2AF4E577-699B-4FE2-8273-6E4EDE2E7529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7F7F7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5" name="Freeform: Shape 249">
              <a:extLst>
                <a:ext uri="{FF2B5EF4-FFF2-40B4-BE49-F238E27FC236}">
                  <a16:creationId xmlns:a16="http://schemas.microsoft.com/office/drawing/2014/main" id="{2F9B6826-2ABF-4ED1-A190-71DB34DCA622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6" name="Freeform: Shape 250">
              <a:extLst>
                <a:ext uri="{FF2B5EF4-FFF2-40B4-BE49-F238E27FC236}">
                  <a16:creationId xmlns:a16="http://schemas.microsoft.com/office/drawing/2014/main" id="{386FF569-DBCD-4575-B42C-8DC139921432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7F7F7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7" name="Freeform: Shape 251">
              <a:extLst>
                <a:ext uri="{FF2B5EF4-FFF2-40B4-BE49-F238E27FC236}">
                  <a16:creationId xmlns:a16="http://schemas.microsoft.com/office/drawing/2014/main" id="{0C479E04-1613-4D79-A46C-FDA03029E837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8" name="Freeform: Shape 252">
              <a:extLst>
                <a:ext uri="{FF2B5EF4-FFF2-40B4-BE49-F238E27FC236}">
                  <a16:creationId xmlns:a16="http://schemas.microsoft.com/office/drawing/2014/main" id="{C5814A0C-E3D2-47B1-B168-B8D2108346DC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4" name="Freeform: Shape 253">
              <a:extLst>
                <a:ext uri="{FF2B5EF4-FFF2-40B4-BE49-F238E27FC236}">
                  <a16:creationId xmlns:a16="http://schemas.microsoft.com/office/drawing/2014/main" id="{1EBFD853-89B0-4720-9472-9C4B6F0FB87D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2" name="Freeform: Shape 254">
              <a:extLst>
                <a:ext uri="{FF2B5EF4-FFF2-40B4-BE49-F238E27FC236}">
                  <a16:creationId xmlns:a16="http://schemas.microsoft.com/office/drawing/2014/main" id="{8EB10DCA-5F94-4442-BABF-0DDAF1E1E94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3" name="Freeform: Shape 255">
              <a:extLst>
                <a:ext uri="{FF2B5EF4-FFF2-40B4-BE49-F238E27FC236}">
                  <a16:creationId xmlns:a16="http://schemas.microsoft.com/office/drawing/2014/main" id="{A5378A87-B0DF-4E4A-B01E-EE0C2B2A1A10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4" name="Freeform: Shape 256">
              <a:extLst>
                <a:ext uri="{FF2B5EF4-FFF2-40B4-BE49-F238E27FC236}">
                  <a16:creationId xmlns:a16="http://schemas.microsoft.com/office/drawing/2014/main" id="{32117AE6-699D-4965-BA5F-14EF39C93D71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5" name="Freeform: Shape 257">
              <a:extLst>
                <a:ext uri="{FF2B5EF4-FFF2-40B4-BE49-F238E27FC236}">
                  <a16:creationId xmlns:a16="http://schemas.microsoft.com/office/drawing/2014/main" id="{E1052503-EE97-407D-83B1-54E45DEB74B9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970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800"/>
            <a:ext cx="7395317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AB5905"/>
                </a:solidFill>
              </a:defRPr>
            </a:lvl1pPr>
          </a:lstStyle>
          <a:p>
            <a:pPr lvl="0"/>
            <a:r>
              <a:rPr lang="en-US"/>
              <a:t>Appendi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EF3EB35-9B7F-3275-A19C-9195E8FC6E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6648" y="3319766"/>
            <a:ext cx="422354" cy="1454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2568D6D-58ED-CC2C-1AB0-93DD9D0C36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4717" y="2411655"/>
            <a:ext cx="532101" cy="332272"/>
          </a:xfrm>
          <a:prstGeom prst="rect">
            <a:avLst/>
          </a:prstGeom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301864AF-194A-7D9A-A084-137FACD0BD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1726" y="3472967"/>
            <a:ext cx="288089" cy="429002"/>
          </a:xfrm>
          <a:prstGeom prst="rect">
            <a:avLst/>
          </a:prstGeom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0656321B-2BB6-995E-422C-09EE95D05DF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65144" y="3499382"/>
            <a:ext cx="573844" cy="276342"/>
          </a:xfrm>
          <a:prstGeom prst="rect">
            <a:avLst/>
          </a:prstGeom>
        </p:spPr>
      </p:pic>
      <p:pic>
        <p:nvPicPr>
          <p:cNvPr id="7" name="Picture 12">
            <a:extLst>
              <a:ext uri="{FF2B5EF4-FFF2-40B4-BE49-F238E27FC236}">
                <a16:creationId xmlns:a16="http://schemas.microsoft.com/office/drawing/2014/main" id="{9A342A5E-5C71-7118-995C-2F729F8E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269428" y="3972359"/>
            <a:ext cx="855487" cy="168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DD137FD6-F751-0B70-453A-CC06152AD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059102" y="1773023"/>
            <a:ext cx="490160" cy="169107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7CBB37A-35B9-1CE8-4C36-7095BF9FADA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595" y="3227776"/>
            <a:ext cx="592836" cy="196596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20D0F240-CCF0-D6D7-03A0-EF2D0F3604B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648" y="2308102"/>
            <a:ext cx="614614" cy="384134"/>
          </a:xfrm>
          <a:prstGeom prst="rect">
            <a:avLst/>
          </a:prstGeom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id="{0E67F0D6-F21B-A533-6C49-159742A793D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538" y="3818518"/>
            <a:ext cx="327901" cy="303330"/>
          </a:xfrm>
          <a:prstGeom prst="rect">
            <a:avLst/>
          </a:prstGeom>
        </p:spPr>
      </p:pic>
      <p:pic>
        <p:nvPicPr>
          <p:cNvPr id="12" name="Picture 10">
            <a:extLst>
              <a:ext uri="{FF2B5EF4-FFF2-40B4-BE49-F238E27FC236}">
                <a16:creationId xmlns:a16="http://schemas.microsoft.com/office/drawing/2014/main" id="{3097DFE0-A15F-5D0E-BD65-9CD2385ADFB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90625" y="4403223"/>
            <a:ext cx="448906" cy="215470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2E8C6C73-8424-2D38-3D54-1DE537DC2F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64093" y="4198024"/>
            <a:ext cx="414645" cy="1146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2">
            <a:extLst>
              <a:ext uri="{FF2B5EF4-FFF2-40B4-BE49-F238E27FC236}">
                <a16:creationId xmlns:a16="http://schemas.microsoft.com/office/drawing/2014/main" id="{A6E712E2-B960-4F3C-79DA-D9CCA2F21EF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064" y="4619850"/>
            <a:ext cx="435374" cy="227524"/>
          </a:xfrm>
          <a:prstGeom prst="rect">
            <a:avLst/>
          </a:prstGeom>
        </p:spPr>
      </p:pic>
      <p:pic>
        <p:nvPicPr>
          <p:cNvPr id="15" name="Graphic 13">
            <a:extLst>
              <a:ext uri="{FF2B5EF4-FFF2-40B4-BE49-F238E27FC236}">
                <a16:creationId xmlns:a16="http://schemas.microsoft.com/office/drawing/2014/main" id="{05FAC8F5-E531-B7F6-136B-19AE17F7731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1708" y="4187654"/>
            <a:ext cx="643805" cy="133861"/>
          </a:xfrm>
          <a:prstGeom prst="rect">
            <a:avLst/>
          </a:prstGeom>
        </p:spPr>
      </p:pic>
      <p:pic>
        <p:nvPicPr>
          <p:cNvPr id="16" name="Graphic 16">
            <a:extLst>
              <a:ext uri="{FF2B5EF4-FFF2-40B4-BE49-F238E27FC236}">
                <a16:creationId xmlns:a16="http://schemas.microsoft.com/office/drawing/2014/main" id="{2EB8DEA5-1E69-27F7-864C-CD323E58217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079" y="4907492"/>
            <a:ext cx="577379" cy="170431"/>
          </a:xfrm>
          <a:prstGeom prst="rect">
            <a:avLst/>
          </a:prstGeom>
        </p:spPr>
      </p:pic>
      <p:pic>
        <p:nvPicPr>
          <p:cNvPr id="17" name="Graphic 17">
            <a:extLst>
              <a:ext uri="{FF2B5EF4-FFF2-40B4-BE49-F238E27FC236}">
                <a16:creationId xmlns:a16="http://schemas.microsoft.com/office/drawing/2014/main" id="{A4CD5DD6-163C-AA1A-3DFA-25C4B213BB5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30336" y="4693268"/>
            <a:ext cx="676854" cy="122778"/>
          </a:xfrm>
          <a:prstGeom prst="rect">
            <a:avLst/>
          </a:prstGeom>
        </p:spPr>
      </p:pic>
      <p:pic>
        <p:nvPicPr>
          <p:cNvPr id="18" name="Picture 18">
            <a:extLst>
              <a:ext uri="{FF2B5EF4-FFF2-40B4-BE49-F238E27FC236}">
                <a16:creationId xmlns:a16="http://schemas.microsoft.com/office/drawing/2014/main" id="{5045BE3B-8FB0-0A8A-AE71-9ABFFFA6D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2765" y="5166907"/>
            <a:ext cx="593685" cy="155426"/>
          </a:xfrm>
          <a:prstGeom prst="rect">
            <a:avLst/>
          </a:prstGeom>
        </p:spPr>
      </p:pic>
      <p:pic>
        <p:nvPicPr>
          <p:cNvPr id="19" name="Graphic 19">
            <a:extLst>
              <a:ext uri="{FF2B5EF4-FFF2-40B4-BE49-F238E27FC236}">
                <a16:creationId xmlns:a16="http://schemas.microsoft.com/office/drawing/2014/main" id="{3443FB9E-7FD8-8DBA-3174-026E92C1746A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68288" y="4462295"/>
            <a:ext cx="808142" cy="97326"/>
          </a:xfrm>
          <a:prstGeom prst="rect">
            <a:avLst/>
          </a:prstGeom>
        </p:spPr>
      </p:pic>
      <p:pic>
        <p:nvPicPr>
          <p:cNvPr id="20" name="Picture 20">
            <a:extLst>
              <a:ext uri="{FF2B5EF4-FFF2-40B4-BE49-F238E27FC236}">
                <a16:creationId xmlns:a16="http://schemas.microsoft.com/office/drawing/2014/main" id="{EE2DB717-4C9F-BA2A-F5A2-ABF7ACBE2B24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14829" y="5431225"/>
            <a:ext cx="568341" cy="207036"/>
          </a:xfrm>
          <a:prstGeom prst="rect">
            <a:avLst/>
          </a:prstGeom>
        </p:spPr>
      </p:pic>
      <p:pic>
        <p:nvPicPr>
          <p:cNvPr id="21" name="Picture 21">
            <a:extLst>
              <a:ext uri="{FF2B5EF4-FFF2-40B4-BE49-F238E27FC236}">
                <a16:creationId xmlns:a16="http://schemas.microsoft.com/office/drawing/2014/main" id="{63280C24-479B-A8B0-7966-BF4F4871AFB4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191141" y="5726561"/>
            <a:ext cx="392029" cy="20572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A1EEDC1-E361-7454-1406-4CE860015338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311188" y="5446689"/>
            <a:ext cx="525653" cy="1582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262DE6-1596-1CEB-D89C-C0714F09DA59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280021" y="6014808"/>
            <a:ext cx="587985" cy="20965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C19B612-85DC-2217-C780-96B51B67AE6F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293424" y="5201077"/>
            <a:ext cx="593685" cy="148421"/>
          </a:xfrm>
          <a:prstGeom prst="rect">
            <a:avLst/>
          </a:prstGeom>
        </p:spPr>
      </p:pic>
      <p:pic>
        <p:nvPicPr>
          <p:cNvPr id="26" name="Picture 26">
            <a:extLst>
              <a:ext uri="{FF2B5EF4-FFF2-40B4-BE49-F238E27FC236}">
                <a16:creationId xmlns:a16="http://schemas.microsoft.com/office/drawing/2014/main" id="{2FDF84A6-D612-59CA-00BD-8C698DBB01B8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268288" y="5745692"/>
            <a:ext cx="657218" cy="182896"/>
          </a:xfrm>
          <a:prstGeom prst="rect">
            <a:avLst/>
          </a:prstGeom>
        </p:spPr>
      </p:pic>
      <p:pic>
        <p:nvPicPr>
          <p:cNvPr id="27" name="Picture 27">
            <a:extLst>
              <a:ext uri="{FF2B5EF4-FFF2-40B4-BE49-F238E27FC236}">
                <a16:creationId xmlns:a16="http://schemas.microsoft.com/office/drawing/2014/main" id="{59BE2204-0BD4-548F-C2B3-B0B56C372EFA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219739" y="1684636"/>
            <a:ext cx="624539" cy="293807"/>
          </a:xfrm>
          <a:prstGeom prst="rect">
            <a:avLst/>
          </a:prstGeom>
        </p:spPr>
      </p:pic>
      <p:pic>
        <p:nvPicPr>
          <p:cNvPr id="28" name="Picture 28">
            <a:extLst>
              <a:ext uri="{FF2B5EF4-FFF2-40B4-BE49-F238E27FC236}">
                <a16:creationId xmlns:a16="http://schemas.microsoft.com/office/drawing/2014/main" id="{CAF7FC91-1884-F33F-FCA5-9B9226EE792B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0319" y="4888883"/>
            <a:ext cx="657890" cy="247061"/>
          </a:xfrm>
          <a:prstGeom prst="rect">
            <a:avLst/>
          </a:prstGeom>
        </p:spPr>
      </p:pic>
      <p:pic>
        <p:nvPicPr>
          <p:cNvPr id="29" name="Picture 29">
            <a:extLst>
              <a:ext uri="{FF2B5EF4-FFF2-40B4-BE49-F238E27FC236}">
                <a16:creationId xmlns:a16="http://schemas.microsoft.com/office/drawing/2014/main" id="{D3B40325-9309-41F9-79FE-2651DA42C5D6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799933" y="1435623"/>
            <a:ext cx="673419" cy="247060"/>
          </a:xfrm>
          <a:prstGeom prst="rect">
            <a:avLst/>
          </a:prstGeom>
        </p:spPr>
      </p:pic>
      <p:pic>
        <p:nvPicPr>
          <p:cNvPr id="30" name="Picture 30">
            <a:extLst>
              <a:ext uri="{FF2B5EF4-FFF2-40B4-BE49-F238E27FC236}">
                <a16:creationId xmlns:a16="http://schemas.microsoft.com/office/drawing/2014/main" id="{0B472D17-9570-AB05-8274-264F5C3D46D8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72587" y="2073954"/>
            <a:ext cx="471691" cy="236355"/>
          </a:xfrm>
          <a:prstGeom prst="rect">
            <a:avLst/>
          </a:prstGeom>
        </p:spPr>
      </p:pic>
      <p:pic>
        <p:nvPicPr>
          <p:cNvPr id="31" name="Graphic 31">
            <a:extLst>
              <a:ext uri="{FF2B5EF4-FFF2-40B4-BE49-F238E27FC236}">
                <a16:creationId xmlns:a16="http://schemas.microsoft.com/office/drawing/2014/main" id="{7ABECAA4-5A79-ECC5-435B-4B2FD9E37E2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95785" y="6020587"/>
            <a:ext cx="562406" cy="182896"/>
          </a:xfrm>
          <a:prstGeom prst="rect">
            <a:avLst/>
          </a:prstGeom>
        </p:spPr>
      </p:pic>
      <p:pic>
        <p:nvPicPr>
          <p:cNvPr id="32" name="Picture 32" descr="Logo&#10;&#10;Description automatically generated">
            <a:extLst>
              <a:ext uri="{FF2B5EF4-FFF2-40B4-BE49-F238E27FC236}">
                <a16:creationId xmlns:a16="http://schemas.microsoft.com/office/drawing/2014/main" id="{676C3862-DE40-D8D5-6C2D-BE07721570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/>
          <a:srcRect l="12229" t="22237" r="11435" b="22043"/>
          <a:stretch/>
        </p:blipFill>
        <p:spPr>
          <a:xfrm>
            <a:off x="985302" y="2046846"/>
            <a:ext cx="583371" cy="217125"/>
          </a:xfrm>
          <a:prstGeom prst="rect">
            <a:avLst/>
          </a:prstGeom>
        </p:spPr>
      </p:pic>
      <p:pic>
        <p:nvPicPr>
          <p:cNvPr id="33" name="Picture 33">
            <a:extLst>
              <a:ext uri="{FF2B5EF4-FFF2-40B4-BE49-F238E27FC236}">
                <a16:creationId xmlns:a16="http://schemas.microsoft.com/office/drawing/2014/main" id="{7DC8675E-FE6A-5B99-B2D6-38A0778127E9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0" y="2830147"/>
            <a:ext cx="463016" cy="369792"/>
          </a:xfrm>
          <a:prstGeom prst="rect">
            <a:avLst/>
          </a:prstGeom>
        </p:spPr>
      </p:pic>
      <p:pic>
        <p:nvPicPr>
          <p:cNvPr id="34" name="Graphic 34">
            <a:extLst>
              <a:ext uri="{FF2B5EF4-FFF2-40B4-BE49-F238E27FC236}">
                <a16:creationId xmlns:a16="http://schemas.microsoft.com/office/drawing/2014/main" id="{BCE81DAC-6820-71E1-62B2-020F83009F6E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62733" y="3050411"/>
            <a:ext cx="695458" cy="132137"/>
          </a:xfrm>
          <a:prstGeom prst="rect">
            <a:avLst/>
          </a:prstGeom>
        </p:spPr>
      </p:pic>
      <p:pic>
        <p:nvPicPr>
          <p:cNvPr id="35" name="Graphic 35">
            <a:extLst>
              <a:ext uri="{FF2B5EF4-FFF2-40B4-BE49-F238E27FC236}">
                <a16:creationId xmlns:a16="http://schemas.microsoft.com/office/drawing/2014/main" id="{24ACFAAD-2E70-736F-1E76-F3A94E305F1F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51332" y="1451315"/>
            <a:ext cx="423831" cy="163012"/>
          </a:xfrm>
          <a:prstGeom prst="rect">
            <a:avLst/>
          </a:prstGeom>
        </p:spPr>
      </p:pic>
      <p:pic>
        <p:nvPicPr>
          <p:cNvPr id="36" name="Graphic 36">
            <a:extLst>
              <a:ext uri="{FF2B5EF4-FFF2-40B4-BE49-F238E27FC236}">
                <a16:creationId xmlns:a16="http://schemas.microsoft.com/office/drawing/2014/main" id="{959D4A1F-A22E-657D-1C11-13981AC61EEE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36496" y="2774232"/>
            <a:ext cx="684000" cy="85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846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Main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EDD501-6905-1F74-EB9A-8427EFDA4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1080000"/>
            <a:ext cx="8753884" cy="5316350"/>
          </a:xfrm>
        </p:spPr>
        <p:txBody>
          <a:bodyPr/>
          <a:lstStyle>
            <a:lvl1pPr marL="234000" indent="-234000">
              <a:buClr>
                <a:srgbClr val="AB5905"/>
              </a:buClr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  <a:lvl2pPr marL="46800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2pPr>
            <a:lvl3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3pPr>
            <a:lvl4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4pPr>
            <a:lvl5pPr marL="1111278" indent="-292108">
              <a:buFont typeface="Arial" panose="020B0604020202020204" pitchFamily="34" charset="0"/>
              <a:buChar char="•"/>
              <a:defRPr/>
            </a:lvl5pPr>
          </a:lstStyle>
          <a:p>
            <a:pPr marL="234000" marR="0" lvl="1" indent="-234000" algn="l" defTabSz="91442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AB5905"/>
              </a:buClr>
              <a:buSzPct val="70000"/>
              <a:buFont typeface="Wingdings" panose="05000000000000000000" pitchFamily="2" charset="2"/>
              <a:buChar char="l"/>
              <a:tabLst/>
            </a:pPr>
            <a:r>
              <a:rPr lang="de-DE" dirty="0"/>
              <a:t>Mastertextformat bearbeiten</a:t>
            </a:r>
          </a:p>
          <a:p>
            <a:pPr marL="468000" lvl="2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¡"/>
            </a:pPr>
            <a:r>
              <a:rPr lang="de-DE" dirty="0"/>
              <a:t>Zweite Ebene</a:t>
            </a:r>
          </a:p>
          <a:p>
            <a:pPr marL="731250" lvl="3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Wingdings" pitchFamily="2" charset="2"/>
              <a:buChar char="§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3E0F2-945E-4E56-7AA1-6F5E1D76C9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670C210-1953-0A1B-E769-12EDA0248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86219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_Main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EDD501-6905-1F74-EB9A-8427EFDA4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1080000"/>
            <a:ext cx="8753884" cy="5316350"/>
          </a:xfrm>
        </p:spPr>
        <p:txBody>
          <a:bodyPr/>
          <a:lstStyle>
            <a:lvl1pPr marL="234000" indent="-234000">
              <a:buClr>
                <a:srgbClr val="AB5905"/>
              </a:buClr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  <a:lvl2pPr marL="46800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2pPr>
            <a:lvl3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3pPr>
            <a:lvl4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4pPr>
            <a:lvl5pPr marL="1111278" indent="-292108">
              <a:buFont typeface="Arial" panose="020B0604020202020204" pitchFamily="34" charset="0"/>
              <a:buChar char="•"/>
              <a:defRPr/>
            </a:lvl5pPr>
          </a:lstStyle>
          <a:p>
            <a:pPr marL="234000" marR="0" lvl="1" indent="-234000" algn="l" defTabSz="91442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AB5905"/>
              </a:buClr>
              <a:buSzPct val="70000"/>
              <a:buFont typeface="Wingdings" panose="05000000000000000000" pitchFamily="2" charset="2"/>
              <a:buChar char="l"/>
              <a:tabLst/>
            </a:pPr>
            <a:r>
              <a:rPr lang="de-DE" dirty="0"/>
              <a:t>Mastertextformat bearbeiten</a:t>
            </a:r>
          </a:p>
          <a:p>
            <a:pPr marL="468000" lvl="2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¡"/>
            </a:pPr>
            <a:r>
              <a:rPr lang="de-DE" dirty="0"/>
              <a:t>Zweite Ebene</a:t>
            </a:r>
          </a:p>
          <a:p>
            <a:pPr marL="731250" lvl="3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Wingdings" pitchFamily="2" charset="2"/>
              <a:buChar char="§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3E0F2-945E-4E56-7AA1-6F5E1D76C9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6FEF769-C20D-75AB-A744-5F83253FC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D1D52720-2D2F-181B-5115-DA0DC0A7E0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7800665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Click to edit Description</a:t>
            </a:r>
          </a:p>
        </p:txBody>
      </p:sp>
    </p:spTree>
    <p:extLst>
      <p:ext uri="{BB962C8B-B14F-4D97-AF65-F5344CB8AC3E}">
        <p14:creationId xmlns:p14="http://schemas.microsoft.com/office/powerpoint/2010/main" val="2324745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108000"/>
            <a:ext cx="7800665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63" b="0" i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GB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7800665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540000" y="1080000"/>
            <a:ext cx="8753884" cy="531635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AB5905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1"/>
            <a:r>
              <a:rPr lang="en-GB" noProof="0"/>
              <a:t>[Add text]</a:t>
            </a:r>
          </a:p>
          <a:p>
            <a:pPr lvl="2"/>
            <a:r>
              <a:rPr lang="en-GB" noProof="0"/>
              <a:t>[Add text]</a:t>
            </a:r>
          </a:p>
          <a:p>
            <a:pPr lvl="3"/>
            <a:r>
              <a:rPr lang="en-GB" noProof="0"/>
              <a:t>[Add text]</a:t>
            </a:r>
          </a:p>
          <a:p>
            <a:pPr lvl="3"/>
            <a:endParaRPr lang="en-GB" noProof="0"/>
          </a:p>
          <a:p>
            <a:pPr lvl="3"/>
            <a:endParaRPr lang="en-GB" noProof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4324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108000"/>
            <a:ext cx="7779639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63" b="0" i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GB" noProof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1" y="461650"/>
            <a:ext cx="7779638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Click to edit Description</a:t>
            </a:r>
          </a:p>
          <a:p>
            <a:pPr lvl="0">
              <a:spcBef>
                <a:spcPct val="0"/>
              </a:spcBef>
            </a:pPr>
            <a:endParaRPr lang="en-GB" noProof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90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22505" y="3930577"/>
            <a:ext cx="5275615" cy="7921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63" b="0" i="0" baseline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23854" y="2810236"/>
            <a:ext cx="5713598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1950" b="1" i="0" baseline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Name of the meeting</a:t>
            </a:r>
          </a:p>
        </p:txBody>
      </p:sp>
      <p:grpSp>
        <p:nvGrpSpPr>
          <p:cNvPr id="3" name="Graphic 3">
            <a:extLst>
              <a:ext uri="{FF2B5EF4-FFF2-40B4-BE49-F238E27FC236}">
                <a16:creationId xmlns:a16="http://schemas.microsoft.com/office/drawing/2014/main" id="{395BC908-9133-8E3E-0979-4E0001ACF0A4}"/>
              </a:ext>
            </a:extLst>
          </p:cNvPr>
          <p:cNvGrpSpPr>
            <a:grpSpLocks/>
          </p:cNvGrpSpPr>
          <p:nvPr userDrawn="1"/>
        </p:nvGrpSpPr>
        <p:grpSpPr>
          <a:xfrm>
            <a:off x="5824664" y="2320740"/>
            <a:ext cx="4533750" cy="4460400"/>
            <a:chOff x="66025" y="-34306"/>
            <a:chExt cx="6381750" cy="5895975"/>
          </a:xfrm>
          <a:solidFill>
            <a:srgbClr val="AB5905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4" name="Freeform: Shape 259">
              <a:extLst>
                <a:ext uri="{FF2B5EF4-FFF2-40B4-BE49-F238E27FC236}">
                  <a16:creationId xmlns:a16="http://schemas.microsoft.com/office/drawing/2014/main" id="{253A250C-F303-9766-0C93-8F7A11564A95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reeform: Shape 260">
              <a:extLst>
                <a:ext uri="{FF2B5EF4-FFF2-40B4-BE49-F238E27FC236}">
                  <a16:creationId xmlns:a16="http://schemas.microsoft.com/office/drawing/2014/main" id="{29784977-5477-A21C-A93A-E98A15A85FCF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: Shape 261">
              <a:extLst>
                <a:ext uri="{FF2B5EF4-FFF2-40B4-BE49-F238E27FC236}">
                  <a16:creationId xmlns:a16="http://schemas.microsoft.com/office/drawing/2014/main" id="{B79D4D2C-9222-4B0D-2A0B-625F72426B7D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: Shape 262">
              <a:extLst>
                <a:ext uri="{FF2B5EF4-FFF2-40B4-BE49-F238E27FC236}">
                  <a16:creationId xmlns:a16="http://schemas.microsoft.com/office/drawing/2014/main" id="{9F9287C1-5735-537D-4E27-45F8D1AEC449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: Shape 263">
              <a:extLst>
                <a:ext uri="{FF2B5EF4-FFF2-40B4-BE49-F238E27FC236}">
                  <a16:creationId xmlns:a16="http://schemas.microsoft.com/office/drawing/2014/main" id="{6A2F3108-9A51-F5DC-E816-54FE09C4562C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: Shape 264">
              <a:extLst>
                <a:ext uri="{FF2B5EF4-FFF2-40B4-BE49-F238E27FC236}">
                  <a16:creationId xmlns:a16="http://schemas.microsoft.com/office/drawing/2014/main" id="{59E82096-569A-5B03-7E91-81ED1D54A12A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: Shape 265">
              <a:extLst>
                <a:ext uri="{FF2B5EF4-FFF2-40B4-BE49-F238E27FC236}">
                  <a16:creationId xmlns:a16="http://schemas.microsoft.com/office/drawing/2014/main" id="{60AE756D-35AE-309F-B95D-CF4E06E4A140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: Shape 266">
              <a:extLst>
                <a:ext uri="{FF2B5EF4-FFF2-40B4-BE49-F238E27FC236}">
                  <a16:creationId xmlns:a16="http://schemas.microsoft.com/office/drawing/2014/main" id="{AED34D53-E747-4018-6BFA-F8302619224C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: Shape 267">
              <a:extLst>
                <a:ext uri="{FF2B5EF4-FFF2-40B4-BE49-F238E27FC236}">
                  <a16:creationId xmlns:a16="http://schemas.microsoft.com/office/drawing/2014/main" id="{DB7DDAEE-19DD-A9AC-FBC7-9643A71E91E4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: Shape 268">
              <a:extLst>
                <a:ext uri="{FF2B5EF4-FFF2-40B4-BE49-F238E27FC236}">
                  <a16:creationId xmlns:a16="http://schemas.microsoft.com/office/drawing/2014/main" id="{D19102E3-4235-F6A4-44B0-B5480794D934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: Shape 269">
              <a:extLst>
                <a:ext uri="{FF2B5EF4-FFF2-40B4-BE49-F238E27FC236}">
                  <a16:creationId xmlns:a16="http://schemas.microsoft.com/office/drawing/2014/main" id="{88C39AC1-D22C-A193-37A3-FEDBCCA6820D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: Shape 270">
              <a:extLst>
                <a:ext uri="{FF2B5EF4-FFF2-40B4-BE49-F238E27FC236}">
                  <a16:creationId xmlns:a16="http://schemas.microsoft.com/office/drawing/2014/main" id="{E2C83786-671C-8777-73E9-F353A5D6D3AE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: Shape 271">
              <a:extLst>
                <a:ext uri="{FF2B5EF4-FFF2-40B4-BE49-F238E27FC236}">
                  <a16:creationId xmlns:a16="http://schemas.microsoft.com/office/drawing/2014/main" id="{4411F7B7-F434-BE7C-C8CC-7A680A52F0CB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: Shape 272">
              <a:extLst>
                <a:ext uri="{FF2B5EF4-FFF2-40B4-BE49-F238E27FC236}">
                  <a16:creationId xmlns:a16="http://schemas.microsoft.com/office/drawing/2014/main" id="{CC471ACF-B91B-F1DA-6EBB-AB51A15136A5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: Shape 273">
              <a:extLst>
                <a:ext uri="{FF2B5EF4-FFF2-40B4-BE49-F238E27FC236}">
                  <a16:creationId xmlns:a16="http://schemas.microsoft.com/office/drawing/2014/main" id="{90E6B3FA-1B8B-8B40-FFCB-3E3B50C3E50D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: Shape 274">
              <a:extLst>
                <a:ext uri="{FF2B5EF4-FFF2-40B4-BE49-F238E27FC236}">
                  <a16:creationId xmlns:a16="http://schemas.microsoft.com/office/drawing/2014/main" id="{53EEB15E-5FF0-144A-9552-DED3A95B8E5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: Shape 275">
              <a:extLst>
                <a:ext uri="{FF2B5EF4-FFF2-40B4-BE49-F238E27FC236}">
                  <a16:creationId xmlns:a16="http://schemas.microsoft.com/office/drawing/2014/main" id="{B8A2C3DE-113C-8AA2-EA8A-312650B6756E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: Shape 276">
              <a:extLst>
                <a:ext uri="{FF2B5EF4-FFF2-40B4-BE49-F238E27FC236}">
                  <a16:creationId xmlns:a16="http://schemas.microsoft.com/office/drawing/2014/main" id="{24303209-A900-261F-634C-6DA6FA3B9354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: Shape 277">
              <a:extLst>
                <a:ext uri="{FF2B5EF4-FFF2-40B4-BE49-F238E27FC236}">
                  <a16:creationId xmlns:a16="http://schemas.microsoft.com/office/drawing/2014/main" id="{91D38F99-D3DD-3AC4-63D6-68A138A543CD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: Shape 278">
              <a:extLst>
                <a:ext uri="{FF2B5EF4-FFF2-40B4-BE49-F238E27FC236}">
                  <a16:creationId xmlns:a16="http://schemas.microsoft.com/office/drawing/2014/main" id="{240243DA-9B82-2470-0919-8384CB0E22A0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279">
              <a:extLst>
                <a:ext uri="{FF2B5EF4-FFF2-40B4-BE49-F238E27FC236}">
                  <a16:creationId xmlns:a16="http://schemas.microsoft.com/office/drawing/2014/main" id="{8072B55C-481F-1DE2-E797-48956E4C04F2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280">
              <a:extLst>
                <a:ext uri="{FF2B5EF4-FFF2-40B4-BE49-F238E27FC236}">
                  <a16:creationId xmlns:a16="http://schemas.microsoft.com/office/drawing/2014/main" id="{862B4534-AEAE-1345-0C3E-C99052928813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281">
              <a:extLst>
                <a:ext uri="{FF2B5EF4-FFF2-40B4-BE49-F238E27FC236}">
                  <a16:creationId xmlns:a16="http://schemas.microsoft.com/office/drawing/2014/main" id="{E7014A14-1770-E297-7794-B3E2DB9980D4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282">
              <a:extLst>
                <a:ext uri="{FF2B5EF4-FFF2-40B4-BE49-F238E27FC236}">
                  <a16:creationId xmlns:a16="http://schemas.microsoft.com/office/drawing/2014/main" id="{8B883766-CE12-1E50-A3C2-D503C2195E2C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283">
              <a:extLst>
                <a:ext uri="{FF2B5EF4-FFF2-40B4-BE49-F238E27FC236}">
                  <a16:creationId xmlns:a16="http://schemas.microsoft.com/office/drawing/2014/main" id="{1F0EECE6-60D4-6036-C93C-E19F08D2D0DC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284">
              <a:extLst>
                <a:ext uri="{FF2B5EF4-FFF2-40B4-BE49-F238E27FC236}">
                  <a16:creationId xmlns:a16="http://schemas.microsoft.com/office/drawing/2014/main" id="{7761E656-C660-D9F0-72CD-21EA907FF19B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: Shape 285">
              <a:extLst>
                <a:ext uri="{FF2B5EF4-FFF2-40B4-BE49-F238E27FC236}">
                  <a16:creationId xmlns:a16="http://schemas.microsoft.com/office/drawing/2014/main" id="{671D78EB-A8CD-81F3-6B11-6490DFD8DC3D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: Shape 286">
              <a:extLst>
                <a:ext uri="{FF2B5EF4-FFF2-40B4-BE49-F238E27FC236}">
                  <a16:creationId xmlns:a16="http://schemas.microsoft.com/office/drawing/2014/main" id="{7D3EC13D-C1EA-A070-5AB9-D647B4985DD7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: Shape 287">
              <a:extLst>
                <a:ext uri="{FF2B5EF4-FFF2-40B4-BE49-F238E27FC236}">
                  <a16:creationId xmlns:a16="http://schemas.microsoft.com/office/drawing/2014/main" id="{D8D54D46-84B5-1A2F-8DC8-532D38AC73BA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: Shape 288">
              <a:extLst>
                <a:ext uri="{FF2B5EF4-FFF2-40B4-BE49-F238E27FC236}">
                  <a16:creationId xmlns:a16="http://schemas.microsoft.com/office/drawing/2014/main" id="{FACDB246-C564-C1DF-FB6A-F2B9BA6FE274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: Shape 289">
              <a:extLst>
                <a:ext uri="{FF2B5EF4-FFF2-40B4-BE49-F238E27FC236}">
                  <a16:creationId xmlns:a16="http://schemas.microsoft.com/office/drawing/2014/main" id="{E2E0667A-2CD7-B007-F8CF-73C7C63AD858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: Shape 290">
              <a:extLst>
                <a:ext uri="{FF2B5EF4-FFF2-40B4-BE49-F238E27FC236}">
                  <a16:creationId xmlns:a16="http://schemas.microsoft.com/office/drawing/2014/main" id="{0C501FDD-9D5C-27DC-642B-7C8053FA4820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: Shape 291">
              <a:extLst>
                <a:ext uri="{FF2B5EF4-FFF2-40B4-BE49-F238E27FC236}">
                  <a16:creationId xmlns:a16="http://schemas.microsoft.com/office/drawing/2014/main" id="{5A0C4280-60D5-B18B-9A29-3D5567684BA2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: Shape 292">
              <a:extLst>
                <a:ext uri="{FF2B5EF4-FFF2-40B4-BE49-F238E27FC236}">
                  <a16:creationId xmlns:a16="http://schemas.microsoft.com/office/drawing/2014/main" id="{AD5BCE0D-3023-521B-0EE0-AC336C844BE0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: Shape 293">
              <a:extLst>
                <a:ext uri="{FF2B5EF4-FFF2-40B4-BE49-F238E27FC236}">
                  <a16:creationId xmlns:a16="http://schemas.microsoft.com/office/drawing/2014/main" id="{6D5605D6-1818-6457-A786-926679DF8817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294">
              <a:extLst>
                <a:ext uri="{FF2B5EF4-FFF2-40B4-BE49-F238E27FC236}">
                  <a16:creationId xmlns:a16="http://schemas.microsoft.com/office/drawing/2014/main" id="{DAFE3D97-A82B-608A-A612-90F38072EE7E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295">
              <a:extLst>
                <a:ext uri="{FF2B5EF4-FFF2-40B4-BE49-F238E27FC236}">
                  <a16:creationId xmlns:a16="http://schemas.microsoft.com/office/drawing/2014/main" id="{0115614B-1FB3-CBC2-6874-0AEA3838ACC8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296">
              <a:extLst>
                <a:ext uri="{FF2B5EF4-FFF2-40B4-BE49-F238E27FC236}">
                  <a16:creationId xmlns:a16="http://schemas.microsoft.com/office/drawing/2014/main" id="{BB3C1F0F-D396-4255-88E7-1B3AA5E31209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: Shape 297">
              <a:extLst>
                <a:ext uri="{FF2B5EF4-FFF2-40B4-BE49-F238E27FC236}">
                  <a16:creationId xmlns:a16="http://schemas.microsoft.com/office/drawing/2014/main" id="{062D2D26-0EBC-1AFB-5130-1DC4504F49CF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: Shape 298">
              <a:extLst>
                <a:ext uri="{FF2B5EF4-FFF2-40B4-BE49-F238E27FC236}">
                  <a16:creationId xmlns:a16="http://schemas.microsoft.com/office/drawing/2014/main" id="{5ACC8A7A-8175-656A-068B-7A9110D6C806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: Shape 299">
              <a:extLst>
                <a:ext uri="{FF2B5EF4-FFF2-40B4-BE49-F238E27FC236}">
                  <a16:creationId xmlns:a16="http://schemas.microsoft.com/office/drawing/2014/main" id="{0EE75964-C91F-621D-DB7E-401BD11B4BFB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: Shape 300">
              <a:extLst>
                <a:ext uri="{FF2B5EF4-FFF2-40B4-BE49-F238E27FC236}">
                  <a16:creationId xmlns:a16="http://schemas.microsoft.com/office/drawing/2014/main" id="{2FC129D8-B2D5-EF85-F143-6096B313122C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: Shape 301">
              <a:extLst>
                <a:ext uri="{FF2B5EF4-FFF2-40B4-BE49-F238E27FC236}">
                  <a16:creationId xmlns:a16="http://schemas.microsoft.com/office/drawing/2014/main" id="{5366F926-F1F0-E685-528A-2C1418B1697E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: Shape 302">
              <a:extLst>
                <a:ext uri="{FF2B5EF4-FFF2-40B4-BE49-F238E27FC236}">
                  <a16:creationId xmlns:a16="http://schemas.microsoft.com/office/drawing/2014/main" id="{1623ECF0-B90E-5291-9DB8-933B3936A8AA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: Shape 303">
              <a:extLst>
                <a:ext uri="{FF2B5EF4-FFF2-40B4-BE49-F238E27FC236}">
                  <a16:creationId xmlns:a16="http://schemas.microsoft.com/office/drawing/2014/main" id="{242B67F2-7FC7-AE3E-133C-A3839BD6FF58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: Shape 304">
              <a:extLst>
                <a:ext uri="{FF2B5EF4-FFF2-40B4-BE49-F238E27FC236}">
                  <a16:creationId xmlns:a16="http://schemas.microsoft.com/office/drawing/2014/main" id="{43B4E45B-58DC-D431-E697-EFFA03D2DE64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: Shape 305">
              <a:extLst>
                <a:ext uri="{FF2B5EF4-FFF2-40B4-BE49-F238E27FC236}">
                  <a16:creationId xmlns:a16="http://schemas.microsoft.com/office/drawing/2014/main" id="{D564952F-02E1-5CE9-4303-2E9B8EB87213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: Shape 306">
              <a:extLst>
                <a:ext uri="{FF2B5EF4-FFF2-40B4-BE49-F238E27FC236}">
                  <a16:creationId xmlns:a16="http://schemas.microsoft.com/office/drawing/2014/main" id="{1F2A739E-66BC-8E25-7D90-466161A90D7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: Shape 307">
              <a:extLst>
                <a:ext uri="{FF2B5EF4-FFF2-40B4-BE49-F238E27FC236}">
                  <a16:creationId xmlns:a16="http://schemas.microsoft.com/office/drawing/2014/main" id="{591A36BB-E8BD-7F15-7924-A1D06ECB27F3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: Shape 308">
              <a:extLst>
                <a:ext uri="{FF2B5EF4-FFF2-40B4-BE49-F238E27FC236}">
                  <a16:creationId xmlns:a16="http://schemas.microsoft.com/office/drawing/2014/main" id="{0A4B6089-033E-46F5-ED0F-935682E5627E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: Shape 309">
              <a:extLst>
                <a:ext uri="{FF2B5EF4-FFF2-40B4-BE49-F238E27FC236}">
                  <a16:creationId xmlns:a16="http://schemas.microsoft.com/office/drawing/2014/main" id="{23A91E6A-1761-186B-AC61-29C0CB011B6B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92219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43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>
            <a:extLst>
              <a:ext uri="{FF2B5EF4-FFF2-40B4-BE49-F238E27FC236}">
                <a16:creationId xmlns:a16="http://schemas.microsoft.com/office/drawing/2014/main" id="{4582A9D9-5E54-4A35-8253-E752DE894F9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906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540000" y="108000"/>
            <a:ext cx="8543925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080000"/>
            <a:ext cx="90000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</a:p>
        </p:txBody>
      </p:sp>
    </p:spTree>
    <p:extLst>
      <p:ext uri="{BB962C8B-B14F-4D97-AF65-F5344CB8AC3E}">
        <p14:creationId xmlns:p14="http://schemas.microsoft.com/office/powerpoint/2010/main" val="3359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82" r:id="rId1"/>
    <p:sldLayoutId id="2147488783" r:id="rId2"/>
    <p:sldLayoutId id="2147488786" r:id="rId3"/>
    <p:sldLayoutId id="2147488785" r:id="rId4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0" i="0">
          <a:solidFill>
            <a:srgbClr val="AB5905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AB5905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AB5905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7C72B4-E5E9-6BC6-3CD3-1F5C500BF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49510359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01" imgH="501" progId="TCLayout.ActiveDocument.1">
                  <p:embed/>
                </p:oleObj>
              </mc:Choice>
              <mc:Fallback>
                <p:oleObj name="think-cell Folie" r:id="rId12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7C72B4-E5E9-6BC6-3CD3-1F5C500BF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Picture 44">
            <a:extLst>
              <a:ext uri="{FF2B5EF4-FFF2-40B4-BE49-F238E27FC236}">
                <a16:creationId xmlns:a16="http://schemas.microsoft.com/office/drawing/2014/main" id="{4582A9D9-5E54-4A35-8253-E752DE894F9F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2"/>
            <a:ext cx="9906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540001" y="108000"/>
            <a:ext cx="7779638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75BB10-AA0D-AADE-C5DB-6B15565B6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13C50A-65D2-5C0A-4B17-B974DA652A9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0287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cs-CZ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asifikace: Veřejné</a:t>
            </a:r>
          </a:p>
        </p:txBody>
      </p:sp>
    </p:spTree>
    <p:extLst>
      <p:ext uri="{BB962C8B-B14F-4D97-AF65-F5344CB8AC3E}">
        <p14:creationId xmlns:p14="http://schemas.microsoft.com/office/powerpoint/2010/main" val="138609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89" r:id="rId1"/>
    <p:sldLayoutId id="2147488790" r:id="rId2"/>
    <p:sldLayoutId id="2147488791" r:id="rId3"/>
    <p:sldLayoutId id="2147488792" r:id="rId4"/>
    <p:sldLayoutId id="2147488793" r:id="rId5"/>
    <p:sldLayoutId id="2147488794" r:id="rId6"/>
    <p:sldLayoutId id="2147488795" r:id="rId7"/>
    <p:sldLayoutId id="2147488796" r:id="rId8"/>
    <p:sldLayoutId id="2147488797" r:id="rId9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463" b="0" i="0">
          <a:solidFill>
            <a:schemeClr val="tx1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95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89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84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78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34000" marR="0" indent="-234000" algn="l" defTabSz="914423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AB5905"/>
        </a:buClr>
        <a:buSzPct val="70000"/>
        <a:buFont typeface="Wingdings" panose="05000000000000000000" pitchFamily="2" charset="2"/>
        <a:buChar char="l"/>
        <a:tabLst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468000" indent="-2340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731250" indent="-2340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78" indent="-292108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/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36" indent="-311157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914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210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504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95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89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84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78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73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68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2062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357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NC%20EB/2024/241010_Communication_note_Baltic_TSOs__Elering__AST_and_Litgrid__go-live.pd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eepublicdownloads.blob.core.windows.net/public-cdn-container/clean-documents/Network%20codes%20documents/Implementation/picasso/PICASSO_press_release_platform_accession_SEPS_for_ENTSO-E.pdf" TargetMode="External"/><Relationship Id="rId4" Type="http://schemas.openxmlformats.org/officeDocument/2006/relationships/hyperlink" Target="https://eepublicdownloads.blob.core.windows.net/public-cdn-container/clean-documents/Network%20codes%20documents/Implementation/picasso/PICASSO_press_release_platform_accession_Energinet_and_TenneT_NL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transparency.entsoe.eu/balancing-domain/r2/algorithm/show?name=&amp;defaultValue=true&amp;viewType=TABLE&amp;areaType=SCA&amp;atch=false&amp;dateTime.dateTime=01.01.2024+00:00|UTC|YEAR&amp;dateTime.endDateTime=01.01.2024+00:00|UTC|YEAR&amp;reserveType.values=A96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entsoe.eu/events/2024/12/11/balancing-platforms-stakeholders-workshop/" TargetMode="External"/><Relationship Id="rId4" Type="http://schemas.openxmlformats.org/officeDocument/2006/relationships/hyperlink" Target="https://www.transnetbw.de/en/energy-market/ancillary-services/picasso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Implementation/picasso/PICASSO_12th_Accession_roadmap_ext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NC%20EB/2024/MARI_Accession_roadmap_OCT_2024.pdf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December 3</a:t>
            </a:r>
            <a:r>
              <a:rPr lang="en-US" baseline="30000" dirty="0">
                <a:solidFill>
                  <a:schemeClr val="tx1"/>
                </a:solidFill>
              </a:rPr>
              <a:t>rd</a:t>
            </a:r>
            <a:r>
              <a:rPr lang="en-US" dirty="0">
                <a:solidFill>
                  <a:schemeClr val="tx1"/>
                </a:solidFill>
              </a:rPr>
              <a:t>, 2024</a:t>
            </a:r>
          </a:p>
          <a:p>
            <a:r>
              <a:rPr lang="en-US" dirty="0">
                <a:solidFill>
                  <a:schemeClr val="tx1"/>
                </a:solidFill>
              </a:rPr>
              <a:t>MESC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Update on Balancing Platforms</a:t>
            </a:r>
          </a:p>
        </p:txBody>
      </p:sp>
    </p:spTree>
    <p:extLst>
      <p:ext uri="{BB962C8B-B14F-4D97-AF65-F5344CB8AC3E}">
        <p14:creationId xmlns:p14="http://schemas.microsoft.com/office/powerpoint/2010/main" val="1548408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929680AF-9E0B-3B4C-95BF-A7B53DD6A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Introduction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C0251C8-97EE-7740-B192-53FAE6EBA2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Overview on current status of European Balancing Platform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C76985-ED78-477C-B996-27EFC82A4ED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95298" y="5929291"/>
            <a:ext cx="8778001" cy="526723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pPr lvl="1">
              <a:buClrTx/>
              <a:buSzPct val="100000"/>
              <a:buFont typeface="Arial" panose="020B0604020202020204" pitchFamily="34" charset="0"/>
              <a:buChar char="»"/>
            </a:pPr>
            <a:r>
              <a:rPr lang="en-US" sz="1400" dirty="0">
                <a:solidFill>
                  <a:schemeClr val="tx1"/>
                </a:solidFill>
              </a:rPr>
              <a:t>European domestic market (at least) for balancing energy has been established in 2022.</a:t>
            </a:r>
          </a:p>
          <a:p>
            <a:pPr lvl="1">
              <a:buClrTx/>
              <a:buSzPct val="100000"/>
              <a:buFont typeface="Arial" panose="020B0604020202020204" pitchFamily="34" charset="0"/>
              <a:buChar char="»"/>
            </a:pPr>
            <a:r>
              <a:rPr lang="en-US" sz="1400" dirty="0">
                <a:solidFill>
                  <a:schemeClr val="tx1"/>
                </a:solidFill>
              </a:rPr>
              <a:t>European market design has significantly changed the local procurement rules.</a:t>
            </a:r>
            <a:endParaRPr lang="en-US" sz="1400" dirty="0"/>
          </a:p>
          <a:p>
            <a:pPr lvl="1">
              <a:buClr>
                <a:srgbClr val="A15D22"/>
              </a:buClr>
            </a:pPr>
            <a:endParaRPr lang="en-US" sz="1400" dirty="0"/>
          </a:p>
          <a:p>
            <a:pPr lvl="1">
              <a:buClr>
                <a:srgbClr val="A15D22"/>
              </a:buClr>
            </a:pPr>
            <a:endParaRPr lang="en-US" sz="1400" dirty="0"/>
          </a:p>
          <a:p>
            <a:pPr lvl="1">
              <a:buClr>
                <a:srgbClr val="A15D22"/>
              </a:buClr>
            </a:pPr>
            <a:endParaRPr lang="en-US" sz="1400" dirty="0"/>
          </a:p>
          <a:p>
            <a:pPr lvl="1">
              <a:buClr>
                <a:srgbClr val="A15D22"/>
              </a:buClr>
            </a:pPr>
            <a:endParaRPr lang="en-US" sz="1400" dirty="0"/>
          </a:p>
          <a:p>
            <a:pPr lvl="1">
              <a:buClr>
                <a:srgbClr val="A15D22"/>
              </a:buClr>
            </a:pPr>
            <a:endParaRPr lang="en-US" sz="1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1</a:t>
            </a:fld>
            <a:endParaRPr lang="en-US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5786197"/>
              </p:ext>
            </p:extLst>
          </p:nvPr>
        </p:nvGraphicFramePr>
        <p:xfrm>
          <a:off x="634362" y="1119661"/>
          <a:ext cx="8631555" cy="44150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28972">
                  <a:extLst>
                    <a:ext uri="{9D8B030D-6E8A-4147-A177-3AD203B41FA5}">
                      <a16:colId xmlns:a16="http://schemas.microsoft.com/office/drawing/2014/main" val="2479466062"/>
                    </a:ext>
                  </a:extLst>
                </a:gridCol>
                <a:gridCol w="1976846">
                  <a:extLst>
                    <a:ext uri="{9D8B030D-6E8A-4147-A177-3AD203B41FA5}">
                      <a16:colId xmlns:a16="http://schemas.microsoft.com/office/drawing/2014/main" val="1939237048"/>
                    </a:ext>
                  </a:extLst>
                </a:gridCol>
                <a:gridCol w="1924594">
                  <a:extLst>
                    <a:ext uri="{9D8B030D-6E8A-4147-A177-3AD203B41FA5}">
                      <a16:colId xmlns:a16="http://schemas.microsoft.com/office/drawing/2014/main" val="1255074970"/>
                    </a:ext>
                  </a:extLst>
                </a:gridCol>
                <a:gridCol w="1881052">
                  <a:extLst>
                    <a:ext uri="{9D8B030D-6E8A-4147-A177-3AD203B41FA5}">
                      <a16:colId xmlns:a16="http://schemas.microsoft.com/office/drawing/2014/main" val="1762177968"/>
                    </a:ext>
                  </a:extLst>
                </a:gridCol>
                <a:gridCol w="1820091">
                  <a:extLst>
                    <a:ext uri="{9D8B030D-6E8A-4147-A177-3AD203B41FA5}">
                      <a16:colId xmlns:a16="http://schemas.microsoft.com/office/drawing/2014/main" val="1825307574"/>
                    </a:ext>
                  </a:extLst>
                </a:gridCol>
              </a:tblGrid>
              <a:tr h="186629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250" b="1" noProof="0" dirty="0"/>
                    </a:p>
                  </a:txBody>
                  <a:tcPr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b="1" noProof="0" dirty="0"/>
                        <a:t>IGCC</a:t>
                      </a:r>
                    </a:p>
                  </a:txBody>
                  <a:tcPr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b="1" noProof="0" dirty="0"/>
                        <a:t>MARI</a:t>
                      </a:r>
                    </a:p>
                  </a:txBody>
                  <a:tcPr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b="1" noProof="0" dirty="0"/>
                        <a:t>PICASSO</a:t>
                      </a:r>
                    </a:p>
                  </a:txBody>
                  <a:tcPr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b="1" noProof="0" dirty="0"/>
                        <a:t>TERRE</a:t>
                      </a:r>
                    </a:p>
                  </a:txBody>
                  <a:tcPr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677258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r>
                        <a:rPr lang="en-US" sz="1250" noProof="0" dirty="0"/>
                        <a:t>Balancing servi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I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mFR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aFR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R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07050293"/>
                  </a:ext>
                </a:extLst>
              </a:tr>
              <a:tr h="1548428">
                <a:tc>
                  <a:txBody>
                    <a:bodyPr/>
                    <a:lstStyle/>
                    <a:p>
                      <a:r>
                        <a:rPr lang="en-US" sz="1250" noProof="0" dirty="0"/>
                        <a:t>Participa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5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9386999"/>
                  </a:ext>
                </a:extLst>
              </a:tr>
              <a:tr h="330925">
                <a:tc>
                  <a:txBody>
                    <a:bodyPr/>
                    <a:lstStyle/>
                    <a:p>
                      <a:r>
                        <a:rPr lang="en-US" sz="1250" noProof="0" dirty="0"/>
                        <a:t>Target are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Continental Euro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Euro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≥ Continental Euro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≥ RR TSO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0111433"/>
                  </a:ext>
                </a:extLst>
              </a:tr>
              <a:tr h="370800">
                <a:tc>
                  <a:txBody>
                    <a:bodyPr/>
                    <a:lstStyle/>
                    <a:p>
                      <a:r>
                        <a:rPr lang="en-US" sz="1250" noProof="0" dirty="0"/>
                        <a:t>Go-li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24/06/2021 &amp; operational since 01/10/2011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05/10/2022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22/06/2022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29/09/2020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1295156"/>
                  </a:ext>
                </a:extLst>
              </a:tr>
              <a:tr h="624840">
                <a:tc>
                  <a:txBody>
                    <a:bodyPr/>
                    <a:lstStyle/>
                    <a:p>
                      <a:r>
                        <a:rPr lang="en-US" sz="1250" noProof="0" dirty="0"/>
                        <a:t>Stat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50" noProof="0" dirty="0"/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5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35881819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250" noProof="0" dirty="0"/>
                        <a:t>Highligh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/>
                        <a:t>Economic surplus of around </a:t>
                      </a:r>
                      <a:r>
                        <a:rPr lang="en-US" sz="1100"/>
                        <a:t>666</a:t>
                      </a:r>
                      <a:r>
                        <a:rPr lang="en-US" sz="11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 Mio. € </a:t>
                      </a:r>
                      <a:r>
                        <a:rPr lang="en-US" sz="1100" noProof="0"/>
                        <a:t>in Q1 – Q3/24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 dirty="0"/>
                        <a:t>Economic surplus of </a:t>
                      </a:r>
                      <a:br>
                        <a:rPr lang="en-US" sz="1100" noProof="0" dirty="0"/>
                      </a:br>
                      <a:r>
                        <a:rPr lang="en-US" sz="1100" noProof="0" dirty="0"/>
                        <a:t>3.5 Mio. </a:t>
                      </a:r>
                      <a:r>
                        <a:rPr lang="en-US" sz="110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€ until end of August 2024</a:t>
                      </a:r>
                      <a:endParaRPr lang="en-US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 dirty="0"/>
                        <a:t>Economic surplus of more than 105 Mio. </a:t>
                      </a:r>
                      <a:r>
                        <a:rPr lang="en-US" sz="110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€  until end of September </a:t>
                      </a:r>
                      <a:r>
                        <a:rPr lang="en-US" sz="1100" kern="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en-US" sz="1100" kern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40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/>
                        <a:t>Economic surplus of nearly 410 Mio € until October 2024</a:t>
                      </a:r>
                      <a:endParaRPr lang="en-US" sz="1100" noProof="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7076398"/>
                  </a:ext>
                </a:extLst>
              </a:tr>
            </a:tbl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89343D3B-064E-85CE-D488-48EADAE22DB6}"/>
              </a:ext>
            </a:extLst>
          </p:cNvPr>
          <p:cNvSpPr txBox="1"/>
          <p:nvPr/>
        </p:nvSpPr>
        <p:spPr>
          <a:xfrm>
            <a:off x="2432623" y="5761003"/>
            <a:ext cx="69864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* Date as of when cross-border exchanges were possible due to neighboring TSO joining. Technical go-live of platform was earlier.</a:t>
            </a:r>
          </a:p>
          <a:p>
            <a:pPr algn="l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2517465" y="4267699"/>
            <a:ext cx="270000" cy="540000"/>
            <a:chOff x="-717331" y="4028090"/>
            <a:chExt cx="270000" cy="540000"/>
          </a:xfrm>
        </p:grpSpPr>
        <p:sp>
          <p:nvSpPr>
            <p:cNvPr id="5" name="Rechteck 4"/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6" name="Ellipse 5"/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98" name="Ellipse 197"/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99" name="Ellipse 198"/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204" name="Gruppieren 203"/>
          <p:cNvGrpSpPr/>
          <p:nvPr/>
        </p:nvGrpSpPr>
        <p:grpSpPr>
          <a:xfrm>
            <a:off x="4471083" y="4267699"/>
            <a:ext cx="270000" cy="540000"/>
            <a:chOff x="-717331" y="4028090"/>
            <a:chExt cx="270000" cy="540000"/>
          </a:xfrm>
        </p:grpSpPr>
        <p:sp>
          <p:nvSpPr>
            <p:cNvPr id="247" name="Rechteck 246"/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248" name="Gruppieren 247"/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249" name="Ellipse 248"/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50" name="Ellipse 249"/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51" name="Ellipse 250"/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252" name="Gruppieren 251"/>
          <p:cNvGrpSpPr/>
          <p:nvPr/>
        </p:nvGrpSpPr>
        <p:grpSpPr>
          <a:xfrm>
            <a:off x="6373462" y="4267699"/>
            <a:ext cx="270000" cy="540000"/>
            <a:chOff x="-717331" y="4028090"/>
            <a:chExt cx="270000" cy="540000"/>
          </a:xfrm>
        </p:grpSpPr>
        <p:sp>
          <p:nvSpPr>
            <p:cNvPr id="253" name="Rechteck 252"/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254" name="Gruppieren 253"/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255" name="Ellipse 254"/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56" name="Ellipse 255"/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57" name="Ellipse 256"/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323" name="Gruppieren 322"/>
          <p:cNvGrpSpPr/>
          <p:nvPr/>
        </p:nvGrpSpPr>
        <p:grpSpPr>
          <a:xfrm>
            <a:off x="8220662" y="4267699"/>
            <a:ext cx="270000" cy="540000"/>
            <a:chOff x="-717331" y="4028090"/>
            <a:chExt cx="270000" cy="540000"/>
          </a:xfrm>
        </p:grpSpPr>
        <p:sp>
          <p:nvSpPr>
            <p:cNvPr id="324" name="Rechteck 323"/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325" name="Gruppieren 324"/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326" name="Ellipse 325"/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327" name="Ellipse 326"/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328" name="Ellipse 327"/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A5D061F0-8661-7115-873A-A2701D7D5C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035" y="1938765"/>
            <a:ext cx="1409254" cy="143641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271D523-0477-A323-D9E8-7425A7C0A2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4693" y="1891870"/>
            <a:ext cx="1463748" cy="149195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AAB56D4-32A9-DD9D-6472-04DD8C63BF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3595" y="1891870"/>
            <a:ext cx="1477739" cy="1504607"/>
          </a:xfrm>
          <a:prstGeom prst="rect">
            <a:avLst/>
          </a:prstGeom>
        </p:spPr>
      </p:pic>
      <p:grpSp>
        <p:nvGrpSpPr>
          <p:cNvPr id="282" name="Gruppieren 281">
            <a:extLst>
              <a:ext uri="{FF2B5EF4-FFF2-40B4-BE49-F238E27FC236}">
                <a16:creationId xmlns:a16="http://schemas.microsoft.com/office/drawing/2014/main" id="{0776D5D1-E27A-7E3D-227F-F0FE64E299CA}"/>
              </a:ext>
            </a:extLst>
          </p:cNvPr>
          <p:cNvGrpSpPr/>
          <p:nvPr/>
        </p:nvGrpSpPr>
        <p:grpSpPr>
          <a:xfrm>
            <a:off x="3878019" y="1953426"/>
            <a:ext cx="1465200" cy="1389600"/>
            <a:chOff x="343594" y="854794"/>
            <a:chExt cx="6201586" cy="5879831"/>
          </a:xfrm>
        </p:grpSpPr>
        <p:sp>
          <p:nvSpPr>
            <p:cNvPr id="283" name="AL">
              <a:extLst>
                <a:ext uri="{FF2B5EF4-FFF2-40B4-BE49-F238E27FC236}">
                  <a16:creationId xmlns:a16="http://schemas.microsoft.com/office/drawing/2014/main" id="{201CFB80-47DF-4812-D200-46E3752E0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9508" y="5662290"/>
              <a:ext cx="267630" cy="483520"/>
            </a:xfrm>
            <a:custGeom>
              <a:avLst/>
              <a:gdLst>
                <a:gd name="T0" fmla="*/ 28 w 141"/>
                <a:gd name="T1" fmla="*/ 8 h 273"/>
                <a:gd name="T2" fmla="*/ 34 w 141"/>
                <a:gd name="T3" fmla="*/ 16 h 273"/>
                <a:gd name="T4" fmla="*/ 48 w 141"/>
                <a:gd name="T5" fmla="*/ 6 h 273"/>
                <a:gd name="T6" fmla="*/ 60 w 141"/>
                <a:gd name="T7" fmla="*/ 14 h 273"/>
                <a:gd name="T8" fmla="*/ 64 w 141"/>
                <a:gd name="T9" fmla="*/ 24 h 273"/>
                <a:gd name="T10" fmla="*/ 84 w 141"/>
                <a:gd name="T11" fmla="*/ 33 h 273"/>
                <a:gd name="T12" fmla="*/ 90 w 141"/>
                <a:gd name="T13" fmla="*/ 45 h 273"/>
                <a:gd name="T14" fmla="*/ 93 w 141"/>
                <a:gd name="T15" fmla="*/ 72 h 273"/>
                <a:gd name="T16" fmla="*/ 95 w 141"/>
                <a:gd name="T17" fmla="*/ 90 h 273"/>
                <a:gd name="T18" fmla="*/ 90 w 141"/>
                <a:gd name="T19" fmla="*/ 99 h 273"/>
                <a:gd name="T20" fmla="*/ 97 w 141"/>
                <a:gd name="T21" fmla="*/ 107 h 273"/>
                <a:gd name="T22" fmla="*/ 95 w 141"/>
                <a:gd name="T23" fmla="*/ 118 h 273"/>
                <a:gd name="T24" fmla="*/ 103 w 141"/>
                <a:gd name="T25" fmla="*/ 132 h 273"/>
                <a:gd name="T26" fmla="*/ 110 w 141"/>
                <a:gd name="T27" fmla="*/ 138 h 273"/>
                <a:gd name="T28" fmla="*/ 117 w 141"/>
                <a:gd name="T29" fmla="*/ 151 h 273"/>
                <a:gd name="T30" fmla="*/ 128 w 141"/>
                <a:gd name="T31" fmla="*/ 148 h 273"/>
                <a:gd name="T32" fmla="*/ 134 w 141"/>
                <a:gd name="T33" fmla="*/ 159 h 273"/>
                <a:gd name="T34" fmla="*/ 139 w 141"/>
                <a:gd name="T35" fmla="*/ 168 h 273"/>
                <a:gd name="T36" fmla="*/ 141 w 141"/>
                <a:gd name="T37" fmla="*/ 178 h 273"/>
                <a:gd name="T38" fmla="*/ 137 w 141"/>
                <a:gd name="T39" fmla="*/ 188 h 273"/>
                <a:gd name="T40" fmla="*/ 129 w 141"/>
                <a:gd name="T41" fmla="*/ 191 h 273"/>
                <a:gd name="T42" fmla="*/ 126 w 141"/>
                <a:gd name="T43" fmla="*/ 199 h 273"/>
                <a:gd name="T44" fmla="*/ 122 w 141"/>
                <a:gd name="T45" fmla="*/ 209 h 273"/>
                <a:gd name="T46" fmla="*/ 121 w 141"/>
                <a:gd name="T47" fmla="*/ 220 h 273"/>
                <a:gd name="T48" fmla="*/ 116 w 141"/>
                <a:gd name="T49" fmla="*/ 230 h 273"/>
                <a:gd name="T50" fmla="*/ 103 w 141"/>
                <a:gd name="T51" fmla="*/ 236 h 273"/>
                <a:gd name="T52" fmla="*/ 99 w 141"/>
                <a:gd name="T53" fmla="*/ 246 h 273"/>
                <a:gd name="T54" fmla="*/ 102 w 141"/>
                <a:gd name="T55" fmla="*/ 258 h 273"/>
                <a:gd name="T56" fmla="*/ 99 w 141"/>
                <a:gd name="T57" fmla="*/ 262 h 273"/>
                <a:gd name="T58" fmla="*/ 95 w 141"/>
                <a:gd name="T59" fmla="*/ 270 h 273"/>
                <a:gd name="T60" fmla="*/ 86 w 141"/>
                <a:gd name="T61" fmla="*/ 270 h 273"/>
                <a:gd name="T62" fmla="*/ 78 w 141"/>
                <a:gd name="T63" fmla="*/ 265 h 273"/>
                <a:gd name="T64" fmla="*/ 77 w 141"/>
                <a:gd name="T65" fmla="*/ 254 h 273"/>
                <a:gd name="T66" fmla="*/ 71 w 141"/>
                <a:gd name="T67" fmla="*/ 249 h 273"/>
                <a:gd name="T68" fmla="*/ 59 w 141"/>
                <a:gd name="T69" fmla="*/ 237 h 273"/>
                <a:gd name="T70" fmla="*/ 45 w 141"/>
                <a:gd name="T71" fmla="*/ 231 h 273"/>
                <a:gd name="T72" fmla="*/ 26 w 141"/>
                <a:gd name="T73" fmla="*/ 214 h 273"/>
                <a:gd name="T74" fmla="*/ 28 w 141"/>
                <a:gd name="T75" fmla="*/ 211 h 273"/>
                <a:gd name="T76" fmla="*/ 34 w 141"/>
                <a:gd name="T77" fmla="*/ 215 h 273"/>
                <a:gd name="T78" fmla="*/ 27 w 141"/>
                <a:gd name="T79" fmla="*/ 199 h 273"/>
                <a:gd name="T80" fmla="*/ 28 w 141"/>
                <a:gd name="T81" fmla="*/ 193 h 273"/>
                <a:gd name="T82" fmla="*/ 20 w 141"/>
                <a:gd name="T83" fmla="*/ 186 h 273"/>
                <a:gd name="T84" fmla="*/ 24 w 141"/>
                <a:gd name="T85" fmla="*/ 172 h 273"/>
                <a:gd name="T86" fmla="*/ 25 w 141"/>
                <a:gd name="T87" fmla="*/ 161 h 273"/>
                <a:gd name="T88" fmla="*/ 32 w 141"/>
                <a:gd name="T89" fmla="*/ 159 h 273"/>
                <a:gd name="T90" fmla="*/ 27 w 141"/>
                <a:gd name="T91" fmla="*/ 162 h 273"/>
                <a:gd name="T92" fmla="*/ 25 w 141"/>
                <a:gd name="T93" fmla="*/ 152 h 273"/>
                <a:gd name="T94" fmla="*/ 25 w 141"/>
                <a:gd name="T95" fmla="*/ 138 h 273"/>
                <a:gd name="T96" fmla="*/ 25 w 141"/>
                <a:gd name="T97" fmla="*/ 126 h 273"/>
                <a:gd name="T98" fmla="*/ 19 w 141"/>
                <a:gd name="T99" fmla="*/ 120 h 273"/>
                <a:gd name="T100" fmla="*/ 22 w 141"/>
                <a:gd name="T101" fmla="*/ 113 h 273"/>
                <a:gd name="T102" fmla="*/ 21 w 141"/>
                <a:gd name="T103" fmla="*/ 104 h 273"/>
                <a:gd name="T104" fmla="*/ 28 w 141"/>
                <a:gd name="T105" fmla="*/ 100 h 273"/>
                <a:gd name="T106" fmla="*/ 27 w 141"/>
                <a:gd name="T107" fmla="*/ 88 h 273"/>
                <a:gd name="T108" fmla="*/ 18 w 141"/>
                <a:gd name="T109" fmla="*/ 75 h 273"/>
                <a:gd name="T110" fmla="*/ 8 w 141"/>
                <a:gd name="T111" fmla="*/ 70 h 273"/>
                <a:gd name="T112" fmla="*/ 7 w 141"/>
                <a:gd name="T113" fmla="*/ 61 h 273"/>
                <a:gd name="T114" fmla="*/ 2 w 141"/>
                <a:gd name="T115" fmla="*/ 50 h 273"/>
                <a:gd name="T116" fmla="*/ 7 w 141"/>
                <a:gd name="T117" fmla="*/ 33 h 273"/>
                <a:gd name="T118" fmla="*/ 15 w 141"/>
                <a:gd name="T119" fmla="*/ 20 h 273"/>
                <a:gd name="T120" fmla="*/ 19 w 141"/>
                <a:gd name="T121" fmla="*/ 8 h 273"/>
                <a:gd name="T122" fmla="*/ 27 w 141"/>
                <a:gd name="T123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1" h="273">
                  <a:moveTo>
                    <a:pt x="27" y="0"/>
                  </a:moveTo>
                  <a:lnTo>
                    <a:pt x="29" y="4"/>
                  </a:lnTo>
                  <a:lnTo>
                    <a:pt x="28" y="8"/>
                  </a:lnTo>
                  <a:lnTo>
                    <a:pt x="29" y="10"/>
                  </a:lnTo>
                  <a:lnTo>
                    <a:pt x="30" y="14"/>
                  </a:lnTo>
                  <a:lnTo>
                    <a:pt x="34" y="16"/>
                  </a:lnTo>
                  <a:lnTo>
                    <a:pt x="39" y="13"/>
                  </a:lnTo>
                  <a:lnTo>
                    <a:pt x="44" y="11"/>
                  </a:lnTo>
                  <a:lnTo>
                    <a:pt x="48" y="6"/>
                  </a:lnTo>
                  <a:lnTo>
                    <a:pt x="51" y="6"/>
                  </a:lnTo>
                  <a:lnTo>
                    <a:pt x="56" y="9"/>
                  </a:lnTo>
                  <a:lnTo>
                    <a:pt x="60" y="14"/>
                  </a:lnTo>
                  <a:lnTo>
                    <a:pt x="62" y="17"/>
                  </a:lnTo>
                  <a:lnTo>
                    <a:pt x="63" y="21"/>
                  </a:lnTo>
                  <a:lnTo>
                    <a:pt x="64" y="24"/>
                  </a:lnTo>
                  <a:lnTo>
                    <a:pt x="71" y="25"/>
                  </a:lnTo>
                  <a:lnTo>
                    <a:pt x="81" y="30"/>
                  </a:lnTo>
                  <a:lnTo>
                    <a:pt x="84" y="33"/>
                  </a:lnTo>
                  <a:lnTo>
                    <a:pt x="89" y="39"/>
                  </a:lnTo>
                  <a:lnTo>
                    <a:pt x="90" y="43"/>
                  </a:lnTo>
                  <a:lnTo>
                    <a:pt x="90" y="45"/>
                  </a:lnTo>
                  <a:lnTo>
                    <a:pt x="92" y="65"/>
                  </a:lnTo>
                  <a:lnTo>
                    <a:pt x="93" y="69"/>
                  </a:lnTo>
                  <a:lnTo>
                    <a:pt x="93" y="72"/>
                  </a:lnTo>
                  <a:lnTo>
                    <a:pt x="91" y="76"/>
                  </a:lnTo>
                  <a:lnTo>
                    <a:pt x="92" y="83"/>
                  </a:lnTo>
                  <a:lnTo>
                    <a:pt x="95" y="90"/>
                  </a:lnTo>
                  <a:lnTo>
                    <a:pt x="93" y="93"/>
                  </a:lnTo>
                  <a:lnTo>
                    <a:pt x="89" y="95"/>
                  </a:lnTo>
                  <a:lnTo>
                    <a:pt x="90" y="99"/>
                  </a:lnTo>
                  <a:lnTo>
                    <a:pt x="93" y="102"/>
                  </a:lnTo>
                  <a:lnTo>
                    <a:pt x="94" y="105"/>
                  </a:lnTo>
                  <a:lnTo>
                    <a:pt x="97" y="107"/>
                  </a:lnTo>
                  <a:lnTo>
                    <a:pt x="97" y="111"/>
                  </a:lnTo>
                  <a:lnTo>
                    <a:pt x="95" y="114"/>
                  </a:lnTo>
                  <a:lnTo>
                    <a:pt x="95" y="118"/>
                  </a:lnTo>
                  <a:lnTo>
                    <a:pt x="97" y="123"/>
                  </a:lnTo>
                  <a:lnTo>
                    <a:pt x="101" y="129"/>
                  </a:lnTo>
                  <a:lnTo>
                    <a:pt x="103" y="132"/>
                  </a:lnTo>
                  <a:lnTo>
                    <a:pt x="104" y="135"/>
                  </a:lnTo>
                  <a:lnTo>
                    <a:pt x="107" y="136"/>
                  </a:lnTo>
                  <a:lnTo>
                    <a:pt x="110" y="138"/>
                  </a:lnTo>
                  <a:lnTo>
                    <a:pt x="112" y="143"/>
                  </a:lnTo>
                  <a:lnTo>
                    <a:pt x="114" y="148"/>
                  </a:lnTo>
                  <a:lnTo>
                    <a:pt x="117" y="151"/>
                  </a:lnTo>
                  <a:lnTo>
                    <a:pt x="120" y="151"/>
                  </a:lnTo>
                  <a:lnTo>
                    <a:pt x="124" y="148"/>
                  </a:lnTo>
                  <a:lnTo>
                    <a:pt x="128" y="148"/>
                  </a:lnTo>
                  <a:lnTo>
                    <a:pt x="131" y="149"/>
                  </a:lnTo>
                  <a:lnTo>
                    <a:pt x="133" y="151"/>
                  </a:lnTo>
                  <a:lnTo>
                    <a:pt x="134" y="159"/>
                  </a:lnTo>
                  <a:lnTo>
                    <a:pt x="133" y="162"/>
                  </a:lnTo>
                  <a:lnTo>
                    <a:pt x="135" y="165"/>
                  </a:lnTo>
                  <a:lnTo>
                    <a:pt x="139" y="168"/>
                  </a:lnTo>
                  <a:lnTo>
                    <a:pt x="141" y="171"/>
                  </a:lnTo>
                  <a:lnTo>
                    <a:pt x="141" y="175"/>
                  </a:lnTo>
                  <a:lnTo>
                    <a:pt x="141" y="178"/>
                  </a:lnTo>
                  <a:lnTo>
                    <a:pt x="141" y="181"/>
                  </a:lnTo>
                  <a:lnTo>
                    <a:pt x="138" y="184"/>
                  </a:lnTo>
                  <a:lnTo>
                    <a:pt x="137" y="188"/>
                  </a:lnTo>
                  <a:lnTo>
                    <a:pt x="135" y="190"/>
                  </a:lnTo>
                  <a:lnTo>
                    <a:pt x="131" y="190"/>
                  </a:lnTo>
                  <a:lnTo>
                    <a:pt x="129" y="191"/>
                  </a:lnTo>
                  <a:lnTo>
                    <a:pt x="128" y="194"/>
                  </a:lnTo>
                  <a:lnTo>
                    <a:pt x="125" y="195"/>
                  </a:lnTo>
                  <a:lnTo>
                    <a:pt x="126" y="199"/>
                  </a:lnTo>
                  <a:lnTo>
                    <a:pt x="126" y="201"/>
                  </a:lnTo>
                  <a:lnTo>
                    <a:pt x="124" y="206"/>
                  </a:lnTo>
                  <a:lnTo>
                    <a:pt x="122" y="209"/>
                  </a:lnTo>
                  <a:lnTo>
                    <a:pt x="122" y="213"/>
                  </a:lnTo>
                  <a:lnTo>
                    <a:pt x="122" y="217"/>
                  </a:lnTo>
                  <a:lnTo>
                    <a:pt x="121" y="220"/>
                  </a:lnTo>
                  <a:lnTo>
                    <a:pt x="121" y="223"/>
                  </a:lnTo>
                  <a:lnTo>
                    <a:pt x="121" y="227"/>
                  </a:lnTo>
                  <a:lnTo>
                    <a:pt x="116" y="230"/>
                  </a:lnTo>
                  <a:lnTo>
                    <a:pt x="110" y="231"/>
                  </a:lnTo>
                  <a:lnTo>
                    <a:pt x="106" y="232"/>
                  </a:lnTo>
                  <a:lnTo>
                    <a:pt x="103" y="236"/>
                  </a:lnTo>
                  <a:lnTo>
                    <a:pt x="103" y="239"/>
                  </a:lnTo>
                  <a:lnTo>
                    <a:pt x="98" y="240"/>
                  </a:lnTo>
                  <a:lnTo>
                    <a:pt x="99" y="246"/>
                  </a:lnTo>
                  <a:lnTo>
                    <a:pt x="106" y="253"/>
                  </a:lnTo>
                  <a:lnTo>
                    <a:pt x="106" y="257"/>
                  </a:lnTo>
                  <a:lnTo>
                    <a:pt x="102" y="258"/>
                  </a:lnTo>
                  <a:lnTo>
                    <a:pt x="99" y="257"/>
                  </a:lnTo>
                  <a:lnTo>
                    <a:pt x="98" y="260"/>
                  </a:lnTo>
                  <a:lnTo>
                    <a:pt x="99" y="262"/>
                  </a:lnTo>
                  <a:lnTo>
                    <a:pt x="100" y="265"/>
                  </a:lnTo>
                  <a:lnTo>
                    <a:pt x="97" y="268"/>
                  </a:lnTo>
                  <a:lnTo>
                    <a:pt x="95" y="270"/>
                  </a:lnTo>
                  <a:lnTo>
                    <a:pt x="93" y="273"/>
                  </a:lnTo>
                  <a:lnTo>
                    <a:pt x="89" y="271"/>
                  </a:lnTo>
                  <a:lnTo>
                    <a:pt x="86" y="270"/>
                  </a:lnTo>
                  <a:lnTo>
                    <a:pt x="82" y="269"/>
                  </a:lnTo>
                  <a:lnTo>
                    <a:pt x="78" y="270"/>
                  </a:lnTo>
                  <a:lnTo>
                    <a:pt x="78" y="265"/>
                  </a:lnTo>
                  <a:lnTo>
                    <a:pt x="77" y="262"/>
                  </a:lnTo>
                  <a:lnTo>
                    <a:pt x="78" y="257"/>
                  </a:lnTo>
                  <a:lnTo>
                    <a:pt x="77" y="254"/>
                  </a:lnTo>
                  <a:lnTo>
                    <a:pt x="74" y="253"/>
                  </a:lnTo>
                  <a:lnTo>
                    <a:pt x="70" y="252"/>
                  </a:lnTo>
                  <a:lnTo>
                    <a:pt x="71" y="249"/>
                  </a:lnTo>
                  <a:lnTo>
                    <a:pt x="66" y="241"/>
                  </a:lnTo>
                  <a:lnTo>
                    <a:pt x="62" y="239"/>
                  </a:lnTo>
                  <a:lnTo>
                    <a:pt x="59" y="237"/>
                  </a:lnTo>
                  <a:lnTo>
                    <a:pt x="56" y="235"/>
                  </a:lnTo>
                  <a:lnTo>
                    <a:pt x="49" y="233"/>
                  </a:lnTo>
                  <a:lnTo>
                    <a:pt x="45" y="231"/>
                  </a:lnTo>
                  <a:lnTo>
                    <a:pt x="38" y="229"/>
                  </a:lnTo>
                  <a:lnTo>
                    <a:pt x="28" y="220"/>
                  </a:lnTo>
                  <a:lnTo>
                    <a:pt x="26" y="214"/>
                  </a:lnTo>
                  <a:lnTo>
                    <a:pt x="22" y="211"/>
                  </a:lnTo>
                  <a:lnTo>
                    <a:pt x="22" y="207"/>
                  </a:lnTo>
                  <a:lnTo>
                    <a:pt x="28" y="211"/>
                  </a:lnTo>
                  <a:lnTo>
                    <a:pt x="30" y="213"/>
                  </a:lnTo>
                  <a:lnTo>
                    <a:pt x="30" y="216"/>
                  </a:lnTo>
                  <a:lnTo>
                    <a:pt x="34" y="215"/>
                  </a:lnTo>
                  <a:lnTo>
                    <a:pt x="34" y="206"/>
                  </a:lnTo>
                  <a:lnTo>
                    <a:pt x="29" y="202"/>
                  </a:lnTo>
                  <a:lnTo>
                    <a:pt x="27" y="199"/>
                  </a:lnTo>
                  <a:lnTo>
                    <a:pt x="30" y="200"/>
                  </a:lnTo>
                  <a:lnTo>
                    <a:pt x="31" y="196"/>
                  </a:lnTo>
                  <a:lnTo>
                    <a:pt x="28" y="193"/>
                  </a:lnTo>
                  <a:lnTo>
                    <a:pt x="26" y="197"/>
                  </a:lnTo>
                  <a:lnTo>
                    <a:pt x="20" y="189"/>
                  </a:lnTo>
                  <a:lnTo>
                    <a:pt x="20" y="186"/>
                  </a:lnTo>
                  <a:lnTo>
                    <a:pt x="23" y="182"/>
                  </a:lnTo>
                  <a:lnTo>
                    <a:pt x="22" y="175"/>
                  </a:lnTo>
                  <a:lnTo>
                    <a:pt x="24" y="172"/>
                  </a:lnTo>
                  <a:lnTo>
                    <a:pt x="24" y="169"/>
                  </a:lnTo>
                  <a:lnTo>
                    <a:pt x="23" y="165"/>
                  </a:lnTo>
                  <a:lnTo>
                    <a:pt x="25" y="161"/>
                  </a:lnTo>
                  <a:lnTo>
                    <a:pt x="25" y="165"/>
                  </a:lnTo>
                  <a:lnTo>
                    <a:pt x="31" y="163"/>
                  </a:lnTo>
                  <a:lnTo>
                    <a:pt x="32" y="159"/>
                  </a:lnTo>
                  <a:lnTo>
                    <a:pt x="30" y="155"/>
                  </a:lnTo>
                  <a:lnTo>
                    <a:pt x="28" y="159"/>
                  </a:lnTo>
                  <a:lnTo>
                    <a:pt x="27" y="162"/>
                  </a:lnTo>
                  <a:lnTo>
                    <a:pt x="28" y="159"/>
                  </a:lnTo>
                  <a:lnTo>
                    <a:pt x="28" y="154"/>
                  </a:lnTo>
                  <a:lnTo>
                    <a:pt x="25" y="152"/>
                  </a:lnTo>
                  <a:lnTo>
                    <a:pt x="25" y="144"/>
                  </a:lnTo>
                  <a:lnTo>
                    <a:pt x="24" y="142"/>
                  </a:lnTo>
                  <a:lnTo>
                    <a:pt x="25" y="138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5" y="126"/>
                  </a:lnTo>
                  <a:lnTo>
                    <a:pt x="23" y="126"/>
                  </a:lnTo>
                  <a:lnTo>
                    <a:pt x="20" y="123"/>
                  </a:lnTo>
                  <a:lnTo>
                    <a:pt x="19" y="120"/>
                  </a:lnTo>
                  <a:lnTo>
                    <a:pt x="18" y="117"/>
                  </a:lnTo>
                  <a:lnTo>
                    <a:pt x="21" y="116"/>
                  </a:lnTo>
                  <a:lnTo>
                    <a:pt x="22" y="113"/>
                  </a:lnTo>
                  <a:lnTo>
                    <a:pt x="25" y="109"/>
                  </a:lnTo>
                  <a:lnTo>
                    <a:pt x="25" y="105"/>
                  </a:lnTo>
                  <a:lnTo>
                    <a:pt x="21" y="104"/>
                  </a:lnTo>
                  <a:lnTo>
                    <a:pt x="19" y="101"/>
                  </a:lnTo>
                  <a:lnTo>
                    <a:pt x="25" y="101"/>
                  </a:lnTo>
                  <a:lnTo>
                    <a:pt x="28" y="100"/>
                  </a:lnTo>
                  <a:lnTo>
                    <a:pt x="29" y="97"/>
                  </a:lnTo>
                  <a:lnTo>
                    <a:pt x="26" y="93"/>
                  </a:lnTo>
                  <a:lnTo>
                    <a:pt x="27" y="88"/>
                  </a:lnTo>
                  <a:lnTo>
                    <a:pt x="26" y="84"/>
                  </a:lnTo>
                  <a:lnTo>
                    <a:pt x="28" y="79"/>
                  </a:lnTo>
                  <a:lnTo>
                    <a:pt x="18" y="75"/>
                  </a:lnTo>
                  <a:lnTo>
                    <a:pt x="10" y="76"/>
                  </a:lnTo>
                  <a:lnTo>
                    <a:pt x="10" y="73"/>
                  </a:lnTo>
                  <a:lnTo>
                    <a:pt x="8" y="70"/>
                  </a:lnTo>
                  <a:lnTo>
                    <a:pt x="8" y="67"/>
                  </a:lnTo>
                  <a:lnTo>
                    <a:pt x="8" y="64"/>
                  </a:lnTo>
                  <a:lnTo>
                    <a:pt x="7" y="61"/>
                  </a:lnTo>
                  <a:lnTo>
                    <a:pt x="7" y="57"/>
                  </a:lnTo>
                  <a:lnTo>
                    <a:pt x="8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2" y="44"/>
                  </a:lnTo>
                  <a:lnTo>
                    <a:pt x="7" y="33"/>
                  </a:lnTo>
                  <a:lnTo>
                    <a:pt x="8" y="29"/>
                  </a:lnTo>
                  <a:lnTo>
                    <a:pt x="11" y="24"/>
                  </a:lnTo>
                  <a:lnTo>
                    <a:pt x="15" y="20"/>
                  </a:lnTo>
                  <a:lnTo>
                    <a:pt x="16" y="15"/>
                  </a:lnTo>
                  <a:lnTo>
                    <a:pt x="18" y="13"/>
                  </a:lnTo>
                  <a:lnTo>
                    <a:pt x="19" y="8"/>
                  </a:lnTo>
                  <a:lnTo>
                    <a:pt x="20" y="5"/>
                  </a:lnTo>
                  <a:lnTo>
                    <a:pt x="24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284" name="AT">
              <a:extLst>
                <a:ext uri="{FF2B5EF4-FFF2-40B4-BE49-F238E27FC236}">
                  <a16:creationId xmlns:a16="http://schemas.microsoft.com/office/drawing/2014/main" id="{B9C9E642-7545-A206-428A-269C44489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449" y="4667540"/>
              <a:ext cx="920351" cy="440572"/>
            </a:xfrm>
            <a:custGeom>
              <a:avLst/>
              <a:gdLst>
                <a:gd name="T0" fmla="*/ 353 w 478"/>
                <a:gd name="T1" fmla="*/ 1 h 246"/>
                <a:gd name="T2" fmla="*/ 382 w 478"/>
                <a:gd name="T3" fmla="*/ 10 h 246"/>
                <a:gd name="T4" fmla="*/ 406 w 478"/>
                <a:gd name="T5" fmla="*/ 19 h 246"/>
                <a:gd name="T6" fmla="*/ 437 w 478"/>
                <a:gd name="T7" fmla="*/ 12 h 246"/>
                <a:gd name="T8" fmla="*/ 455 w 478"/>
                <a:gd name="T9" fmla="*/ 19 h 246"/>
                <a:gd name="T10" fmla="*/ 456 w 478"/>
                <a:gd name="T11" fmla="*/ 51 h 246"/>
                <a:gd name="T12" fmla="*/ 467 w 478"/>
                <a:gd name="T13" fmla="*/ 70 h 246"/>
                <a:gd name="T14" fmla="*/ 475 w 478"/>
                <a:gd name="T15" fmla="*/ 88 h 246"/>
                <a:gd name="T16" fmla="*/ 475 w 478"/>
                <a:gd name="T17" fmla="*/ 111 h 246"/>
                <a:gd name="T18" fmla="*/ 446 w 478"/>
                <a:gd name="T19" fmla="*/ 109 h 246"/>
                <a:gd name="T20" fmla="*/ 439 w 478"/>
                <a:gd name="T21" fmla="*/ 120 h 246"/>
                <a:gd name="T22" fmla="*/ 450 w 478"/>
                <a:gd name="T23" fmla="*/ 136 h 246"/>
                <a:gd name="T24" fmla="*/ 438 w 478"/>
                <a:gd name="T25" fmla="*/ 157 h 246"/>
                <a:gd name="T26" fmla="*/ 441 w 478"/>
                <a:gd name="T27" fmla="*/ 177 h 246"/>
                <a:gd name="T28" fmla="*/ 429 w 478"/>
                <a:gd name="T29" fmla="*/ 183 h 246"/>
                <a:gd name="T30" fmla="*/ 413 w 478"/>
                <a:gd name="T31" fmla="*/ 206 h 246"/>
                <a:gd name="T32" fmla="*/ 392 w 478"/>
                <a:gd name="T33" fmla="*/ 210 h 246"/>
                <a:gd name="T34" fmla="*/ 365 w 478"/>
                <a:gd name="T35" fmla="*/ 219 h 246"/>
                <a:gd name="T36" fmla="*/ 340 w 478"/>
                <a:gd name="T37" fmla="*/ 230 h 246"/>
                <a:gd name="T38" fmla="*/ 325 w 478"/>
                <a:gd name="T39" fmla="*/ 246 h 246"/>
                <a:gd name="T40" fmla="*/ 290 w 478"/>
                <a:gd name="T41" fmla="*/ 239 h 246"/>
                <a:gd name="T42" fmla="*/ 257 w 478"/>
                <a:gd name="T43" fmla="*/ 234 h 246"/>
                <a:gd name="T44" fmla="*/ 212 w 478"/>
                <a:gd name="T45" fmla="*/ 230 h 246"/>
                <a:gd name="T46" fmla="*/ 188 w 478"/>
                <a:gd name="T47" fmla="*/ 224 h 246"/>
                <a:gd name="T48" fmla="*/ 174 w 478"/>
                <a:gd name="T49" fmla="*/ 207 h 246"/>
                <a:gd name="T50" fmla="*/ 169 w 478"/>
                <a:gd name="T51" fmla="*/ 192 h 246"/>
                <a:gd name="T52" fmla="*/ 144 w 478"/>
                <a:gd name="T53" fmla="*/ 197 h 246"/>
                <a:gd name="T54" fmla="*/ 124 w 478"/>
                <a:gd name="T55" fmla="*/ 196 h 246"/>
                <a:gd name="T56" fmla="*/ 99 w 478"/>
                <a:gd name="T57" fmla="*/ 209 h 246"/>
                <a:gd name="T58" fmla="*/ 82 w 478"/>
                <a:gd name="T59" fmla="*/ 218 h 246"/>
                <a:gd name="T60" fmla="*/ 59 w 478"/>
                <a:gd name="T61" fmla="*/ 208 h 246"/>
                <a:gd name="T62" fmla="*/ 44 w 478"/>
                <a:gd name="T63" fmla="*/ 207 h 246"/>
                <a:gd name="T64" fmla="*/ 21 w 478"/>
                <a:gd name="T65" fmla="*/ 199 h 246"/>
                <a:gd name="T66" fmla="*/ 1 w 478"/>
                <a:gd name="T67" fmla="*/ 177 h 246"/>
                <a:gd name="T68" fmla="*/ 2 w 478"/>
                <a:gd name="T69" fmla="*/ 149 h 246"/>
                <a:gd name="T70" fmla="*/ 21 w 478"/>
                <a:gd name="T71" fmla="*/ 147 h 246"/>
                <a:gd name="T72" fmla="*/ 35 w 478"/>
                <a:gd name="T73" fmla="*/ 162 h 246"/>
                <a:gd name="T74" fmla="*/ 50 w 478"/>
                <a:gd name="T75" fmla="*/ 170 h 246"/>
                <a:gd name="T76" fmla="*/ 58 w 478"/>
                <a:gd name="T77" fmla="*/ 147 h 246"/>
                <a:gd name="T78" fmla="*/ 77 w 478"/>
                <a:gd name="T79" fmla="*/ 148 h 246"/>
                <a:gd name="T80" fmla="*/ 91 w 478"/>
                <a:gd name="T81" fmla="*/ 160 h 246"/>
                <a:gd name="T82" fmla="*/ 117 w 478"/>
                <a:gd name="T83" fmla="*/ 155 h 246"/>
                <a:gd name="T84" fmla="*/ 133 w 478"/>
                <a:gd name="T85" fmla="*/ 141 h 246"/>
                <a:gd name="T86" fmla="*/ 169 w 478"/>
                <a:gd name="T87" fmla="*/ 133 h 246"/>
                <a:gd name="T88" fmla="*/ 185 w 478"/>
                <a:gd name="T89" fmla="*/ 133 h 246"/>
                <a:gd name="T90" fmla="*/ 205 w 478"/>
                <a:gd name="T91" fmla="*/ 135 h 246"/>
                <a:gd name="T92" fmla="*/ 221 w 478"/>
                <a:gd name="T93" fmla="*/ 149 h 246"/>
                <a:gd name="T94" fmla="*/ 219 w 478"/>
                <a:gd name="T95" fmla="*/ 127 h 246"/>
                <a:gd name="T96" fmla="*/ 211 w 478"/>
                <a:gd name="T97" fmla="*/ 105 h 246"/>
                <a:gd name="T98" fmla="*/ 208 w 478"/>
                <a:gd name="T99" fmla="*/ 83 h 246"/>
                <a:gd name="T100" fmla="*/ 243 w 478"/>
                <a:gd name="T101" fmla="*/ 61 h 246"/>
                <a:gd name="T102" fmla="*/ 258 w 478"/>
                <a:gd name="T103" fmla="*/ 49 h 246"/>
                <a:gd name="T104" fmla="*/ 265 w 478"/>
                <a:gd name="T105" fmla="*/ 32 h 246"/>
                <a:gd name="T106" fmla="*/ 280 w 478"/>
                <a:gd name="T107" fmla="*/ 41 h 246"/>
                <a:gd name="T108" fmla="*/ 307 w 478"/>
                <a:gd name="T109" fmla="*/ 38 h 246"/>
                <a:gd name="T110" fmla="*/ 321 w 478"/>
                <a:gd name="T111" fmla="*/ 29 h 246"/>
                <a:gd name="T112" fmla="*/ 336 w 478"/>
                <a:gd name="T113" fmla="*/ 6 h 246"/>
                <a:gd name="connsiteX0" fmla="*/ 7155 w 10126"/>
                <a:gd name="connsiteY0" fmla="*/ 0 h 10000"/>
                <a:gd name="connsiteX1" fmla="*/ 7260 w 10126"/>
                <a:gd name="connsiteY1" fmla="*/ 0 h 10000"/>
                <a:gd name="connsiteX2" fmla="*/ 7364 w 10126"/>
                <a:gd name="connsiteY2" fmla="*/ 0 h 10000"/>
                <a:gd name="connsiteX3" fmla="*/ 7385 w 10126"/>
                <a:gd name="connsiteY3" fmla="*/ 163 h 10000"/>
                <a:gd name="connsiteX4" fmla="*/ 7364 w 10126"/>
                <a:gd name="connsiteY4" fmla="*/ 203 h 10000"/>
                <a:gd name="connsiteX5" fmla="*/ 7490 w 10126"/>
                <a:gd name="connsiteY5" fmla="*/ 163 h 10000"/>
                <a:gd name="connsiteX6" fmla="*/ 7511 w 10126"/>
                <a:gd name="connsiteY6" fmla="*/ 41 h 10000"/>
                <a:gd name="connsiteX7" fmla="*/ 7616 w 10126"/>
                <a:gd name="connsiteY7" fmla="*/ 41 h 10000"/>
                <a:gd name="connsiteX8" fmla="*/ 7699 w 10126"/>
                <a:gd name="connsiteY8" fmla="*/ 122 h 10000"/>
                <a:gd name="connsiteX9" fmla="*/ 7762 w 10126"/>
                <a:gd name="connsiteY9" fmla="*/ 122 h 10000"/>
                <a:gd name="connsiteX10" fmla="*/ 7867 w 10126"/>
                <a:gd name="connsiteY10" fmla="*/ 244 h 10000"/>
                <a:gd name="connsiteX11" fmla="*/ 7971 w 10126"/>
                <a:gd name="connsiteY11" fmla="*/ 325 h 10000"/>
                <a:gd name="connsiteX12" fmla="*/ 8076 w 10126"/>
                <a:gd name="connsiteY12" fmla="*/ 407 h 10000"/>
                <a:gd name="connsiteX13" fmla="*/ 8118 w 10126"/>
                <a:gd name="connsiteY13" fmla="*/ 407 h 10000"/>
                <a:gd name="connsiteX14" fmla="*/ 8180 w 10126"/>
                <a:gd name="connsiteY14" fmla="*/ 366 h 10000"/>
                <a:gd name="connsiteX15" fmla="*/ 8243 w 10126"/>
                <a:gd name="connsiteY15" fmla="*/ 325 h 10000"/>
                <a:gd name="connsiteX16" fmla="*/ 8285 w 10126"/>
                <a:gd name="connsiteY16" fmla="*/ 407 h 10000"/>
                <a:gd name="connsiteX17" fmla="*/ 8348 w 10126"/>
                <a:gd name="connsiteY17" fmla="*/ 447 h 10000"/>
                <a:gd name="connsiteX18" fmla="*/ 8411 w 10126"/>
                <a:gd name="connsiteY18" fmla="*/ 569 h 10000"/>
                <a:gd name="connsiteX19" fmla="*/ 8557 w 10126"/>
                <a:gd name="connsiteY19" fmla="*/ 732 h 10000"/>
                <a:gd name="connsiteX20" fmla="*/ 8620 w 10126"/>
                <a:gd name="connsiteY20" fmla="*/ 772 h 10000"/>
                <a:gd name="connsiteX21" fmla="*/ 8724 w 10126"/>
                <a:gd name="connsiteY21" fmla="*/ 732 h 10000"/>
                <a:gd name="connsiteX22" fmla="*/ 8913 w 10126"/>
                <a:gd name="connsiteY22" fmla="*/ 772 h 10000"/>
                <a:gd name="connsiteX23" fmla="*/ 8975 w 10126"/>
                <a:gd name="connsiteY23" fmla="*/ 772 h 10000"/>
                <a:gd name="connsiteX24" fmla="*/ 9059 w 10126"/>
                <a:gd name="connsiteY24" fmla="*/ 488 h 10000"/>
                <a:gd name="connsiteX25" fmla="*/ 9101 w 10126"/>
                <a:gd name="connsiteY25" fmla="*/ 488 h 10000"/>
                <a:gd name="connsiteX26" fmla="*/ 9164 w 10126"/>
                <a:gd name="connsiteY26" fmla="*/ 447 h 10000"/>
                <a:gd name="connsiteX27" fmla="*/ 9268 w 10126"/>
                <a:gd name="connsiteY27" fmla="*/ 488 h 10000"/>
                <a:gd name="connsiteX28" fmla="*/ 9310 w 10126"/>
                <a:gd name="connsiteY28" fmla="*/ 528 h 10000"/>
                <a:gd name="connsiteX29" fmla="*/ 9352 w 10126"/>
                <a:gd name="connsiteY29" fmla="*/ 650 h 10000"/>
                <a:gd name="connsiteX30" fmla="*/ 9436 w 10126"/>
                <a:gd name="connsiteY30" fmla="*/ 650 h 10000"/>
                <a:gd name="connsiteX31" fmla="*/ 9498 w 10126"/>
                <a:gd name="connsiteY31" fmla="*/ 732 h 10000"/>
                <a:gd name="connsiteX32" fmla="*/ 9561 w 10126"/>
                <a:gd name="connsiteY32" fmla="*/ 732 h 10000"/>
                <a:gd name="connsiteX33" fmla="*/ 9603 w 10126"/>
                <a:gd name="connsiteY33" fmla="*/ 691 h 10000"/>
                <a:gd name="connsiteX34" fmla="*/ 9645 w 10126"/>
                <a:gd name="connsiteY34" fmla="*/ 772 h 10000"/>
                <a:gd name="connsiteX35" fmla="*/ 9729 w 10126"/>
                <a:gd name="connsiteY35" fmla="*/ 1098 h 10000"/>
                <a:gd name="connsiteX36" fmla="*/ 9749 w 10126"/>
                <a:gd name="connsiteY36" fmla="*/ 1301 h 10000"/>
                <a:gd name="connsiteX37" fmla="*/ 9729 w 10126"/>
                <a:gd name="connsiteY37" fmla="*/ 1423 h 10000"/>
                <a:gd name="connsiteX38" fmla="*/ 9687 w 10126"/>
                <a:gd name="connsiteY38" fmla="*/ 1545 h 10000"/>
                <a:gd name="connsiteX39" fmla="*/ 9666 w 10126"/>
                <a:gd name="connsiteY39" fmla="*/ 1707 h 10000"/>
                <a:gd name="connsiteX40" fmla="*/ 9645 w 10126"/>
                <a:gd name="connsiteY40" fmla="*/ 1951 h 10000"/>
                <a:gd name="connsiteX41" fmla="*/ 9666 w 10126"/>
                <a:gd name="connsiteY41" fmla="*/ 2073 h 10000"/>
                <a:gd name="connsiteX42" fmla="*/ 9708 w 10126"/>
                <a:gd name="connsiteY42" fmla="*/ 2114 h 10000"/>
                <a:gd name="connsiteX43" fmla="*/ 9729 w 10126"/>
                <a:gd name="connsiteY43" fmla="*/ 2236 h 10000"/>
                <a:gd name="connsiteX44" fmla="*/ 9770 w 10126"/>
                <a:gd name="connsiteY44" fmla="*/ 2317 h 10000"/>
                <a:gd name="connsiteX45" fmla="*/ 9812 w 10126"/>
                <a:gd name="connsiteY45" fmla="*/ 2439 h 10000"/>
                <a:gd name="connsiteX46" fmla="*/ 9833 w 10126"/>
                <a:gd name="connsiteY46" fmla="*/ 2561 h 10000"/>
                <a:gd name="connsiteX47" fmla="*/ 9854 w 10126"/>
                <a:gd name="connsiteY47" fmla="*/ 2724 h 10000"/>
                <a:gd name="connsiteX48" fmla="*/ 9896 w 10126"/>
                <a:gd name="connsiteY48" fmla="*/ 2846 h 10000"/>
                <a:gd name="connsiteX49" fmla="*/ 9959 w 10126"/>
                <a:gd name="connsiteY49" fmla="*/ 2886 h 10000"/>
                <a:gd name="connsiteX50" fmla="*/ 10021 w 10126"/>
                <a:gd name="connsiteY50" fmla="*/ 3008 h 10000"/>
                <a:gd name="connsiteX51" fmla="*/ 10000 w 10126"/>
                <a:gd name="connsiteY51" fmla="*/ 3130 h 10000"/>
                <a:gd name="connsiteX52" fmla="*/ 10042 w 10126"/>
                <a:gd name="connsiteY52" fmla="*/ 3252 h 10000"/>
                <a:gd name="connsiteX53" fmla="*/ 10126 w 10126"/>
                <a:gd name="connsiteY53" fmla="*/ 3333 h 10000"/>
                <a:gd name="connsiteX54" fmla="*/ 10042 w 10126"/>
                <a:gd name="connsiteY54" fmla="*/ 3455 h 10000"/>
                <a:gd name="connsiteX55" fmla="*/ 10063 w 10126"/>
                <a:gd name="connsiteY55" fmla="*/ 3577 h 10000"/>
                <a:gd name="connsiteX56" fmla="*/ 10063 w 10126"/>
                <a:gd name="connsiteY56" fmla="*/ 3699 h 10000"/>
                <a:gd name="connsiteX57" fmla="*/ 10021 w 10126"/>
                <a:gd name="connsiteY57" fmla="*/ 3821 h 10000"/>
                <a:gd name="connsiteX58" fmla="*/ 9959 w 10126"/>
                <a:gd name="connsiteY58" fmla="*/ 3862 h 10000"/>
                <a:gd name="connsiteX59" fmla="*/ 10021 w 10126"/>
                <a:gd name="connsiteY59" fmla="*/ 4024 h 10000"/>
                <a:gd name="connsiteX60" fmla="*/ 10021 w 10126"/>
                <a:gd name="connsiteY60" fmla="*/ 4228 h 10000"/>
                <a:gd name="connsiteX61" fmla="*/ 10042 w 10126"/>
                <a:gd name="connsiteY61" fmla="*/ 4390 h 10000"/>
                <a:gd name="connsiteX62" fmla="*/ 10063 w 10126"/>
                <a:gd name="connsiteY62" fmla="*/ 4512 h 10000"/>
                <a:gd name="connsiteX63" fmla="*/ 9959 w 10126"/>
                <a:gd name="connsiteY63" fmla="*/ 4553 h 10000"/>
                <a:gd name="connsiteX64" fmla="*/ 9833 w 10126"/>
                <a:gd name="connsiteY64" fmla="*/ 4634 h 10000"/>
                <a:gd name="connsiteX65" fmla="*/ 9791 w 10126"/>
                <a:gd name="connsiteY65" fmla="*/ 4593 h 10000"/>
                <a:gd name="connsiteX66" fmla="*/ 9729 w 10126"/>
                <a:gd name="connsiteY66" fmla="*/ 4634 h 10000"/>
                <a:gd name="connsiteX67" fmla="*/ 9624 w 10126"/>
                <a:gd name="connsiteY67" fmla="*/ 4675 h 10000"/>
                <a:gd name="connsiteX68" fmla="*/ 9582 w 10126"/>
                <a:gd name="connsiteY68" fmla="*/ 4553 h 10000"/>
                <a:gd name="connsiteX69" fmla="*/ 9457 w 10126"/>
                <a:gd name="connsiteY69" fmla="*/ 4431 h 10000"/>
                <a:gd name="connsiteX70" fmla="*/ 9394 w 10126"/>
                <a:gd name="connsiteY70" fmla="*/ 4431 h 10000"/>
                <a:gd name="connsiteX71" fmla="*/ 9352 w 10126"/>
                <a:gd name="connsiteY71" fmla="*/ 4472 h 10000"/>
                <a:gd name="connsiteX72" fmla="*/ 9352 w 10126"/>
                <a:gd name="connsiteY72" fmla="*/ 4593 h 10000"/>
                <a:gd name="connsiteX73" fmla="*/ 9289 w 10126"/>
                <a:gd name="connsiteY73" fmla="*/ 4675 h 10000"/>
                <a:gd name="connsiteX74" fmla="*/ 9226 w 10126"/>
                <a:gd name="connsiteY74" fmla="*/ 4715 h 10000"/>
                <a:gd name="connsiteX75" fmla="*/ 9226 w 10126"/>
                <a:gd name="connsiteY75" fmla="*/ 4837 h 10000"/>
                <a:gd name="connsiteX76" fmla="*/ 9310 w 10126"/>
                <a:gd name="connsiteY76" fmla="*/ 4878 h 10000"/>
                <a:gd name="connsiteX77" fmla="*/ 9436 w 10126"/>
                <a:gd name="connsiteY77" fmla="*/ 4919 h 10000"/>
                <a:gd name="connsiteX78" fmla="*/ 9498 w 10126"/>
                <a:gd name="connsiteY78" fmla="*/ 4919 h 10000"/>
                <a:gd name="connsiteX79" fmla="*/ 9540 w 10126"/>
                <a:gd name="connsiteY79" fmla="*/ 5041 h 10000"/>
                <a:gd name="connsiteX80" fmla="*/ 9582 w 10126"/>
                <a:gd name="connsiteY80" fmla="*/ 5163 h 10000"/>
                <a:gd name="connsiteX81" fmla="*/ 9582 w 10126"/>
                <a:gd name="connsiteY81" fmla="*/ 5325 h 10000"/>
                <a:gd name="connsiteX82" fmla="*/ 9519 w 10126"/>
                <a:gd name="connsiteY82" fmla="*/ 5366 h 10000"/>
                <a:gd name="connsiteX83" fmla="*/ 9540 w 10126"/>
                <a:gd name="connsiteY83" fmla="*/ 5528 h 10000"/>
                <a:gd name="connsiteX84" fmla="*/ 9477 w 10126"/>
                <a:gd name="connsiteY84" fmla="*/ 5650 h 10000"/>
                <a:gd name="connsiteX85" fmla="*/ 9352 w 10126"/>
                <a:gd name="connsiteY85" fmla="*/ 5813 h 10000"/>
                <a:gd name="connsiteX86" fmla="*/ 9289 w 10126"/>
                <a:gd name="connsiteY86" fmla="*/ 5732 h 10000"/>
                <a:gd name="connsiteX87" fmla="*/ 9289 w 10126"/>
                <a:gd name="connsiteY87" fmla="*/ 5935 h 10000"/>
                <a:gd name="connsiteX88" fmla="*/ 9352 w 10126"/>
                <a:gd name="connsiteY88" fmla="*/ 6179 h 10000"/>
                <a:gd name="connsiteX89" fmla="*/ 9352 w 10126"/>
                <a:gd name="connsiteY89" fmla="*/ 6260 h 10000"/>
                <a:gd name="connsiteX90" fmla="*/ 9289 w 10126"/>
                <a:gd name="connsiteY90" fmla="*/ 6382 h 10000"/>
                <a:gd name="connsiteX91" fmla="*/ 9268 w 10126"/>
                <a:gd name="connsiteY91" fmla="*/ 6504 h 10000"/>
                <a:gd name="connsiteX92" fmla="*/ 9331 w 10126"/>
                <a:gd name="connsiteY92" fmla="*/ 6626 h 10000"/>
                <a:gd name="connsiteX93" fmla="*/ 9331 w 10126"/>
                <a:gd name="connsiteY93" fmla="*/ 6748 h 10000"/>
                <a:gd name="connsiteX94" fmla="*/ 9394 w 10126"/>
                <a:gd name="connsiteY94" fmla="*/ 6707 h 10000"/>
                <a:gd name="connsiteX95" fmla="*/ 9394 w 10126"/>
                <a:gd name="connsiteY95" fmla="*/ 6911 h 10000"/>
                <a:gd name="connsiteX96" fmla="*/ 9373 w 10126"/>
                <a:gd name="connsiteY96" fmla="*/ 7033 h 10000"/>
                <a:gd name="connsiteX97" fmla="*/ 9352 w 10126"/>
                <a:gd name="connsiteY97" fmla="*/ 7195 h 10000"/>
                <a:gd name="connsiteX98" fmla="*/ 9415 w 10126"/>
                <a:gd name="connsiteY98" fmla="*/ 7276 h 10000"/>
                <a:gd name="connsiteX99" fmla="*/ 9352 w 10126"/>
                <a:gd name="connsiteY99" fmla="*/ 7317 h 10000"/>
                <a:gd name="connsiteX100" fmla="*/ 9310 w 10126"/>
                <a:gd name="connsiteY100" fmla="*/ 7358 h 10000"/>
                <a:gd name="connsiteX101" fmla="*/ 9247 w 10126"/>
                <a:gd name="connsiteY101" fmla="*/ 7317 h 10000"/>
                <a:gd name="connsiteX102" fmla="*/ 9205 w 10126"/>
                <a:gd name="connsiteY102" fmla="*/ 7317 h 10000"/>
                <a:gd name="connsiteX103" fmla="*/ 9143 w 10126"/>
                <a:gd name="connsiteY103" fmla="*/ 7317 h 10000"/>
                <a:gd name="connsiteX104" fmla="*/ 9101 w 10126"/>
                <a:gd name="connsiteY104" fmla="*/ 7439 h 10000"/>
                <a:gd name="connsiteX105" fmla="*/ 9080 w 10126"/>
                <a:gd name="connsiteY105" fmla="*/ 7561 h 10000"/>
                <a:gd name="connsiteX106" fmla="*/ 9017 w 10126"/>
                <a:gd name="connsiteY106" fmla="*/ 7683 h 10000"/>
                <a:gd name="connsiteX107" fmla="*/ 8954 w 10126"/>
                <a:gd name="connsiteY107" fmla="*/ 7846 h 10000"/>
                <a:gd name="connsiteX108" fmla="*/ 8850 w 10126"/>
                <a:gd name="connsiteY108" fmla="*/ 8008 h 10000"/>
                <a:gd name="connsiteX109" fmla="*/ 8787 w 10126"/>
                <a:gd name="connsiteY109" fmla="*/ 8049 h 10000"/>
                <a:gd name="connsiteX110" fmla="*/ 8766 w 10126"/>
                <a:gd name="connsiteY110" fmla="*/ 8252 h 10000"/>
                <a:gd name="connsiteX111" fmla="*/ 8766 w 10126"/>
                <a:gd name="connsiteY111" fmla="*/ 8374 h 10000"/>
                <a:gd name="connsiteX112" fmla="*/ 8829 w 10126"/>
                <a:gd name="connsiteY112" fmla="*/ 8496 h 10000"/>
                <a:gd name="connsiteX113" fmla="*/ 8850 w 10126"/>
                <a:gd name="connsiteY113" fmla="*/ 8618 h 10000"/>
                <a:gd name="connsiteX114" fmla="*/ 8745 w 10126"/>
                <a:gd name="connsiteY114" fmla="*/ 8537 h 10000"/>
                <a:gd name="connsiteX115" fmla="*/ 8662 w 10126"/>
                <a:gd name="connsiteY115" fmla="*/ 8455 h 10000"/>
                <a:gd name="connsiteX116" fmla="*/ 8578 w 10126"/>
                <a:gd name="connsiteY116" fmla="*/ 8455 h 10000"/>
                <a:gd name="connsiteX117" fmla="*/ 8494 w 10126"/>
                <a:gd name="connsiteY117" fmla="*/ 8537 h 10000"/>
                <a:gd name="connsiteX118" fmla="*/ 8327 w 10126"/>
                <a:gd name="connsiteY118" fmla="*/ 8537 h 10000"/>
                <a:gd name="connsiteX119" fmla="*/ 8306 w 10126"/>
                <a:gd name="connsiteY119" fmla="*/ 8659 h 10000"/>
                <a:gd name="connsiteX120" fmla="*/ 8264 w 10126"/>
                <a:gd name="connsiteY120" fmla="*/ 8699 h 10000"/>
                <a:gd name="connsiteX121" fmla="*/ 8201 w 10126"/>
                <a:gd name="connsiteY121" fmla="*/ 8699 h 10000"/>
                <a:gd name="connsiteX122" fmla="*/ 8159 w 10126"/>
                <a:gd name="connsiteY122" fmla="*/ 8862 h 10000"/>
                <a:gd name="connsiteX123" fmla="*/ 8097 w 10126"/>
                <a:gd name="connsiteY123" fmla="*/ 8943 h 10000"/>
                <a:gd name="connsiteX124" fmla="*/ 8034 w 10126"/>
                <a:gd name="connsiteY124" fmla="*/ 8862 h 10000"/>
                <a:gd name="connsiteX125" fmla="*/ 7762 w 10126"/>
                <a:gd name="connsiteY125" fmla="*/ 8902 h 10000"/>
                <a:gd name="connsiteX126" fmla="*/ 7574 w 10126"/>
                <a:gd name="connsiteY126" fmla="*/ 8902 h 10000"/>
                <a:gd name="connsiteX127" fmla="*/ 7490 w 10126"/>
                <a:gd name="connsiteY127" fmla="*/ 8943 h 10000"/>
                <a:gd name="connsiteX128" fmla="*/ 7448 w 10126"/>
                <a:gd name="connsiteY128" fmla="*/ 9065 h 10000"/>
                <a:gd name="connsiteX129" fmla="*/ 7344 w 10126"/>
                <a:gd name="connsiteY129" fmla="*/ 9065 h 10000"/>
                <a:gd name="connsiteX130" fmla="*/ 7281 w 10126"/>
                <a:gd name="connsiteY130" fmla="*/ 9106 h 10000"/>
                <a:gd name="connsiteX131" fmla="*/ 7260 w 10126"/>
                <a:gd name="connsiteY131" fmla="*/ 9228 h 10000"/>
                <a:gd name="connsiteX132" fmla="*/ 7239 w 10126"/>
                <a:gd name="connsiteY132" fmla="*/ 9350 h 10000"/>
                <a:gd name="connsiteX133" fmla="*/ 7218 w 10126"/>
                <a:gd name="connsiteY133" fmla="*/ 9472 h 10000"/>
                <a:gd name="connsiteX134" fmla="*/ 7155 w 10126"/>
                <a:gd name="connsiteY134" fmla="*/ 9512 h 10000"/>
                <a:gd name="connsiteX135" fmla="*/ 7113 w 10126"/>
                <a:gd name="connsiteY135" fmla="*/ 9634 h 10000"/>
                <a:gd name="connsiteX136" fmla="*/ 7051 w 10126"/>
                <a:gd name="connsiteY136" fmla="*/ 9715 h 10000"/>
                <a:gd name="connsiteX137" fmla="*/ 7009 w 10126"/>
                <a:gd name="connsiteY137" fmla="*/ 9797 h 10000"/>
                <a:gd name="connsiteX138" fmla="*/ 6946 w 10126"/>
                <a:gd name="connsiteY138" fmla="*/ 9878 h 10000"/>
                <a:gd name="connsiteX139" fmla="*/ 6925 w 10126"/>
                <a:gd name="connsiteY139" fmla="*/ 10000 h 10000"/>
                <a:gd name="connsiteX140" fmla="*/ 6841 w 10126"/>
                <a:gd name="connsiteY140" fmla="*/ 9919 h 10000"/>
                <a:gd name="connsiteX141" fmla="*/ 6779 w 10126"/>
                <a:gd name="connsiteY141" fmla="*/ 9919 h 10000"/>
                <a:gd name="connsiteX142" fmla="*/ 6716 w 10126"/>
                <a:gd name="connsiteY142" fmla="*/ 9878 h 10000"/>
                <a:gd name="connsiteX143" fmla="*/ 6632 w 10126"/>
                <a:gd name="connsiteY143" fmla="*/ 9837 h 10000"/>
                <a:gd name="connsiteX144" fmla="*/ 6360 w 10126"/>
                <a:gd name="connsiteY144" fmla="*/ 9837 h 10000"/>
                <a:gd name="connsiteX145" fmla="*/ 6256 w 10126"/>
                <a:gd name="connsiteY145" fmla="*/ 9715 h 10000"/>
                <a:gd name="connsiteX146" fmla="*/ 6193 w 10126"/>
                <a:gd name="connsiteY146" fmla="*/ 9715 h 10000"/>
                <a:gd name="connsiteX147" fmla="*/ 6130 w 10126"/>
                <a:gd name="connsiteY147" fmla="*/ 9715 h 10000"/>
                <a:gd name="connsiteX148" fmla="*/ 6005 w 10126"/>
                <a:gd name="connsiteY148" fmla="*/ 9634 h 10000"/>
                <a:gd name="connsiteX149" fmla="*/ 5879 w 10126"/>
                <a:gd name="connsiteY149" fmla="*/ 9634 h 10000"/>
                <a:gd name="connsiteX150" fmla="*/ 5775 w 10126"/>
                <a:gd name="connsiteY150" fmla="*/ 9634 h 10000"/>
                <a:gd name="connsiteX151" fmla="*/ 5712 w 10126"/>
                <a:gd name="connsiteY151" fmla="*/ 9634 h 10000"/>
                <a:gd name="connsiteX152" fmla="*/ 5544 w 10126"/>
                <a:gd name="connsiteY152" fmla="*/ 9512 h 10000"/>
                <a:gd name="connsiteX153" fmla="*/ 5503 w 10126"/>
                <a:gd name="connsiteY153" fmla="*/ 9512 h 10000"/>
                <a:gd name="connsiteX154" fmla="*/ 5377 w 10126"/>
                <a:gd name="connsiteY154" fmla="*/ 9472 h 10000"/>
                <a:gd name="connsiteX155" fmla="*/ 5293 w 10126"/>
                <a:gd name="connsiteY155" fmla="*/ 9431 h 10000"/>
                <a:gd name="connsiteX156" fmla="*/ 5168 w 10126"/>
                <a:gd name="connsiteY156" fmla="*/ 9512 h 10000"/>
                <a:gd name="connsiteX157" fmla="*/ 5105 w 10126"/>
                <a:gd name="connsiteY157" fmla="*/ 9512 h 10000"/>
                <a:gd name="connsiteX158" fmla="*/ 5000 w 10126"/>
                <a:gd name="connsiteY158" fmla="*/ 9390 h 10000"/>
                <a:gd name="connsiteX159" fmla="*/ 4875 w 10126"/>
                <a:gd name="connsiteY159" fmla="*/ 9350 h 10000"/>
                <a:gd name="connsiteX160" fmla="*/ 4561 w 10126"/>
                <a:gd name="connsiteY160" fmla="*/ 9350 h 10000"/>
                <a:gd name="connsiteX161" fmla="*/ 4498 w 10126"/>
                <a:gd name="connsiteY161" fmla="*/ 9268 h 10000"/>
                <a:gd name="connsiteX162" fmla="*/ 4436 w 10126"/>
                <a:gd name="connsiteY162" fmla="*/ 9228 h 10000"/>
                <a:gd name="connsiteX163" fmla="*/ 4373 w 10126"/>
                <a:gd name="connsiteY163" fmla="*/ 9187 h 10000"/>
                <a:gd name="connsiteX164" fmla="*/ 4289 w 10126"/>
                <a:gd name="connsiteY164" fmla="*/ 9187 h 10000"/>
                <a:gd name="connsiteX165" fmla="*/ 4205 w 10126"/>
                <a:gd name="connsiteY165" fmla="*/ 9228 h 10000"/>
                <a:gd name="connsiteX166" fmla="*/ 4122 w 10126"/>
                <a:gd name="connsiteY166" fmla="*/ 9146 h 10000"/>
                <a:gd name="connsiteX167" fmla="*/ 4059 w 10126"/>
                <a:gd name="connsiteY167" fmla="*/ 9106 h 10000"/>
                <a:gd name="connsiteX168" fmla="*/ 3996 w 10126"/>
                <a:gd name="connsiteY168" fmla="*/ 9065 h 10000"/>
                <a:gd name="connsiteX169" fmla="*/ 3934 w 10126"/>
                <a:gd name="connsiteY169" fmla="*/ 8902 h 10000"/>
                <a:gd name="connsiteX170" fmla="*/ 3892 w 10126"/>
                <a:gd name="connsiteY170" fmla="*/ 8780 h 10000"/>
                <a:gd name="connsiteX171" fmla="*/ 3808 w 10126"/>
                <a:gd name="connsiteY171" fmla="*/ 8740 h 10000"/>
                <a:gd name="connsiteX172" fmla="*/ 3787 w 10126"/>
                <a:gd name="connsiteY172" fmla="*/ 8659 h 10000"/>
                <a:gd name="connsiteX173" fmla="*/ 3808 w 10126"/>
                <a:gd name="connsiteY173" fmla="*/ 8496 h 10000"/>
                <a:gd name="connsiteX174" fmla="*/ 3766 w 10126"/>
                <a:gd name="connsiteY174" fmla="*/ 8415 h 10000"/>
                <a:gd name="connsiteX175" fmla="*/ 3703 w 10126"/>
                <a:gd name="connsiteY175" fmla="*/ 8415 h 10000"/>
                <a:gd name="connsiteX176" fmla="*/ 3662 w 10126"/>
                <a:gd name="connsiteY176" fmla="*/ 8333 h 10000"/>
                <a:gd name="connsiteX177" fmla="*/ 3599 w 10126"/>
                <a:gd name="connsiteY177" fmla="*/ 8293 h 10000"/>
                <a:gd name="connsiteX178" fmla="*/ 3599 w 10126"/>
                <a:gd name="connsiteY178" fmla="*/ 8171 h 10000"/>
                <a:gd name="connsiteX179" fmla="*/ 3599 w 10126"/>
                <a:gd name="connsiteY179" fmla="*/ 8049 h 10000"/>
                <a:gd name="connsiteX180" fmla="*/ 3578 w 10126"/>
                <a:gd name="connsiteY180" fmla="*/ 7886 h 10000"/>
                <a:gd name="connsiteX181" fmla="*/ 3662 w 10126"/>
                <a:gd name="connsiteY181" fmla="*/ 7805 h 10000"/>
                <a:gd name="connsiteX182" fmla="*/ 3682 w 10126"/>
                <a:gd name="connsiteY182" fmla="*/ 7642 h 10000"/>
                <a:gd name="connsiteX183" fmla="*/ 3578 w 10126"/>
                <a:gd name="connsiteY183" fmla="*/ 7642 h 10000"/>
                <a:gd name="connsiteX184" fmla="*/ 3452 w 10126"/>
                <a:gd name="connsiteY184" fmla="*/ 7805 h 10000"/>
                <a:gd name="connsiteX185" fmla="*/ 3348 w 10126"/>
                <a:gd name="connsiteY185" fmla="*/ 7805 h 10000"/>
                <a:gd name="connsiteX186" fmla="*/ 3285 w 10126"/>
                <a:gd name="connsiteY186" fmla="*/ 7846 h 10000"/>
                <a:gd name="connsiteX187" fmla="*/ 3243 w 10126"/>
                <a:gd name="connsiteY187" fmla="*/ 7927 h 10000"/>
                <a:gd name="connsiteX188" fmla="*/ 3139 w 10126"/>
                <a:gd name="connsiteY188" fmla="*/ 8008 h 10000"/>
                <a:gd name="connsiteX189" fmla="*/ 3076 w 10126"/>
                <a:gd name="connsiteY189" fmla="*/ 8089 h 10000"/>
                <a:gd name="connsiteX190" fmla="*/ 3013 w 10126"/>
                <a:gd name="connsiteY190" fmla="*/ 8008 h 10000"/>
                <a:gd name="connsiteX191" fmla="*/ 2971 w 10126"/>
                <a:gd name="connsiteY191" fmla="*/ 8008 h 10000"/>
                <a:gd name="connsiteX192" fmla="*/ 2888 w 10126"/>
                <a:gd name="connsiteY192" fmla="*/ 7967 h 10000"/>
                <a:gd name="connsiteX193" fmla="*/ 2825 w 10126"/>
                <a:gd name="connsiteY193" fmla="*/ 8008 h 10000"/>
                <a:gd name="connsiteX194" fmla="*/ 2783 w 10126"/>
                <a:gd name="connsiteY194" fmla="*/ 8008 h 10000"/>
                <a:gd name="connsiteX195" fmla="*/ 2720 w 10126"/>
                <a:gd name="connsiteY195" fmla="*/ 7967 h 10000"/>
                <a:gd name="connsiteX196" fmla="*/ 2657 w 10126"/>
                <a:gd name="connsiteY196" fmla="*/ 8089 h 10000"/>
                <a:gd name="connsiteX197" fmla="*/ 2574 w 10126"/>
                <a:gd name="connsiteY197" fmla="*/ 8049 h 10000"/>
                <a:gd name="connsiteX198" fmla="*/ 2532 w 10126"/>
                <a:gd name="connsiteY198" fmla="*/ 8049 h 10000"/>
                <a:gd name="connsiteX199" fmla="*/ 2427 w 10126"/>
                <a:gd name="connsiteY199" fmla="*/ 8089 h 10000"/>
                <a:gd name="connsiteX200" fmla="*/ 2344 w 10126"/>
                <a:gd name="connsiteY200" fmla="*/ 8130 h 10000"/>
                <a:gd name="connsiteX201" fmla="*/ 2218 w 10126"/>
                <a:gd name="connsiteY201" fmla="*/ 8333 h 10000"/>
                <a:gd name="connsiteX202" fmla="*/ 2197 w 10126"/>
                <a:gd name="connsiteY202" fmla="*/ 8496 h 10000"/>
                <a:gd name="connsiteX203" fmla="*/ 2155 w 10126"/>
                <a:gd name="connsiteY203" fmla="*/ 8618 h 10000"/>
                <a:gd name="connsiteX204" fmla="*/ 2134 w 10126"/>
                <a:gd name="connsiteY204" fmla="*/ 8740 h 10000"/>
                <a:gd name="connsiteX205" fmla="*/ 2093 w 10126"/>
                <a:gd name="connsiteY205" fmla="*/ 8862 h 10000"/>
                <a:gd name="connsiteX206" fmla="*/ 2009 w 10126"/>
                <a:gd name="connsiteY206" fmla="*/ 8862 h 10000"/>
                <a:gd name="connsiteX207" fmla="*/ 1946 w 10126"/>
                <a:gd name="connsiteY207" fmla="*/ 8902 h 10000"/>
                <a:gd name="connsiteX208" fmla="*/ 1883 w 10126"/>
                <a:gd name="connsiteY208" fmla="*/ 8821 h 10000"/>
                <a:gd name="connsiteX209" fmla="*/ 1841 w 10126"/>
                <a:gd name="connsiteY209" fmla="*/ 8862 h 10000"/>
                <a:gd name="connsiteX210" fmla="*/ 1779 w 10126"/>
                <a:gd name="connsiteY210" fmla="*/ 8821 h 10000"/>
                <a:gd name="connsiteX211" fmla="*/ 1737 w 10126"/>
                <a:gd name="connsiteY211" fmla="*/ 8821 h 10000"/>
                <a:gd name="connsiteX212" fmla="*/ 1758 w 10126"/>
                <a:gd name="connsiteY212" fmla="*/ 8699 h 10000"/>
                <a:gd name="connsiteX213" fmla="*/ 1653 w 10126"/>
                <a:gd name="connsiteY213" fmla="*/ 8537 h 10000"/>
                <a:gd name="connsiteX214" fmla="*/ 1465 w 10126"/>
                <a:gd name="connsiteY214" fmla="*/ 8618 h 10000"/>
                <a:gd name="connsiteX215" fmla="*/ 1423 w 10126"/>
                <a:gd name="connsiteY215" fmla="*/ 8577 h 10000"/>
                <a:gd name="connsiteX216" fmla="*/ 1360 w 10126"/>
                <a:gd name="connsiteY216" fmla="*/ 8455 h 10000"/>
                <a:gd name="connsiteX217" fmla="*/ 1381 w 10126"/>
                <a:gd name="connsiteY217" fmla="*/ 8333 h 10000"/>
                <a:gd name="connsiteX218" fmla="*/ 1318 w 10126"/>
                <a:gd name="connsiteY218" fmla="*/ 8171 h 10000"/>
                <a:gd name="connsiteX219" fmla="*/ 1277 w 10126"/>
                <a:gd name="connsiteY219" fmla="*/ 8049 h 10000"/>
                <a:gd name="connsiteX220" fmla="*/ 1214 w 10126"/>
                <a:gd name="connsiteY220" fmla="*/ 8089 h 10000"/>
                <a:gd name="connsiteX221" fmla="*/ 1172 w 10126"/>
                <a:gd name="connsiteY221" fmla="*/ 8252 h 10000"/>
                <a:gd name="connsiteX222" fmla="*/ 1109 w 10126"/>
                <a:gd name="connsiteY222" fmla="*/ 8293 h 10000"/>
                <a:gd name="connsiteX223" fmla="*/ 1047 w 10126"/>
                <a:gd name="connsiteY223" fmla="*/ 8415 h 10000"/>
                <a:gd name="connsiteX224" fmla="*/ 984 w 10126"/>
                <a:gd name="connsiteY224" fmla="*/ 8577 h 10000"/>
                <a:gd name="connsiteX225" fmla="*/ 921 w 10126"/>
                <a:gd name="connsiteY225" fmla="*/ 8577 h 10000"/>
                <a:gd name="connsiteX226" fmla="*/ 858 w 10126"/>
                <a:gd name="connsiteY226" fmla="*/ 8537 h 10000"/>
                <a:gd name="connsiteX227" fmla="*/ 754 w 10126"/>
                <a:gd name="connsiteY227" fmla="*/ 8415 h 10000"/>
                <a:gd name="connsiteX228" fmla="*/ 628 w 10126"/>
                <a:gd name="connsiteY228" fmla="*/ 8333 h 10000"/>
                <a:gd name="connsiteX229" fmla="*/ 565 w 10126"/>
                <a:gd name="connsiteY229" fmla="*/ 8252 h 10000"/>
                <a:gd name="connsiteX230" fmla="*/ 565 w 10126"/>
                <a:gd name="connsiteY230" fmla="*/ 8089 h 10000"/>
                <a:gd name="connsiteX231" fmla="*/ 565 w 10126"/>
                <a:gd name="connsiteY231" fmla="*/ 7967 h 10000"/>
                <a:gd name="connsiteX232" fmla="*/ 314 w 10126"/>
                <a:gd name="connsiteY232" fmla="*/ 7805 h 10000"/>
                <a:gd name="connsiteX233" fmla="*/ 231 w 10126"/>
                <a:gd name="connsiteY233" fmla="*/ 7805 h 10000"/>
                <a:gd name="connsiteX234" fmla="*/ 252 w 10126"/>
                <a:gd name="connsiteY234" fmla="*/ 7602 h 10000"/>
                <a:gd name="connsiteX235" fmla="*/ 210 w 10126"/>
                <a:gd name="connsiteY235" fmla="*/ 7439 h 10000"/>
                <a:gd name="connsiteX236" fmla="*/ 0 w 10126"/>
                <a:gd name="connsiteY236" fmla="*/ 7398 h 10000"/>
                <a:gd name="connsiteX237" fmla="*/ 147 w 10126"/>
                <a:gd name="connsiteY237" fmla="*/ 7195 h 10000"/>
                <a:gd name="connsiteX238" fmla="*/ 126 w 10126"/>
                <a:gd name="connsiteY238" fmla="*/ 7073 h 10000"/>
                <a:gd name="connsiteX239" fmla="*/ 168 w 10126"/>
                <a:gd name="connsiteY239" fmla="*/ 6911 h 10000"/>
                <a:gd name="connsiteX240" fmla="*/ 210 w 10126"/>
                <a:gd name="connsiteY240" fmla="*/ 6707 h 10000"/>
                <a:gd name="connsiteX241" fmla="*/ 272 w 10126"/>
                <a:gd name="connsiteY241" fmla="*/ 6504 h 10000"/>
                <a:gd name="connsiteX242" fmla="*/ 293 w 10126"/>
                <a:gd name="connsiteY242" fmla="*/ 6301 h 10000"/>
                <a:gd name="connsiteX243" fmla="*/ 210 w 10126"/>
                <a:gd name="connsiteY243" fmla="*/ 6179 h 10000"/>
                <a:gd name="connsiteX244" fmla="*/ 168 w 10126"/>
                <a:gd name="connsiteY244" fmla="*/ 6057 h 10000"/>
                <a:gd name="connsiteX245" fmla="*/ 252 w 10126"/>
                <a:gd name="connsiteY245" fmla="*/ 6016 h 10000"/>
                <a:gd name="connsiteX246" fmla="*/ 335 w 10126"/>
                <a:gd name="connsiteY246" fmla="*/ 6016 h 10000"/>
                <a:gd name="connsiteX247" fmla="*/ 377 w 10126"/>
                <a:gd name="connsiteY247" fmla="*/ 5935 h 10000"/>
                <a:gd name="connsiteX248" fmla="*/ 419 w 10126"/>
                <a:gd name="connsiteY248" fmla="*/ 5813 h 10000"/>
                <a:gd name="connsiteX249" fmla="*/ 482 w 10126"/>
                <a:gd name="connsiteY249" fmla="*/ 5813 h 10000"/>
                <a:gd name="connsiteX250" fmla="*/ 503 w 10126"/>
                <a:gd name="connsiteY250" fmla="*/ 5935 h 10000"/>
                <a:gd name="connsiteX251" fmla="*/ 565 w 10126"/>
                <a:gd name="connsiteY251" fmla="*/ 5976 h 10000"/>
                <a:gd name="connsiteX252" fmla="*/ 649 w 10126"/>
                <a:gd name="connsiteY252" fmla="*/ 5976 h 10000"/>
                <a:gd name="connsiteX253" fmla="*/ 691 w 10126"/>
                <a:gd name="connsiteY253" fmla="*/ 6057 h 10000"/>
                <a:gd name="connsiteX254" fmla="*/ 733 w 10126"/>
                <a:gd name="connsiteY254" fmla="*/ 6179 h 10000"/>
                <a:gd name="connsiteX255" fmla="*/ 775 w 10126"/>
                <a:gd name="connsiteY255" fmla="*/ 6138 h 10000"/>
                <a:gd name="connsiteX256" fmla="*/ 858 w 10126"/>
                <a:gd name="connsiteY256" fmla="*/ 6341 h 10000"/>
                <a:gd name="connsiteX257" fmla="*/ 837 w 10126"/>
                <a:gd name="connsiteY257" fmla="*/ 6463 h 10000"/>
                <a:gd name="connsiteX258" fmla="*/ 858 w 10126"/>
                <a:gd name="connsiteY258" fmla="*/ 6585 h 10000"/>
                <a:gd name="connsiteX259" fmla="*/ 921 w 10126"/>
                <a:gd name="connsiteY259" fmla="*/ 6626 h 10000"/>
                <a:gd name="connsiteX260" fmla="*/ 963 w 10126"/>
                <a:gd name="connsiteY260" fmla="*/ 6585 h 10000"/>
                <a:gd name="connsiteX261" fmla="*/ 1026 w 10126"/>
                <a:gd name="connsiteY261" fmla="*/ 6545 h 10000"/>
                <a:gd name="connsiteX262" fmla="*/ 1026 w 10126"/>
                <a:gd name="connsiteY262" fmla="*/ 6789 h 10000"/>
                <a:gd name="connsiteX263" fmla="*/ 984 w 10126"/>
                <a:gd name="connsiteY263" fmla="*/ 6992 h 10000"/>
                <a:gd name="connsiteX264" fmla="*/ 1088 w 10126"/>
                <a:gd name="connsiteY264" fmla="*/ 6992 h 10000"/>
                <a:gd name="connsiteX265" fmla="*/ 1172 w 10126"/>
                <a:gd name="connsiteY265" fmla="*/ 6911 h 10000"/>
                <a:gd name="connsiteX266" fmla="*/ 1214 w 10126"/>
                <a:gd name="connsiteY266" fmla="*/ 6748 h 10000"/>
                <a:gd name="connsiteX267" fmla="*/ 1256 w 10126"/>
                <a:gd name="connsiteY267" fmla="*/ 6626 h 10000"/>
                <a:gd name="connsiteX268" fmla="*/ 1298 w 10126"/>
                <a:gd name="connsiteY268" fmla="*/ 6585 h 10000"/>
                <a:gd name="connsiteX269" fmla="*/ 1360 w 10126"/>
                <a:gd name="connsiteY269" fmla="*/ 6423 h 10000"/>
                <a:gd name="connsiteX270" fmla="*/ 1360 w 10126"/>
                <a:gd name="connsiteY270" fmla="*/ 6260 h 10000"/>
                <a:gd name="connsiteX271" fmla="*/ 1318 w 10126"/>
                <a:gd name="connsiteY271" fmla="*/ 6138 h 10000"/>
                <a:gd name="connsiteX272" fmla="*/ 1339 w 10126"/>
                <a:gd name="connsiteY272" fmla="*/ 5976 h 10000"/>
                <a:gd name="connsiteX273" fmla="*/ 1318 w 10126"/>
                <a:gd name="connsiteY273" fmla="*/ 5854 h 10000"/>
                <a:gd name="connsiteX274" fmla="*/ 1360 w 10126"/>
                <a:gd name="connsiteY274" fmla="*/ 5813 h 10000"/>
                <a:gd name="connsiteX275" fmla="*/ 1360 w 10126"/>
                <a:gd name="connsiteY275" fmla="*/ 5935 h 10000"/>
                <a:gd name="connsiteX276" fmla="*/ 1465 w 10126"/>
                <a:gd name="connsiteY276" fmla="*/ 6016 h 10000"/>
                <a:gd name="connsiteX277" fmla="*/ 1507 w 10126"/>
                <a:gd name="connsiteY277" fmla="*/ 5894 h 10000"/>
                <a:gd name="connsiteX278" fmla="*/ 1570 w 10126"/>
                <a:gd name="connsiteY278" fmla="*/ 5894 h 10000"/>
                <a:gd name="connsiteX279" fmla="*/ 1737 w 10126"/>
                <a:gd name="connsiteY279" fmla="*/ 6016 h 10000"/>
                <a:gd name="connsiteX280" fmla="*/ 1800 w 10126"/>
                <a:gd name="connsiteY280" fmla="*/ 6057 h 10000"/>
                <a:gd name="connsiteX281" fmla="*/ 1862 w 10126"/>
                <a:gd name="connsiteY281" fmla="*/ 5976 h 10000"/>
                <a:gd name="connsiteX282" fmla="*/ 1904 w 10126"/>
                <a:gd name="connsiteY282" fmla="*/ 6016 h 10000"/>
                <a:gd name="connsiteX283" fmla="*/ 1883 w 10126"/>
                <a:gd name="connsiteY283" fmla="*/ 6138 h 10000"/>
                <a:gd name="connsiteX284" fmla="*/ 1967 w 10126"/>
                <a:gd name="connsiteY284" fmla="*/ 6220 h 10000"/>
                <a:gd name="connsiteX285" fmla="*/ 2030 w 10126"/>
                <a:gd name="connsiteY285" fmla="*/ 6341 h 10000"/>
                <a:gd name="connsiteX286" fmla="*/ 2030 w 10126"/>
                <a:gd name="connsiteY286" fmla="*/ 6504 h 10000"/>
                <a:gd name="connsiteX287" fmla="*/ 2197 w 10126"/>
                <a:gd name="connsiteY287" fmla="*/ 6504 h 10000"/>
                <a:gd name="connsiteX288" fmla="*/ 2302 w 10126"/>
                <a:gd name="connsiteY288" fmla="*/ 6382 h 10000"/>
                <a:gd name="connsiteX289" fmla="*/ 2385 w 10126"/>
                <a:gd name="connsiteY289" fmla="*/ 6382 h 10000"/>
                <a:gd name="connsiteX290" fmla="*/ 2406 w 10126"/>
                <a:gd name="connsiteY290" fmla="*/ 6463 h 10000"/>
                <a:gd name="connsiteX291" fmla="*/ 2448 w 10126"/>
                <a:gd name="connsiteY291" fmla="*/ 6423 h 10000"/>
                <a:gd name="connsiteX292" fmla="*/ 2532 w 10126"/>
                <a:gd name="connsiteY292" fmla="*/ 6301 h 10000"/>
                <a:gd name="connsiteX293" fmla="*/ 2574 w 10126"/>
                <a:gd name="connsiteY293" fmla="*/ 6301 h 10000"/>
                <a:gd name="connsiteX294" fmla="*/ 2574 w 10126"/>
                <a:gd name="connsiteY294" fmla="*/ 6179 h 10000"/>
                <a:gd name="connsiteX295" fmla="*/ 2636 w 10126"/>
                <a:gd name="connsiteY295" fmla="*/ 6057 h 10000"/>
                <a:gd name="connsiteX296" fmla="*/ 2699 w 10126"/>
                <a:gd name="connsiteY296" fmla="*/ 6057 h 10000"/>
                <a:gd name="connsiteX297" fmla="*/ 2783 w 10126"/>
                <a:gd name="connsiteY297" fmla="*/ 6057 h 10000"/>
                <a:gd name="connsiteX298" fmla="*/ 2846 w 10126"/>
                <a:gd name="connsiteY298" fmla="*/ 5976 h 10000"/>
                <a:gd name="connsiteX299" fmla="*/ 2846 w 10126"/>
                <a:gd name="connsiteY299" fmla="*/ 5854 h 10000"/>
                <a:gd name="connsiteX300" fmla="*/ 2908 w 10126"/>
                <a:gd name="connsiteY300" fmla="*/ 5732 h 10000"/>
                <a:gd name="connsiteX301" fmla="*/ 2992 w 10126"/>
                <a:gd name="connsiteY301" fmla="*/ 5772 h 10000"/>
                <a:gd name="connsiteX302" fmla="*/ 3097 w 10126"/>
                <a:gd name="connsiteY302" fmla="*/ 5732 h 10000"/>
                <a:gd name="connsiteX303" fmla="*/ 3159 w 10126"/>
                <a:gd name="connsiteY303" fmla="*/ 5772 h 10000"/>
                <a:gd name="connsiteX304" fmla="*/ 3306 w 10126"/>
                <a:gd name="connsiteY304" fmla="*/ 5650 h 10000"/>
                <a:gd name="connsiteX305" fmla="*/ 3620 w 10126"/>
                <a:gd name="connsiteY305" fmla="*/ 5650 h 10000"/>
                <a:gd name="connsiteX306" fmla="*/ 3662 w 10126"/>
                <a:gd name="connsiteY306" fmla="*/ 5528 h 10000"/>
                <a:gd name="connsiteX307" fmla="*/ 3662 w 10126"/>
                <a:gd name="connsiteY307" fmla="*/ 5407 h 10000"/>
                <a:gd name="connsiteX308" fmla="*/ 3620 w 10126"/>
                <a:gd name="connsiteY308" fmla="*/ 5244 h 10000"/>
                <a:gd name="connsiteX309" fmla="*/ 3682 w 10126"/>
                <a:gd name="connsiteY309" fmla="*/ 5203 h 10000"/>
                <a:gd name="connsiteX310" fmla="*/ 3682 w 10126"/>
                <a:gd name="connsiteY310" fmla="*/ 5325 h 10000"/>
                <a:gd name="connsiteX311" fmla="*/ 3745 w 10126"/>
                <a:gd name="connsiteY311" fmla="*/ 5325 h 10000"/>
                <a:gd name="connsiteX312" fmla="*/ 3871 w 10126"/>
                <a:gd name="connsiteY312" fmla="*/ 5325 h 10000"/>
                <a:gd name="connsiteX313" fmla="*/ 3934 w 10126"/>
                <a:gd name="connsiteY313" fmla="*/ 5285 h 10000"/>
                <a:gd name="connsiteX314" fmla="*/ 3996 w 10126"/>
                <a:gd name="connsiteY314" fmla="*/ 5407 h 10000"/>
                <a:gd name="connsiteX315" fmla="*/ 4038 w 10126"/>
                <a:gd name="connsiteY315" fmla="*/ 5528 h 10000"/>
                <a:gd name="connsiteX316" fmla="*/ 4122 w 10126"/>
                <a:gd name="connsiteY316" fmla="*/ 5528 h 10000"/>
                <a:gd name="connsiteX317" fmla="*/ 4185 w 10126"/>
                <a:gd name="connsiteY317" fmla="*/ 5407 h 10000"/>
                <a:gd name="connsiteX318" fmla="*/ 4268 w 10126"/>
                <a:gd name="connsiteY318" fmla="*/ 5325 h 10000"/>
                <a:gd name="connsiteX319" fmla="*/ 4310 w 10126"/>
                <a:gd name="connsiteY319" fmla="*/ 5325 h 10000"/>
                <a:gd name="connsiteX320" fmla="*/ 4394 w 10126"/>
                <a:gd name="connsiteY320" fmla="*/ 5366 h 10000"/>
                <a:gd name="connsiteX321" fmla="*/ 4415 w 10126"/>
                <a:gd name="connsiteY321" fmla="*/ 5488 h 10000"/>
                <a:gd name="connsiteX322" fmla="*/ 4477 w 10126"/>
                <a:gd name="connsiteY322" fmla="*/ 5569 h 10000"/>
                <a:gd name="connsiteX323" fmla="*/ 4436 w 10126"/>
                <a:gd name="connsiteY323" fmla="*/ 5691 h 10000"/>
                <a:gd name="connsiteX324" fmla="*/ 4477 w 10126"/>
                <a:gd name="connsiteY324" fmla="*/ 5813 h 10000"/>
                <a:gd name="connsiteX325" fmla="*/ 4582 w 10126"/>
                <a:gd name="connsiteY325" fmla="*/ 5976 h 10000"/>
                <a:gd name="connsiteX326" fmla="*/ 4645 w 10126"/>
                <a:gd name="connsiteY326" fmla="*/ 6057 h 10000"/>
                <a:gd name="connsiteX327" fmla="*/ 4687 w 10126"/>
                <a:gd name="connsiteY327" fmla="*/ 6057 h 10000"/>
                <a:gd name="connsiteX328" fmla="*/ 4749 w 10126"/>
                <a:gd name="connsiteY328" fmla="*/ 6057 h 10000"/>
                <a:gd name="connsiteX329" fmla="*/ 4770 w 10126"/>
                <a:gd name="connsiteY329" fmla="*/ 5935 h 10000"/>
                <a:gd name="connsiteX330" fmla="*/ 4770 w 10126"/>
                <a:gd name="connsiteY330" fmla="*/ 5813 h 10000"/>
                <a:gd name="connsiteX331" fmla="*/ 4770 w 10126"/>
                <a:gd name="connsiteY331" fmla="*/ 5650 h 10000"/>
                <a:gd name="connsiteX332" fmla="*/ 4812 w 10126"/>
                <a:gd name="connsiteY332" fmla="*/ 5488 h 10000"/>
                <a:gd name="connsiteX333" fmla="*/ 4812 w 10126"/>
                <a:gd name="connsiteY333" fmla="*/ 5366 h 10000"/>
                <a:gd name="connsiteX334" fmla="*/ 4770 w 10126"/>
                <a:gd name="connsiteY334" fmla="*/ 5203 h 10000"/>
                <a:gd name="connsiteX335" fmla="*/ 4708 w 10126"/>
                <a:gd name="connsiteY335" fmla="*/ 5163 h 10000"/>
                <a:gd name="connsiteX336" fmla="*/ 4666 w 10126"/>
                <a:gd name="connsiteY336" fmla="*/ 5203 h 10000"/>
                <a:gd name="connsiteX337" fmla="*/ 4603 w 10126"/>
                <a:gd name="connsiteY337" fmla="*/ 5163 h 10000"/>
                <a:gd name="connsiteX338" fmla="*/ 4603 w 10126"/>
                <a:gd name="connsiteY338" fmla="*/ 5081 h 10000"/>
                <a:gd name="connsiteX339" fmla="*/ 4603 w 10126"/>
                <a:gd name="connsiteY339" fmla="*/ 4919 h 10000"/>
                <a:gd name="connsiteX340" fmla="*/ 4645 w 10126"/>
                <a:gd name="connsiteY340" fmla="*/ 4593 h 10000"/>
                <a:gd name="connsiteX341" fmla="*/ 4603 w 10126"/>
                <a:gd name="connsiteY341" fmla="*/ 4390 h 10000"/>
                <a:gd name="connsiteX342" fmla="*/ 4540 w 10126"/>
                <a:gd name="connsiteY342" fmla="*/ 4268 h 10000"/>
                <a:gd name="connsiteX343" fmla="*/ 4498 w 10126"/>
                <a:gd name="connsiteY343" fmla="*/ 4187 h 10000"/>
                <a:gd name="connsiteX344" fmla="*/ 4477 w 10126"/>
                <a:gd name="connsiteY344" fmla="*/ 4024 h 10000"/>
                <a:gd name="connsiteX345" fmla="*/ 4373 w 10126"/>
                <a:gd name="connsiteY345" fmla="*/ 3821 h 10000"/>
                <a:gd name="connsiteX346" fmla="*/ 4352 w 10126"/>
                <a:gd name="connsiteY346" fmla="*/ 3699 h 10000"/>
                <a:gd name="connsiteX347" fmla="*/ 4394 w 10126"/>
                <a:gd name="connsiteY347" fmla="*/ 3537 h 10000"/>
                <a:gd name="connsiteX348" fmla="*/ 4457 w 10126"/>
                <a:gd name="connsiteY348" fmla="*/ 3455 h 10000"/>
                <a:gd name="connsiteX349" fmla="*/ 4477 w 10126"/>
                <a:gd name="connsiteY349" fmla="*/ 3374 h 10000"/>
                <a:gd name="connsiteX350" fmla="*/ 4582 w 10126"/>
                <a:gd name="connsiteY350" fmla="*/ 3293 h 10000"/>
                <a:gd name="connsiteX351" fmla="*/ 4645 w 10126"/>
                <a:gd name="connsiteY351" fmla="*/ 3171 h 10000"/>
                <a:gd name="connsiteX352" fmla="*/ 4687 w 10126"/>
                <a:gd name="connsiteY352" fmla="*/ 3089 h 10000"/>
                <a:gd name="connsiteX353" fmla="*/ 4833 w 10126"/>
                <a:gd name="connsiteY353" fmla="*/ 2967 h 10000"/>
                <a:gd name="connsiteX354" fmla="*/ 5021 w 10126"/>
                <a:gd name="connsiteY354" fmla="*/ 2886 h 10000"/>
                <a:gd name="connsiteX355" fmla="*/ 5189 w 10126"/>
                <a:gd name="connsiteY355" fmla="*/ 2602 h 10000"/>
                <a:gd name="connsiteX356" fmla="*/ 5210 w 10126"/>
                <a:gd name="connsiteY356" fmla="*/ 2480 h 10000"/>
                <a:gd name="connsiteX357" fmla="*/ 5210 w 10126"/>
                <a:gd name="connsiteY357" fmla="*/ 2236 h 10000"/>
                <a:gd name="connsiteX358" fmla="*/ 5231 w 10126"/>
                <a:gd name="connsiteY358" fmla="*/ 2114 h 10000"/>
                <a:gd name="connsiteX359" fmla="*/ 5231 w 10126"/>
                <a:gd name="connsiteY359" fmla="*/ 1992 h 10000"/>
                <a:gd name="connsiteX360" fmla="*/ 5210 w 10126"/>
                <a:gd name="connsiteY360" fmla="*/ 1870 h 10000"/>
                <a:gd name="connsiteX361" fmla="*/ 5272 w 10126"/>
                <a:gd name="connsiteY361" fmla="*/ 1829 h 10000"/>
                <a:gd name="connsiteX362" fmla="*/ 5461 w 10126"/>
                <a:gd name="connsiteY362" fmla="*/ 1870 h 10000"/>
                <a:gd name="connsiteX363" fmla="*/ 5523 w 10126"/>
                <a:gd name="connsiteY363" fmla="*/ 1992 h 10000"/>
                <a:gd name="connsiteX364" fmla="*/ 5586 w 10126"/>
                <a:gd name="connsiteY364" fmla="*/ 2033 h 10000"/>
                <a:gd name="connsiteX365" fmla="*/ 5607 w 10126"/>
                <a:gd name="connsiteY365" fmla="*/ 1870 h 10000"/>
                <a:gd name="connsiteX366" fmla="*/ 5649 w 10126"/>
                <a:gd name="connsiteY366" fmla="*/ 1829 h 10000"/>
                <a:gd name="connsiteX367" fmla="*/ 5691 w 10126"/>
                <a:gd name="connsiteY367" fmla="*/ 1707 h 10000"/>
                <a:gd name="connsiteX368" fmla="*/ 5691 w 10126"/>
                <a:gd name="connsiteY368" fmla="*/ 1545 h 10000"/>
                <a:gd name="connsiteX369" fmla="*/ 5670 w 10126"/>
                <a:gd name="connsiteY369" fmla="*/ 1423 h 10000"/>
                <a:gd name="connsiteX370" fmla="*/ 5670 w 10126"/>
                <a:gd name="connsiteY370" fmla="*/ 1301 h 10000"/>
                <a:gd name="connsiteX371" fmla="*/ 5691 w 10126"/>
                <a:gd name="connsiteY371" fmla="*/ 1057 h 10000"/>
                <a:gd name="connsiteX372" fmla="*/ 5733 w 10126"/>
                <a:gd name="connsiteY372" fmla="*/ 1098 h 10000"/>
                <a:gd name="connsiteX373" fmla="*/ 5795 w 10126"/>
                <a:gd name="connsiteY373" fmla="*/ 1138 h 10000"/>
                <a:gd name="connsiteX374" fmla="*/ 5900 w 10126"/>
                <a:gd name="connsiteY374" fmla="*/ 1301 h 10000"/>
                <a:gd name="connsiteX375" fmla="*/ 5942 w 10126"/>
                <a:gd name="connsiteY375" fmla="*/ 1423 h 10000"/>
                <a:gd name="connsiteX376" fmla="*/ 5963 w 10126"/>
                <a:gd name="connsiteY376" fmla="*/ 1545 h 10000"/>
                <a:gd name="connsiteX377" fmla="*/ 5984 w 10126"/>
                <a:gd name="connsiteY377" fmla="*/ 1667 h 10000"/>
                <a:gd name="connsiteX378" fmla="*/ 6047 w 10126"/>
                <a:gd name="connsiteY378" fmla="*/ 1707 h 10000"/>
                <a:gd name="connsiteX379" fmla="*/ 6214 w 10126"/>
                <a:gd name="connsiteY379" fmla="*/ 1748 h 10000"/>
                <a:gd name="connsiteX380" fmla="*/ 6339 w 10126"/>
                <a:gd name="connsiteY380" fmla="*/ 1789 h 10000"/>
                <a:gd name="connsiteX381" fmla="*/ 6402 w 10126"/>
                <a:gd name="connsiteY381" fmla="*/ 1748 h 10000"/>
                <a:gd name="connsiteX382" fmla="*/ 6465 w 10126"/>
                <a:gd name="connsiteY382" fmla="*/ 1707 h 10000"/>
                <a:gd name="connsiteX383" fmla="*/ 6507 w 10126"/>
                <a:gd name="connsiteY383" fmla="*/ 1504 h 10000"/>
                <a:gd name="connsiteX384" fmla="*/ 6549 w 10126"/>
                <a:gd name="connsiteY384" fmla="*/ 1545 h 10000"/>
                <a:gd name="connsiteX385" fmla="*/ 6611 w 10126"/>
                <a:gd name="connsiteY385" fmla="*/ 1585 h 10000"/>
                <a:gd name="connsiteX386" fmla="*/ 6674 w 10126"/>
                <a:gd name="connsiteY386" fmla="*/ 1545 h 10000"/>
                <a:gd name="connsiteX387" fmla="*/ 6737 w 10126"/>
                <a:gd name="connsiteY387" fmla="*/ 1585 h 10000"/>
                <a:gd name="connsiteX388" fmla="*/ 6800 w 10126"/>
                <a:gd name="connsiteY388" fmla="*/ 1667 h 10000"/>
                <a:gd name="connsiteX389" fmla="*/ 6841 w 10126"/>
                <a:gd name="connsiteY389" fmla="*/ 1545 h 10000"/>
                <a:gd name="connsiteX390" fmla="*/ 6821 w 10126"/>
                <a:gd name="connsiteY390" fmla="*/ 1423 h 10000"/>
                <a:gd name="connsiteX391" fmla="*/ 6841 w 10126"/>
                <a:gd name="connsiteY391" fmla="*/ 1179 h 10000"/>
                <a:gd name="connsiteX392" fmla="*/ 6925 w 10126"/>
                <a:gd name="connsiteY392" fmla="*/ 1057 h 10000"/>
                <a:gd name="connsiteX393" fmla="*/ 6946 w 10126"/>
                <a:gd name="connsiteY393" fmla="*/ 976 h 10000"/>
                <a:gd name="connsiteX394" fmla="*/ 7051 w 10126"/>
                <a:gd name="connsiteY394" fmla="*/ 854 h 10000"/>
                <a:gd name="connsiteX395" fmla="*/ 7113 w 10126"/>
                <a:gd name="connsiteY395" fmla="*/ 894 h 10000"/>
                <a:gd name="connsiteX396" fmla="*/ 7134 w 10126"/>
                <a:gd name="connsiteY396" fmla="*/ 772 h 10000"/>
                <a:gd name="connsiteX397" fmla="*/ 7155 w 10126"/>
                <a:gd name="connsiteY397" fmla="*/ 447 h 10000"/>
                <a:gd name="connsiteX398" fmla="*/ 7155 w 10126"/>
                <a:gd name="connsiteY398" fmla="*/ 244 h 10000"/>
                <a:gd name="connsiteX399" fmla="*/ 7134 w 10126"/>
                <a:gd name="connsiteY399" fmla="*/ 122 h 10000"/>
                <a:gd name="connsiteX400" fmla="*/ 7155 w 10126"/>
                <a:gd name="connsiteY400" fmla="*/ 0 h 10000"/>
                <a:gd name="connsiteX0" fmla="*/ 7155 w 10126"/>
                <a:gd name="connsiteY0" fmla="*/ 0 h 10000"/>
                <a:gd name="connsiteX1" fmla="*/ 7260 w 10126"/>
                <a:gd name="connsiteY1" fmla="*/ 0 h 10000"/>
                <a:gd name="connsiteX2" fmla="*/ 7364 w 10126"/>
                <a:gd name="connsiteY2" fmla="*/ 0 h 10000"/>
                <a:gd name="connsiteX3" fmla="*/ 7385 w 10126"/>
                <a:gd name="connsiteY3" fmla="*/ 163 h 10000"/>
                <a:gd name="connsiteX4" fmla="*/ 7364 w 10126"/>
                <a:gd name="connsiteY4" fmla="*/ 203 h 10000"/>
                <a:gd name="connsiteX5" fmla="*/ 7490 w 10126"/>
                <a:gd name="connsiteY5" fmla="*/ 163 h 10000"/>
                <a:gd name="connsiteX6" fmla="*/ 7511 w 10126"/>
                <a:gd name="connsiteY6" fmla="*/ 41 h 10000"/>
                <a:gd name="connsiteX7" fmla="*/ 7616 w 10126"/>
                <a:gd name="connsiteY7" fmla="*/ 41 h 10000"/>
                <a:gd name="connsiteX8" fmla="*/ 7699 w 10126"/>
                <a:gd name="connsiteY8" fmla="*/ 122 h 10000"/>
                <a:gd name="connsiteX9" fmla="*/ 7762 w 10126"/>
                <a:gd name="connsiteY9" fmla="*/ 122 h 10000"/>
                <a:gd name="connsiteX10" fmla="*/ 7867 w 10126"/>
                <a:gd name="connsiteY10" fmla="*/ 244 h 10000"/>
                <a:gd name="connsiteX11" fmla="*/ 7971 w 10126"/>
                <a:gd name="connsiteY11" fmla="*/ 325 h 10000"/>
                <a:gd name="connsiteX12" fmla="*/ 8076 w 10126"/>
                <a:gd name="connsiteY12" fmla="*/ 407 h 10000"/>
                <a:gd name="connsiteX13" fmla="*/ 8118 w 10126"/>
                <a:gd name="connsiteY13" fmla="*/ 407 h 10000"/>
                <a:gd name="connsiteX14" fmla="*/ 8180 w 10126"/>
                <a:gd name="connsiteY14" fmla="*/ 366 h 10000"/>
                <a:gd name="connsiteX15" fmla="*/ 8243 w 10126"/>
                <a:gd name="connsiteY15" fmla="*/ 325 h 10000"/>
                <a:gd name="connsiteX16" fmla="*/ 8285 w 10126"/>
                <a:gd name="connsiteY16" fmla="*/ 407 h 10000"/>
                <a:gd name="connsiteX17" fmla="*/ 8348 w 10126"/>
                <a:gd name="connsiteY17" fmla="*/ 447 h 10000"/>
                <a:gd name="connsiteX18" fmla="*/ 8411 w 10126"/>
                <a:gd name="connsiteY18" fmla="*/ 569 h 10000"/>
                <a:gd name="connsiteX19" fmla="*/ 8557 w 10126"/>
                <a:gd name="connsiteY19" fmla="*/ 732 h 10000"/>
                <a:gd name="connsiteX20" fmla="*/ 8620 w 10126"/>
                <a:gd name="connsiteY20" fmla="*/ 772 h 10000"/>
                <a:gd name="connsiteX21" fmla="*/ 8724 w 10126"/>
                <a:gd name="connsiteY21" fmla="*/ 732 h 10000"/>
                <a:gd name="connsiteX22" fmla="*/ 8913 w 10126"/>
                <a:gd name="connsiteY22" fmla="*/ 772 h 10000"/>
                <a:gd name="connsiteX23" fmla="*/ 8975 w 10126"/>
                <a:gd name="connsiteY23" fmla="*/ 772 h 10000"/>
                <a:gd name="connsiteX24" fmla="*/ 9059 w 10126"/>
                <a:gd name="connsiteY24" fmla="*/ 488 h 10000"/>
                <a:gd name="connsiteX25" fmla="*/ 9101 w 10126"/>
                <a:gd name="connsiteY25" fmla="*/ 488 h 10000"/>
                <a:gd name="connsiteX26" fmla="*/ 9164 w 10126"/>
                <a:gd name="connsiteY26" fmla="*/ 447 h 10000"/>
                <a:gd name="connsiteX27" fmla="*/ 9268 w 10126"/>
                <a:gd name="connsiteY27" fmla="*/ 488 h 10000"/>
                <a:gd name="connsiteX28" fmla="*/ 9310 w 10126"/>
                <a:gd name="connsiteY28" fmla="*/ 528 h 10000"/>
                <a:gd name="connsiteX29" fmla="*/ 9352 w 10126"/>
                <a:gd name="connsiteY29" fmla="*/ 650 h 10000"/>
                <a:gd name="connsiteX30" fmla="*/ 9436 w 10126"/>
                <a:gd name="connsiteY30" fmla="*/ 650 h 10000"/>
                <a:gd name="connsiteX31" fmla="*/ 9498 w 10126"/>
                <a:gd name="connsiteY31" fmla="*/ 732 h 10000"/>
                <a:gd name="connsiteX32" fmla="*/ 9561 w 10126"/>
                <a:gd name="connsiteY32" fmla="*/ 732 h 10000"/>
                <a:gd name="connsiteX33" fmla="*/ 9603 w 10126"/>
                <a:gd name="connsiteY33" fmla="*/ 691 h 10000"/>
                <a:gd name="connsiteX34" fmla="*/ 9645 w 10126"/>
                <a:gd name="connsiteY34" fmla="*/ 772 h 10000"/>
                <a:gd name="connsiteX35" fmla="*/ 9729 w 10126"/>
                <a:gd name="connsiteY35" fmla="*/ 1098 h 10000"/>
                <a:gd name="connsiteX36" fmla="*/ 9749 w 10126"/>
                <a:gd name="connsiteY36" fmla="*/ 1301 h 10000"/>
                <a:gd name="connsiteX37" fmla="*/ 9729 w 10126"/>
                <a:gd name="connsiteY37" fmla="*/ 1423 h 10000"/>
                <a:gd name="connsiteX38" fmla="*/ 9687 w 10126"/>
                <a:gd name="connsiteY38" fmla="*/ 1545 h 10000"/>
                <a:gd name="connsiteX39" fmla="*/ 9666 w 10126"/>
                <a:gd name="connsiteY39" fmla="*/ 1707 h 10000"/>
                <a:gd name="connsiteX40" fmla="*/ 9645 w 10126"/>
                <a:gd name="connsiteY40" fmla="*/ 1951 h 10000"/>
                <a:gd name="connsiteX41" fmla="*/ 9666 w 10126"/>
                <a:gd name="connsiteY41" fmla="*/ 2073 h 10000"/>
                <a:gd name="connsiteX42" fmla="*/ 9708 w 10126"/>
                <a:gd name="connsiteY42" fmla="*/ 2114 h 10000"/>
                <a:gd name="connsiteX43" fmla="*/ 9729 w 10126"/>
                <a:gd name="connsiteY43" fmla="*/ 2236 h 10000"/>
                <a:gd name="connsiteX44" fmla="*/ 9770 w 10126"/>
                <a:gd name="connsiteY44" fmla="*/ 2317 h 10000"/>
                <a:gd name="connsiteX45" fmla="*/ 9812 w 10126"/>
                <a:gd name="connsiteY45" fmla="*/ 2439 h 10000"/>
                <a:gd name="connsiteX46" fmla="*/ 9833 w 10126"/>
                <a:gd name="connsiteY46" fmla="*/ 2561 h 10000"/>
                <a:gd name="connsiteX47" fmla="*/ 9854 w 10126"/>
                <a:gd name="connsiteY47" fmla="*/ 2724 h 10000"/>
                <a:gd name="connsiteX48" fmla="*/ 9896 w 10126"/>
                <a:gd name="connsiteY48" fmla="*/ 2846 h 10000"/>
                <a:gd name="connsiteX49" fmla="*/ 9959 w 10126"/>
                <a:gd name="connsiteY49" fmla="*/ 2886 h 10000"/>
                <a:gd name="connsiteX50" fmla="*/ 10021 w 10126"/>
                <a:gd name="connsiteY50" fmla="*/ 3008 h 10000"/>
                <a:gd name="connsiteX51" fmla="*/ 10000 w 10126"/>
                <a:gd name="connsiteY51" fmla="*/ 3130 h 10000"/>
                <a:gd name="connsiteX52" fmla="*/ 10042 w 10126"/>
                <a:gd name="connsiteY52" fmla="*/ 3252 h 10000"/>
                <a:gd name="connsiteX53" fmla="*/ 10126 w 10126"/>
                <a:gd name="connsiteY53" fmla="*/ 3333 h 10000"/>
                <a:gd name="connsiteX54" fmla="*/ 10042 w 10126"/>
                <a:gd name="connsiteY54" fmla="*/ 3455 h 10000"/>
                <a:gd name="connsiteX55" fmla="*/ 10063 w 10126"/>
                <a:gd name="connsiteY55" fmla="*/ 3577 h 10000"/>
                <a:gd name="connsiteX56" fmla="*/ 10063 w 10126"/>
                <a:gd name="connsiteY56" fmla="*/ 3699 h 10000"/>
                <a:gd name="connsiteX57" fmla="*/ 10021 w 10126"/>
                <a:gd name="connsiteY57" fmla="*/ 3821 h 10000"/>
                <a:gd name="connsiteX58" fmla="*/ 9959 w 10126"/>
                <a:gd name="connsiteY58" fmla="*/ 3862 h 10000"/>
                <a:gd name="connsiteX59" fmla="*/ 10021 w 10126"/>
                <a:gd name="connsiteY59" fmla="*/ 4024 h 10000"/>
                <a:gd name="connsiteX60" fmla="*/ 10021 w 10126"/>
                <a:gd name="connsiteY60" fmla="*/ 4228 h 10000"/>
                <a:gd name="connsiteX61" fmla="*/ 10042 w 10126"/>
                <a:gd name="connsiteY61" fmla="*/ 4390 h 10000"/>
                <a:gd name="connsiteX62" fmla="*/ 10063 w 10126"/>
                <a:gd name="connsiteY62" fmla="*/ 4512 h 10000"/>
                <a:gd name="connsiteX63" fmla="*/ 9959 w 10126"/>
                <a:gd name="connsiteY63" fmla="*/ 4553 h 10000"/>
                <a:gd name="connsiteX64" fmla="*/ 9833 w 10126"/>
                <a:gd name="connsiteY64" fmla="*/ 4634 h 10000"/>
                <a:gd name="connsiteX65" fmla="*/ 9791 w 10126"/>
                <a:gd name="connsiteY65" fmla="*/ 4593 h 10000"/>
                <a:gd name="connsiteX66" fmla="*/ 9729 w 10126"/>
                <a:gd name="connsiteY66" fmla="*/ 4634 h 10000"/>
                <a:gd name="connsiteX67" fmla="*/ 9624 w 10126"/>
                <a:gd name="connsiteY67" fmla="*/ 4675 h 10000"/>
                <a:gd name="connsiteX68" fmla="*/ 9582 w 10126"/>
                <a:gd name="connsiteY68" fmla="*/ 4553 h 10000"/>
                <a:gd name="connsiteX69" fmla="*/ 9457 w 10126"/>
                <a:gd name="connsiteY69" fmla="*/ 4431 h 10000"/>
                <a:gd name="connsiteX70" fmla="*/ 9394 w 10126"/>
                <a:gd name="connsiteY70" fmla="*/ 4431 h 10000"/>
                <a:gd name="connsiteX71" fmla="*/ 9352 w 10126"/>
                <a:gd name="connsiteY71" fmla="*/ 4472 h 10000"/>
                <a:gd name="connsiteX72" fmla="*/ 9352 w 10126"/>
                <a:gd name="connsiteY72" fmla="*/ 4593 h 10000"/>
                <a:gd name="connsiteX73" fmla="*/ 9289 w 10126"/>
                <a:gd name="connsiteY73" fmla="*/ 4675 h 10000"/>
                <a:gd name="connsiteX74" fmla="*/ 9226 w 10126"/>
                <a:gd name="connsiteY74" fmla="*/ 4715 h 10000"/>
                <a:gd name="connsiteX75" fmla="*/ 9226 w 10126"/>
                <a:gd name="connsiteY75" fmla="*/ 4837 h 10000"/>
                <a:gd name="connsiteX76" fmla="*/ 9310 w 10126"/>
                <a:gd name="connsiteY76" fmla="*/ 4878 h 10000"/>
                <a:gd name="connsiteX77" fmla="*/ 9436 w 10126"/>
                <a:gd name="connsiteY77" fmla="*/ 4919 h 10000"/>
                <a:gd name="connsiteX78" fmla="*/ 9498 w 10126"/>
                <a:gd name="connsiteY78" fmla="*/ 4919 h 10000"/>
                <a:gd name="connsiteX79" fmla="*/ 9540 w 10126"/>
                <a:gd name="connsiteY79" fmla="*/ 5041 h 10000"/>
                <a:gd name="connsiteX80" fmla="*/ 9582 w 10126"/>
                <a:gd name="connsiteY80" fmla="*/ 5163 h 10000"/>
                <a:gd name="connsiteX81" fmla="*/ 9582 w 10126"/>
                <a:gd name="connsiteY81" fmla="*/ 5325 h 10000"/>
                <a:gd name="connsiteX82" fmla="*/ 9519 w 10126"/>
                <a:gd name="connsiteY82" fmla="*/ 5366 h 10000"/>
                <a:gd name="connsiteX83" fmla="*/ 9540 w 10126"/>
                <a:gd name="connsiteY83" fmla="*/ 5528 h 10000"/>
                <a:gd name="connsiteX84" fmla="*/ 9477 w 10126"/>
                <a:gd name="connsiteY84" fmla="*/ 5650 h 10000"/>
                <a:gd name="connsiteX85" fmla="*/ 9352 w 10126"/>
                <a:gd name="connsiteY85" fmla="*/ 5813 h 10000"/>
                <a:gd name="connsiteX86" fmla="*/ 9289 w 10126"/>
                <a:gd name="connsiteY86" fmla="*/ 5732 h 10000"/>
                <a:gd name="connsiteX87" fmla="*/ 9289 w 10126"/>
                <a:gd name="connsiteY87" fmla="*/ 5935 h 10000"/>
                <a:gd name="connsiteX88" fmla="*/ 9352 w 10126"/>
                <a:gd name="connsiteY88" fmla="*/ 6179 h 10000"/>
                <a:gd name="connsiteX89" fmla="*/ 9352 w 10126"/>
                <a:gd name="connsiteY89" fmla="*/ 6260 h 10000"/>
                <a:gd name="connsiteX90" fmla="*/ 9289 w 10126"/>
                <a:gd name="connsiteY90" fmla="*/ 6382 h 10000"/>
                <a:gd name="connsiteX91" fmla="*/ 9268 w 10126"/>
                <a:gd name="connsiteY91" fmla="*/ 6504 h 10000"/>
                <a:gd name="connsiteX92" fmla="*/ 9331 w 10126"/>
                <a:gd name="connsiteY92" fmla="*/ 6626 h 10000"/>
                <a:gd name="connsiteX93" fmla="*/ 9331 w 10126"/>
                <a:gd name="connsiteY93" fmla="*/ 6748 h 10000"/>
                <a:gd name="connsiteX94" fmla="*/ 9394 w 10126"/>
                <a:gd name="connsiteY94" fmla="*/ 6707 h 10000"/>
                <a:gd name="connsiteX95" fmla="*/ 9394 w 10126"/>
                <a:gd name="connsiteY95" fmla="*/ 6911 h 10000"/>
                <a:gd name="connsiteX96" fmla="*/ 9373 w 10126"/>
                <a:gd name="connsiteY96" fmla="*/ 7033 h 10000"/>
                <a:gd name="connsiteX97" fmla="*/ 9352 w 10126"/>
                <a:gd name="connsiteY97" fmla="*/ 7195 h 10000"/>
                <a:gd name="connsiteX98" fmla="*/ 9415 w 10126"/>
                <a:gd name="connsiteY98" fmla="*/ 7276 h 10000"/>
                <a:gd name="connsiteX99" fmla="*/ 9352 w 10126"/>
                <a:gd name="connsiteY99" fmla="*/ 7317 h 10000"/>
                <a:gd name="connsiteX100" fmla="*/ 9310 w 10126"/>
                <a:gd name="connsiteY100" fmla="*/ 7358 h 10000"/>
                <a:gd name="connsiteX101" fmla="*/ 9247 w 10126"/>
                <a:gd name="connsiteY101" fmla="*/ 7317 h 10000"/>
                <a:gd name="connsiteX102" fmla="*/ 9205 w 10126"/>
                <a:gd name="connsiteY102" fmla="*/ 7317 h 10000"/>
                <a:gd name="connsiteX103" fmla="*/ 9143 w 10126"/>
                <a:gd name="connsiteY103" fmla="*/ 7317 h 10000"/>
                <a:gd name="connsiteX104" fmla="*/ 9101 w 10126"/>
                <a:gd name="connsiteY104" fmla="*/ 7439 h 10000"/>
                <a:gd name="connsiteX105" fmla="*/ 9080 w 10126"/>
                <a:gd name="connsiteY105" fmla="*/ 7561 h 10000"/>
                <a:gd name="connsiteX106" fmla="*/ 9017 w 10126"/>
                <a:gd name="connsiteY106" fmla="*/ 7683 h 10000"/>
                <a:gd name="connsiteX107" fmla="*/ 8954 w 10126"/>
                <a:gd name="connsiteY107" fmla="*/ 7846 h 10000"/>
                <a:gd name="connsiteX108" fmla="*/ 8850 w 10126"/>
                <a:gd name="connsiteY108" fmla="*/ 8008 h 10000"/>
                <a:gd name="connsiteX109" fmla="*/ 8787 w 10126"/>
                <a:gd name="connsiteY109" fmla="*/ 8049 h 10000"/>
                <a:gd name="connsiteX110" fmla="*/ 8766 w 10126"/>
                <a:gd name="connsiteY110" fmla="*/ 8252 h 10000"/>
                <a:gd name="connsiteX111" fmla="*/ 8766 w 10126"/>
                <a:gd name="connsiteY111" fmla="*/ 8374 h 10000"/>
                <a:gd name="connsiteX112" fmla="*/ 8829 w 10126"/>
                <a:gd name="connsiteY112" fmla="*/ 8496 h 10000"/>
                <a:gd name="connsiteX113" fmla="*/ 8850 w 10126"/>
                <a:gd name="connsiteY113" fmla="*/ 8618 h 10000"/>
                <a:gd name="connsiteX114" fmla="*/ 8745 w 10126"/>
                <a:gd name="connsiteY114" fmla="*/ 8537 h 10000"/>
                <a:gd name="connsiteX115" fmla="*/ 8662 w 10126"/>
                <a:gd name="connsiteY115" fmla="*/ 8455 h 10000"/>
                <a:gd name="connsiteX116" fmla="*/ 8578 w 10126"/>
                <a:gd name="connsiteY116" fmla="*/ 8455 h 10000"/>
                <a:gd name="connsiteX117" fmla="*/ 8494 w 10126"/>
                <a:gd name="connsiteY117" fmla="*/ 8537 h 10000"/>
                <a:gd name="connsiteX118" fmla="*/ 8327 w 10126"/>
                <a:gd name="connsiteY118" fmla="*/ 8537 h 10000"/>
                <a:gd name="connsiteX119" fmla="*/ 8306 w 10126"/>
                <a:gd name="connsiteY119" fmla="*/ 8659 h 10000"/>
                <a:gd name="connsiteX120" fmla="*/ 8264 w 10126"/>
                <a:gd name="connsiteY120" fmla="*/ 8699 h 10000"/>
                <a:gd name="connsiteX121" fmla="*/ 8201 w 10126"/>
                <a:gd name="connsiteY121" fmla="*/ 8699 h 10000"/>
                <a:gd name="connsiteX122" fmla="*/ 8159 w 10126"/>
                <a:gd name="connsiteY122" fmla="*/ 8862 h 10000"/>
                <a:gd name="connsiteX123" fmla="*/ 8097 w 10126"/>
                <a:gd name="connsiteY123" fmla="*/ 8943 h 10000"/>
                <a:gd name="connsiteX124" fmla="*/ 8034 w 10126"/>
                <a:gd name="connsiteY124" fmla="*/ 8862 h 10000"/>
                <a:gd name="connsiteX125" fmla="*/ 7762 w 10126"/>
                <a:gd name="connsiteY125" fmla="*/ 8902 h 10000"/>
                <a:gd name="connsiteX126" fmla="*/ 7574 w 10126"/>
                <a:gd name="connsiteY126" fmla="*/ 8902 h 10000"/>
                <a:gd name="connsiteX127" fmla="*/ 7490 w 10126"/>
                <a:gd name="connsiteY127" fmla="*/ 8943 h 10000"/>
                <a:gd name="connsiteX128" fmla="*/ 7448 w 10126"/>
                <a:gd name="connsiteY128" fmla="*/ 9065 h 10000"/>
                <a:gd name="connsiteX129" fmla="*/ 7344 w 10126"/>
                <a:gd name="connsiteY129" fmla="*/ 9065 h 10000"/>
                <a:gd name="connsiteX130" fmla="*/ 7281 w 10126"/>
                <a:gd name="connsiteY130" fmla="*/ 9106 h 10000"/>
                <a:gd name="connsiteX131" fmla="*/ 7260 w 10126"/>
                <a:gd name="connsiteY131" fmla="*/ 9228 h 10000"/>
                <a:gd name="connsiteX132" fmla="*/ 7239 w 10126"/>
                <a:gd name="connsiteY132" fmla="*/ 9350 h 10000"/>
                <a:gd name="connsiteX133" fmla="*/ 7218 w 10126"/>
                <a:gd name="connsiteY133" fmla="*/ 9472 h 10000"/>
                <a:gd name="connsiteX134" fmla="*/ 7155 w 10126"/>
                <a:gd name="connsiteY134" fmla="*/ 9512 h 10000"/>
                <a:gd name="connsiteX135" fmla="*/ 7113 w 10126"/>
                <a:gd name="connsiteY135" fmla="*/ 9634 h 10000"/>
                <a:gd name="connsiteX136" fmla="*/ 7051 w 10126"/>
                <a:gd name="connsiteY136" fmla="*/ 9715 h 10000"/>
                <a:gd name="connsiteX137" fmla="*/ 7009 w 10126"/>
                <a:gd name="connsiteY137" fmla="*/ 9797 h 10000"/>
                <a:gd name="connsiteX138" fmla="*/ 6946 w 10126"/>
                <a:gd name="connsiteY138" fmla="*/ 9878 h 10000"/>
                <a:gd name="connsiteX139" fmla="*/ 6925 w 10126"/>
                <a:gd name="connsiteY139" fmla="*/ 10000 h 10000"/>
                <a:gd name="connsiteX140" fmla="*/ 6841 w 10126"/>
                <a:gd name="connsiteY140" fmla="*/ 9919 h 10000"/>
                <a:gd name="connsiteX141" fmla="*/ 6779 w 10126"/>
                <a:gd name="connsiteY141" fmla="*/ 9919 h 10000"/>
                <a:gd name="connsiteX142" fmla="*/ 6716 w 10126"/>
                <a:gd name="connsiteY142" fmla="*/ 9878 h 10000"/>
                <a:gd name="connsiteX143" fmla="*/ 6632 w 10126"/>
                <a:gd name="connsiteY143" fmla="*/ 9837 h 10000"/>
                <a:gd name="connsiteX144" fmla="*/ 6360 w 10126"/>
                <a:gd name="connsiteY144" fmla="*/ 9837 h 10000"/>
                <a:gd name="connsiteX145" fmla="*/ 6256 w 10126"/>
                <a:gd name="connsiteY145" fmla="*/ 9715 h 10000"/>
                <a:gd name="connsiteX146" fmla="*/ 6193 w 10126"/>
                <a:gd name="connsiteY146" fmla="*/ 9715 h 10000"/>
                <a:gd name="connsiteX147" fmla="*/ 6130 w 10126"/>
                <a:gd name="connsiteY147" fmla="*/ 9715 h 10000"/>
                <a:gd name="connsiteX148" fmla="*/ 6005 w 10126"/>
                <a:gd name="connsiteY148" fmla="*/ 9634 h 10000"/>
                <a:gd name="connsiteX149" fmla="*/ 5879 w 10126"/>
                <a:gd name="connsiteY149" fmla="*/ 9634 h 10000"/>
                <a:gd name="connsiteX150" fmla="*/ 5775 w 10126"/>
                <a:gd name="connsiteY150" fmla="*/ 9634 h 10000"/>
                <a:gd name="connsiteX151" fmla="*/ 5712 w 10126"/>
                <a:gd name="connsiteY151" fmla="*/ 9634 h 10000"/>
                <a:gd name="connsiteX152" fmla="*/ 5544 w 10126"/>
                <a:gd name="connsiteY152" fmla="*/ 9512 h 10000"/>
                <a:gd name="connsiteX153" fmla="*/ 5503 w 10126"/>
                <a:gd name="connsiteY153" fmla="*/ 9512 h 10000"/>
                <a:gd name="connsiteX154" fmla="*/ 5377 w 10126"/>
                <a:gd name="connsiteY154" fmla="*/ 9472 h 10000"/>
                <a:gd name="connsiteX155" fmla="*/ 5293 w 10126"/>
                <a:gd name="connsiteY155" fmla="*/ 9431 h 10000"/>
                <a:gd name="connsiteX156" fmla="*/ 5168 w 10126"/>
                <a:gd name="connsiteY156" fmla="*/ 9512 h 10000"/>
                <a:gd name="connsiteX157" fmla="*/ 5105 w 10126"/>
                <a:gd name="connsiteY157" fmla="*/ 9512 h 10000"/>
                <a:gd name="connsiteX158" fmla="*/ 5000 w 10126"/>
                <a:gd name="connsiteY158" fmla="*/ 9390 h 10000"/>
                <a:gd name="connsiteX159" fmla="*/ 4875 w 10126"/>
                <a:gd name="connsiteY159" fmla="*/ 9350 h 10000"/>
                <a:gd name="connsiteX160" fmla="*/ 4561 w 10126"/>
                <a:gd name="connsiteY160" fmla="*/ 9350 h 10000"/>
                <a:gd name="connsiteX161" fmla="*/ 4498 w 10126"/>
                <a:gd name="connsiteY161" fmla="*/ 9268 h 10000"/>
                <a:gd name="connsiteX162" fmla="*/ 4436 w 10126"/>
                <a:gd name="connsiteY162" fmla="*/ 9228 h 10000"/>
                <a:gd name="connsiteX163" fmla="*/ 4373 w 10126"/>
                <a:gd name="connsiteY163" fmla="*/ 9187 h 10000"/>
                <a:gd name="connsiteX164" fmla="*/ 4289 w 10126"/>
                <a:gd name="connsiteY164" fmla="*/ 9187 h 10000"/>
                <a:gd name="connsiteX165" fmla="*/ 4205 w 10126"/>
                <a:gd name="connsiteY165" fmla="*/ 9228 h 10000"/>
                <a:gd name="connsiteX166" fmla="*/ 4122 w 10126"/>
                <a:gd name="connsiteY166" fmla="*/ 9146 h 10000"/>
                <a:gd name="connsiteX167" fmla="*/ 4059 w 10126"/>
                <a:gd name="connsiteY167" fmla="*/ 9106 h 10000"/>
                <a:gd name="connsiteX168" fmla="*/ 3996 w 10126"/>
                <a:gd name="connsiteY168" fmla="*/ 9065 h 10000"/>
                <a:gd name="connsiteX169" fmla="*/ 3934 w 10126"/>
                <a:gd name="connsiteY169" fmla="*/ 8902 h 10000"/>
                <a:gd name="connsiteX170" fmla="*/ 3892 w 10126"/>
                <a:gd name="connsiteY170" fmla="*/ 8780 h 10000"/>
                <a:gd name="connsiteX171" fmla="*/ 3808 w 10126"/>
                <a:gd name="connsiteY171" fmla="*/ 8740 h 10000"/>
                <a:gd name="connsiteX172" fmla="*/ 3787 w 10126"/>
                <a:gd name="connsiteY172" fmla="*/ 8659 h 10000"/>
                <a:gd name="connsiteX173" fmla="*/ 3808 w 10126"/>
                <a:gd name="connsiteY173" fmla="*/ 8496 h 10000"/>
                <a:gd name="connsiteX174" fmla="*/ 3766 w 10126"/>
                <a:gd name="connsiteY174" fmla="*/ 8415 h 10000"/>
                <a:gd name="connsiteX175" fmla="*/ 3703 w 10126"/>
                <a:gd name="connsiteY175" fmla="*/ 8415 h 10000"/>
                <a:gd name="connsiteX176" fmla="*/ 3662 w 10126"/>
                <a:gd name="connsiteY176" fmla="*/ 8333 h 10000"/>
                <a:gd name="connsiteX177" fmla="*/ 3599 w 10126"/>
                <a:gd name="connsiteY177" fmla="*/ 8293 h 10000"/>
                <a:gd name="connsiteX178" fmla="*/ 3599 w 10126"/>
                <a:gd name="connsiteY178" fmla="*/ 8171 h 10000"/>
                <a:gd name="connsiteX179" fmla="*/ 3599 w 10126"/>
                <a:gd name="connsiteY179" fmla="*/ 8049 h 10000"/>
                <a:gd name="connsiteX180" fmla="*/ 3578 w 10126"/>
                <a:gd name="connsiteY180" fmla="*/ 7886 h 10000"/>
                <a:gd name="connsiteX181" fmla="*/ 3662 w 10126"/>
                <a:gd name="connsiteY181" fmla="*/ 7805 h 10000"/>
                <a:gd name="connsiteX182" fmla="*/ 3682 w 10126"/>
                <a:gd name="connsiteY182" fmla="*/ 7642 h 10000"/>
                <a:gd name="connsiteX183" fmla="*/ 3578 w 10126"/>
                <a:gd name="connsiteY183" fmla="*/ 7642 h 10000"/>
                <a:gd name="connsiteX184" fmla="*/ 3452 w 10126"/>
                <a:gd name="connsiteY184" fmla="*/ 7805 h 10000"/>
                <a:gd name="connsiteX185" fmla="*/ 3348 w 10126"/>
                <a:gd name="connsiteY185" fmla="*/ 7805 h 10000"/>
                <a:gd name="connsiteX186" fmla="*/ 3285 w 10126"/>
                <a:gd name="connsiteY186" fmla="*/ 7846 h 10000"/>
                <a:gd name="connsiteX187" fmla="*/ 3243 w 10126"/>
                <a:gd name="connsiteY187" fmla="*/ 7927 h 10000"/>
                <a:gd name="connsiteX188" fmla="*/ 3139 w 10126"/>
                <a:gd name="connsiteY188" fmla="*/ 8008 h 10000"/>
                <a:gd name="connsiteX189" fmla="*/ 3076 w 10126"/>
                <a:gd name="connsiteY189" fmla="*/ 8089 h 10000"/>
                <a:gd name="connsiteX190" fmla="*/ 3013 w 10126"/>
                <a:gd name="connsiteY190" fmla="*/ 8008 h 10000"/>
                <a:gd name="connsiteX191" fmla="*/ 2971 w 10126"/>
                <a:gd name="connsiteY191" fmla="*/ 8008 h 10000"/>
                <a:gd name="connsiteX192" fmla="*/ 2888 w 10126"/>
                <a:gd name="connsiteY192" fmla="*/ 7967 h 10000"/>
                <a:gd name="connsiteX193" fmla="*/ 2825 w 10126"/>
                <a:gd name="connsiteY193" fmla="*/ 8008 h 10000"/>
                <a:gd name="connsiteX194" fmla="*/ 2783 w 10126"/>
                <a:gd name="connsiteY194" fmla="*/ 8008 h 10000"/>
                <a:gd name="connsiteX195" fmla="*/ 2720 w 10126"/>
                <a:gd name="connsiteY195" fmla="*/ 7967 h 10000"/>
                <a:gd name="connsiteX196" fmla="*/ 2657 w 10126"/>
                <a:gd name="connsiteY196" fmla="*/ 8089 h 10000"/>
                <a:gd name="connsiteX197" fmla="*/ 2574 w 10126"/>
                <a:gd name="connsiteY197" fmla="*/ 8049 h 10000"/>
                <a:gd name="connsiteX198" fmla="*/ 2532 w 10126"/>
                <a:gd name="connsiteY198" fmla="*/ 8049 h 10000"/>
                <a:gd name="connsiteX199" fmla="*/ 2427 w 10126"/>
                <a:gd name="connsiteY199" fmla="*/ 8089 h 10000"/>
                <a:gd name="connsiteX200" fmla="*/ 2344 w 10126"/>
                <a:gd name="connsiteY200" fmla="*/ 8130 h 10000"/>
                <a:gd name="connsiteX201" fmla="*/ 2218 w 10126"/>
                <a:gd name="connsiteY201" fmla="*/ 8333 h 10000"/>
                <a:gd name="connsiteX202" fmla="*/ 2197 w 10126"/>
                <a:gd name="connsiteY202" fmla="*/ 8496 h 10000"/>
                <a:gd name="connsiteX203" fmla="*/ 2155 w 10126"/>
                <a:gd name="connsiteY203" fmla="*/ 8618 h 10000"/>
                <a:gd name="connsiteX204" fmla="*/ 2134 w 10126"/>
                <a:gd name="connsiteY204" fmla="*/ 8740 h 10000"/>
                <a:gd name="connsiteX205" fmla="*/ 2093 w 10126"/>
                <a:gd name="connsiteY205" fmla="*/ 8862 h 10000"/>
                <a:gd name="connsiteX206" fmla="*/ 2009 w 10126"/>
                <a:gd name="connsiteY206" fmla="*/ 8862 h 10000"/>
                <a:gd name="connsiteX207" fmla="*/ 1946 w 10126"/>
                <a:gd name="connsiteY207" fmla="*/ 8902 h 10000"/>
                <a:gd name="connsiteX208" fmla="*/ 1883 w 10126"/>
                <a:gd name="connsiteY208" fmla="*/ 8821 h 10000"/>
                <a:gd name="connsiteX209" fmla="*/ 1841 w 10126"/>
                <a:gd name="connsiteY209" fmla="*/ 8862 h 10000"/>
                <a:gd name="connsiteX210" fmla="*/ 1779 w 10126"/>
                <a:gd name="connsiteY210" fmla="*/ 8821 h 10000"/>
                <a:gd name="connsiteX211" fmla="*/ 1737 w 10126"/>
                <a:gd name="connsiteY211" fmla="*/ 8821 h 10000"/>
                <a:gd name="connsiteX212" fmla="*/ 1758 w 10126"/>
                <a:gd name="connsiteY212" fmla="*/ 8699 h 10000"/>
                <a:gd name="connsiteX213" fmla="*/ 1653 w 10126"/>
                <a:gd name="connsiteY213" fmla="*/ 8537 h 10000"/>
                <a:gd name="connsiteX214" fmla="*/ 1465 w 10126"/>
                <a:gd name="connsiteY214" fmla="*/ 8618 h 10000"/>
                <a:gd name="connsiteX215" fmla="*/ 1423 w 10126"/>
                <a:gd name="connsiteY215" fmla="*/ 8577 h 10000"/>
                <a:gd name="connsiteX216" fmla="*/ 1360 w 10126"/>
                <a:gd name="connsiteY216" fmla="*/ 8455 h 10000"/>
                <a:gd name="connsiteX217" fmla="*/ 1381 w 10126"/>
                <a:gd name="connsiteY217" fmla="*/ 8333 h 10000"/>
                <a:gd name="connsiteX218" fmla="*/ 1318 w 10126"/>
                <a:gd name="connsiteY218" fmla="*/ 8171 h 10000"/>
                <a:gd name="connsiteX219" fmla="*/ 1277 w 10126"/>
                <a:gd name="connsiteY219" fmla="*/ 8049 h 10000"/>
                <a:gd name="connsiteX220" fmla="*/ 1214 w 10126"/>
                <a:gd name="connsiteY220" fmla="*/ 8089 h 10000"/>
                <a:gd name="connsiteX221" fmla="*/ 1172 w 10126"/>
                <a:gd name="connsiteY221" fmla="*/ 8252 h 10000"/>
                <a:gd name="connsiteX222" fmla="*/ 1109 w 10126"/>
                <a:gd name="connsiteY222" fmla="*/ 8293 h 10000"/>
                <a:gd name="connsiteX223" fmla="*/ 1047 w 10126"/>
                <a:gd name="connsiteY223" fmla="*/ 8415 h 10000"/>
                <a:gd name="connsiteX224" fmla="*/ 984 w 10126"/>
                <a:gd name="connsiteY224" fmla="*/ 8577 h 10000"/>
                <a:gd name="connsiteX225" fmla="*/ 921 w 10126"/>
                <a:gd name="connsiteY225" fmla="*/ 8577 h 10000"/>
                <a:gd name="connsiteX226" fmla="*/ 858 w 10126"/>
                <a:gd name="connsiteY226" fmla="*/ 8537 h 10000"/>
                <a:gd name="connsiteX227" fmla="*/ 754 w 10126"/>
                <a:gd name="connsiteY227" fmla="*/ 8415 h 10000"/>
                <a:gd name="connsiteX228" fmla="*/ 628 w 10126"/>
                <a:gd name="connsiteY228" fmla="*/ 8333 h 10000"/>
                <a:gd name="connsiteX229" fmla="*/ 565 w 10126"/>
                <a:gd name="connsiteY229" fmla="*/ 8252 h 10000"/>
                <a:gd name="connsiteX230" fmla="*/ 565 w 10126"/>
                <a:gd name="connsiteY230" fmla="*/ 8089 h 10000"/>
                <a:gd name="connsiteX231" fmla="*/ 565 w 10126"/>
                <a:gd name="connsiteY231" fmla="*/ 7967 h 10000"/>
                <a:gd name="connsiteX232" fmla="*/ 314 w 10126"/>
                <a:gd name="connsiteY232" fmla="*/ 7805 h 10000"/>
                <a:gd name="connsiteX233" fmla="*/ 231 w 10126"/>
                <a:gd name="connsiteY233" fmla="*/ 7805 h 10000"/>
                <a:gd name="connsiteX234" fmla="*/ 252 w 10126"/>
                <a:gd name="connsiteY234" fmla="*/ 7602 h 10000"/>
                <a:gd name="connsiteX235" fmla="*/ 63 w 10126"/>
                <a:gd name="connsiteY235" fmla="*/ 7600 h 10000"/>
                <a:gd name="connsiteX236" fmla="*/ 0 w 10126"/>
                <a:gd name="connsiteY236" fmla="*/ 7398 h 10000"/>
                <a:gd name="connsiteX237" fmla="*/ 147 w 10126"/>
                <a:gd name="connsiteY237" fmla="*/ 7195 h 10000"/>
                <a:gd name="connsiteX238" fmla="*/ 126 w 10126"/>
                <a:gd name="connsiteY238" fmla="*/ 7073 h 10000"/>
                <a:gd name="connsiteX239" fmla="*/ 168 w 10126"/>
                <a:gd name="connsiteY239" fmla="*/ 6911 h 10000"/>
                <a:gd name="connsiteX240" fmla="*/ 210 w 10126"/>
                <a:gd name="connsiteY240" fmla="*/ 6707 h 10000"/>
                <a:gd name="connsiteX241" fmla="*/ 272 w 10126"/>
                <a:gd name="connsiteY241" fmla="*/ 6504 h 10000"/>
                <a:gd name="connsiteX242" fmla="*/ 293 w 10126"/>
                <a:gd name="connsiteY242" fmla="*/ 6301 h 10000"/>
                <a:gd name="connsiteX243" fmla="*/ 210 w 10126"/>
                <a:gd name="connsiteY243" fmla="*/ 6179 h 10000"/>
                <a:gd name="connsiteX244" fmla="*/ 168 w 10126"/>
                <a:gd name="connsiteY244" fmla="*/ 6057 h 10000"/>
                <a:gd name="connsiteX245" fmla="*/ 252 w 10126"/>
                <a:gd name="connsiteY245" fmla="*/ 6016 h 10000"/>
                <a:gd name="connsiteX246" fmla="*/ 335 w 10126"/>
                <a:gd name="connsiteY246" fmla="*/ 6016 h 10000"/>
                <a:gd name="connsiteX247" fmla="*/ 377 w 10126"/>
                <a:gd name="connsiteY247" fmla="*/ 5935 h 10000"/>
                <a:gd name="connsiteX248" fmla="*/ 419 w 10126"/>
                <a:gd name="connsiteY248" fmla="*/ 5813 h 10000"/>
                <a:gd name="connsiteX249" fmla="*/ 482 w 10126"/>
                <a:gd name="connsiteY249" fmla="*/ 5813 h 10000"/>
                <a:gd name="connsiteX250" fmla="*/ 503 w 10126"/>
                <a:gd name="connsiteY250" fmla="*/ 5935 h 10000"/>
                <a:gd name="connsiteX251" fmla="*/ 565 w 10126"/>
                <a:gd name="connsiteY251" fmla="*/ 5976 h 10000"/>
                <a:gd name="connsiteX252" fmla="*/ 649 w 10126"/>
                <a:gd name="connsiteY252" fmla="*/ 5976 h 10000"/>
                <a:gd name="connsiteX253" fmla="*/ 691 w 10126"/>
                <a:gd name="connsiteY253" fmla="*/ 6057 h 10000"/>
                <a:gd name="connsiteX254" fmla="*/ 733 w 10126"/>
                <a:gd name="connsiteY254" fmla="*/ 6179 h 10000"/>
                <a:gd name="connsiteX255" fmla="*/ 775 w 10126"/>
                <a:gd name="connsiteY255" fmla="*/ 6138 h 10000"/>
                <a:gd name="connsiteX256" fmla="*/ 858 w 10126"/>
                <a:gd name="connsiteY256" fmla="*/ 6341 h 10000"/>
                <a:gd name="connsiteX257" fmla="*/ 837 w 10126"/>
                <a:gd name="connsiteY257" fmla="*/ 6463 h 10000"/>
                <a:gd name="connsiteX258" fmla="*/ 858 w 10126"/>
                <a:gd name="connsiteY258" fmla="*/ 6585 h 10000"/>
                <a:gd name="connsiteX259" fmla="*/ 921 w 10126"/>
                <a:gd name="connsiteY259" fmla="*/ 6626 h 10000"/>
                <a:gd name="connsiteX260" fmla="*/ 963 w 10126"/>
                <a:gd name="connsiteY260" fmla="*/ 6585 h 10000"/>
                <a:gd name="connsiteX261" fmla="*/ 1026 w 10126"/>
                <a:gd name="connsiteY261" fmla="*/ 6545 h 10000"/>
                <a:gd name="connsiteX262" fmla="*/ 1026 w 10126"/>
                <a:gd name="connsiteY262" fmla="*/ 6789 h 10000"/>
                <a:gd name="connsiteX263" fmla="*/ 984 w 10126"/>
                <a:gd name="connsiteY263" fmla="*/ 6992 h 10000"/>
                <a:gd name="connsiteX264" fmla="*/ 1088 w 10126"/>
                <a:gd name="connsiteY264" fmla="*/ 6992 h 10000"/>
                <a:gd name="connsiteX265" fmla="*/ 1172 w 10126"/>
                <a:gd name="connsiteY265" fmla="*/ 6911 h 10000"/>
                <a:gd name="connsiteX266" fmla="*/ 1214 w 10126"/>
                <a:gd name="connsiteY266" fmla="*/ 6748 h 10000"/>
                <a:gd name="connsiteX267" fmla="*/ 1256 w 10126"/>
                <a:gd name="connsiteY267" fmla="*/ 6626 h 10000"/>
                <a:gd name="connsiteX268" fmla="*/ 1298 w 10126"/>
                <a:gd name="connsiteY268" fmla="*/ 6585 h 10000"/>
                <a:gd name="connsiteX269" fmla="*/ 1360 w 10126"/>
                <a:gd name="connsiteY269" fmla="*/ 6423 h 10000"/>
                <a:gd name="connsiteX270" fmla="*/ 1360 w 10126"/>
                <a:gd name="connsiteY270" fmla="*/ 6260 h 10000"/>
                <a:gd name="connsiteX271" fmla="*/ 1318 w 10126"/>
                <a:gd name="connsiteY271" fmla="*/ 6138 h 10000"/>
                <a:gd name="connsiteX272" fmla="*/ 1339 w 10126"/>
                <a:gd name="connsiteY272" fmla="*/ 5976 h 10000"/>
                <a:gd name="connsiteX273" fmla="*/ 1318 w 10126"/>
                <a:gd name="connsiteY273" fmla="*/ 5854 h 10000"/>
                <a:gd name="connsiteX274" fmla="*/ 1360 w 10126"/>
                <a:gd name="connsiteY274" fmla="*/ 5813 h 10000"/>
                <a:gd name="connsiteX275" fmla="*/ 1360 w 10126"/>
                <a:gd name="connsiteY275" fmla="*/ 5935 h 10000"/>
                <a:gd name="connsiteX276" fmla="*/ 1465 w 10126"/>
                <a:gd name="connsiteY276" fmla="*/ 6016 h 10000"/>
                <a:gd name="connsiteX277" fmla="*/ 1507 w 10126"/>
                <a:gd name="connsiteY277" fmla="*/ 5894 h 10000"/>
                <a:gd name="connsiteX278" fmla="*/ 1570 w 10126"/>
                <a:gd name="connsiteY278" fmla="*/ 5894 h 10000"/>
                <a:gd name="connsiteX279" fmla="*/ 1737 w 10126"/>
                <a:gd name="connsiteY279" fmla="*/ 6016 h 10000"/>
                <a:gd name="connsiteX280" fmla="*/ 1800 w 10126"/>
                <a:gd name="connsiteY280" fmla="*/ 6057 h 10000"/>
                <a:gd name="connsiteX281" fmla="*/ 1862 w 10126"/>
                <a:gd name="connsiteY281" fmla="*/ 5976 h 10000"/>
                <a:gd name="connsiteX282" fmla="*/ 1904 w 10126"/>
                <a:gd name="connsiteY282" fmla="*/ 6016 h 10000"/>
                <a:gd name="connsiteX283" fmla="*/ 1883 w 10126"/>
                <a:gd name="connsiteY283" fmla="*/ 6138 h 10000"/>
                <a:gd name="connsiteX284" fmla="*/ 1967 w 10126"/>
                <a:gd name="connsiteY284" fmla="*/ 6220 h 10000"/>
                <a:gd name="connsiteX285" fmla="*/ 2030 w 10126"/>
                <a:gd name="connsiteY285" fmla="*/ 6341 h 10000"/>
                <a:gd name="connsiteX286" fmla="*/ 2030 w 10126"/>
                <a:gd name="connsiteY286" fmla="*/ 6504 h 10000"/>
                <a:gd name="connsiteX287" fmla="*/ 2197 w 10126"/>
                <a:gd name="connsiteY287" fmla="*/ 6504 h 10000"/>
                <a:gd name="connsiteX288" fmla="*/ 2302 w 10126"/>
                <a:gd name="connsiteY288" fmla="*/ 6382 h 10000"/>
                <a:gd name="connsiteX289" fmla="*/ 2385 w 10126"/>
                <a:gd name="connsiteY289" fmla="*/ 6382 h 10000"/>
                <a:gd name="connsiteX290" fmla="*/ 2406 w 10126"/>
                <a:gd name="connsiteY290" fmla="*/ 6463 h 10000"/>
                <a:gd name="connsiteX291" fmla="*/ 2448 w 10126"/>
                <a:gd name="connsiteY291" fmla="*/ 6423 h 10000"/>
                <a:gd name="connsiteX292" fmla="*/ 2532 w 10126"/>
                <a:gd name="connsiteY292" fmla="*/ 6301 h 10000"/>
                <a:gd name="connsiteX293" fmla="*/ 2574 w 10126"/>
                <a:gd name="connsiteY293" fmla="*/ 6301 h 10000"/>
                <a:gd name="connsiteX294" fmla="*/ 2574 w 10126"/>
                <a:gd name="connsiteY294" fmla="*/ 6179 h 10000"/>
                <a:gd name="connsiteX295" fmla="*/ 2636 w 10126"/>
                <a:gd name="connsiteY295" fmla="*/ 6057 h 10000"/>
                <a:gd name="connsiteX296" fmla="*/ 2699 w 10126"/>
                <a:gd name="connsiteY296" fmla="*/ 6057 h 10000"/>
                <a:gd name="connsiteX297" fmla="*/ 2783 w 10126"/>
                <a:gd name="connsiteY297" fmla="*/ 6057 h 10000"/>
                <a:gd name="connsiteX298" fmla="*/ 2846 w 10126"/>
                <a:gd name="connsiteY298" fmla="*/ 5976 h 10000"/>
                <a:gd name="connsiteX299" fmla="*/ 2846 w 10126"/>
                <a:gd name="connsiteY299" fmla="*/ 5854 h 10000"/>
                <a:gd name="connsiteX300" fmla="*/ 2908 w 10126"/>
                <a:gd name="connsiteY300" fmla="*/ 5732 h 10000"/>
                <a:gd name="connsiteX301" fmla="*/ 2992 w 10126"/>
                <a:gd name="connsiteY301" fmla="*/ 5772 h 10000"/>
                <a:gd name="connsiteX302" fmla="*/ 3097 w 10126"/>
                <a:gd name="connsiteY302" fmla="*/ 5732 h 10000"/>
                <a:gd name="connsiteX303" fmla="*/ 3159 w 10126"/>
                <a:gd name="connsiteY303" fmla="*/ 5772 h 10000"/>
                <a:gd name="connsiteX304" fmla="*/ 3306 w 10126"/>
                <a:gd name="connsiteY304" fmla="*/ 5650 h 10000"/>
                <a:gd name="connsiteX305" fmla="*/ 3620 w 10126"/>
                <a:gd name="connsiteY305" fmla="*/ 5650 h 10000"/>
                <a:gd name="connsiteX306" fmla="*/ 3662 w 10126"/>
                <a:gd name="connsiteY306" fmla="*/ 5528 h 10000"/>
                <a:gd name="connsiteX307" fmla="*/ 3662 w 10126"/>
                <a:gd name="connsiteY307" fmla="*/ 5407 h 10000"/>
                <a:gd name="connsiteX308" fmla="*/ 3620 w 10126"/>
                <a:gd name="connsiteY308" fmla="*/ 5244 h 10000"/>
                <a:gd name="connsiteX309" fmla="*/ 3682 w 10126"/>
                <a:gd name="connsiteY309" fmla="*/ 5203 h 10000"/>
                <a:gd name="connsiteX310" fmla="*/ 3682 w 10126"/>
                <a:gd name="connsiteY310" fmla="*/ 5325 h 10000"/>
                <a:gd name="connsiteX311" fmla="*/ 3745 w 10126"/>
                <a:gd name="connsiteY311" fmla="*/ 5325 h 10000"/>
                <a:gd name="connsiteX312" fmla="*/ 3871 w 10126"/>
                <a:gd name="connsiteY312" fmla="*/ 5325 h 10000"/>
                <a:gd name="connsiteX313" fmla="*/ 3934 w 10126"/>
                <a:gd name="connsiteY313" fmla="*/ 5285 h 10000"/>
                <a:gd name="connsiteX314" fmla="*/ 3996 w 10126"/>
                <a:gd name="connsiteY314" fmla="*/ 5407 h 10000"/>
                <a:gd name="connsiteX315" fmla="*/ 4038 w 10126"/>
                <a:gd name="connsiteY315" fmla="*/ 5528 h 10000"/>
                <a:gd name="connsiteX316" fmla="*/ 4122 w 10126"/>
                <a:gd name="connsiteY316" fmla="*/ 5528 h 10000"/>
                <a:gd name="connsiteX317" fmla="*/ 4185 w 10126"/>
                <a:gd name="connsiteY317" fmla="*/ 5407 h 10000"/>
                <a:gd name="connsiteX318" fmla="*/ 4268 w 10126"/>
                <a:gd name="connsiteY318" fmla="*/ 5325 h 10000"/>
                <a:gd name="connsiteX319" fmla="*/ 4310 w 10126"/>
                <a:gd name="connsiteY319" fmla="*/ 5325 h 10000"/>
                <a:gd name="connsiteX320" fmla="*/ 4394 w 10126"/>
                <a:gd name="connsiteY320" fmla="*/ 5366 h 10000"/>
                <a:gd name="connsiteX321" fmla="*/ 4415 w 10126"/>
                <a:gd name="connsiteY321" fmla="*/ 5488 h 10000"/>
                <a:gd name="connsiteX322" fmla="*/ 4477 w 10126"/>
                <a:gd name="connsiteY322" fmla="*/ 5569 h 10000"/>
                <a:gd name="connsiteX323" fmla="*/ 4436 w 10126"/>
                <a:gd name="connsiteY323" fmla="*/ 5691 h 10000"/>
                <a:gd name="connsiteX324" fmla="*/ 4477 w 10126"/>
                <a:gd name="connsiteY324" fmla="*/ 5813 h 10000"/>
                <a:gd name="connsiteX325" fmla="*/ 4582 w 10126"/>
                <a:gd name="connsiteY325" fmla="*/ 5976 h 10000"/>
                <a:gd name="connsiteX326" fmla="*/ 4645 w 10126"/>
                <a:gd name="connsiteY326" fmla="*/ 6057 h 10000"/>
                <a:gd name="connsiteX327" fmla="*/ 4687 w 10126"/>
                <a:gd name="connsiteY327" fmla="*/ 6057 h 10000"/>
                <a:gd name="connsiteX328" fmla="*/ 4749 w 10126"/>
                <a:gd name="connsiteY328" fmla="*/ 6057 h 10000"/>
                <a:gd name="connsiteX329" fmla="*/ 4770 w 10126"/>
                <a:gd name="connsiteY329" fmla="*/ 5935 h 10000"/>
                <a:gd name="connsiteX330" fmla="*/ 4770 w 10126"/>
                <a:gd name="connsiteY330" fmla="*/ 5813 h 10000"/>
                <a:gd name="connsiteX331" fmla="*/ 4770 w 10126"/>
                <a:gd name="connsiteY331" fmla="*/ 5650 h 10000"/>
                <a:gd name="connsiteX332" fmla="*/ 4812 w 10126"/>
                <a:gd name="connsiteY332" fmla="*/ 5488 h 10000"/>
                <a:gd name="connsiteX333" fmla="*/ 4812 w 10126"/>
                <a:gd name="connsiteY333" fmla="*/ 5366 h 10000"/>
                <a:gd name="connsiteX334" fmla="*/ 4770 w 10126"/>
                <a:gd name="connsiteY334" fmla="*/ 5203 h 10000"/>
                <a:gd name="connsiteX335" fmla="*/ 4708 w 10126"/>
                <a:gd name="connsiteY335" fmla="*/ 5163 h 10000"/>
                <a:gd name="connsiteX336" fmla="*/ 4666 w 10126"/>
                <a:gd name="connsiteY336" fmla="*/ 5203 h 10000"/>
                <a:gd name="connsiteX337" fmla="*/ 4603 w 10126"/>
                <a:gd name="connsiteY337" fmla="*/ 5163 h 10000"/>
                <a:gd name="connsiteX338" fmla="*/ 4603 w 10126"/>
                <a:gd name="connsiteY338" fmla="*/ 5081 h 10000"/>
                <a:gd name="connsiteX339" fmla="*/ 4603 w 10126"/>
                <a:gd name="connsiteY339" fmla="*/ 4919 h 10000"/>
                <a:gd name="connsiteX340" fmla="*/ 4645 w 10126"/>
                <a:gd name="connsiteY340" fmla="*/ 4593 h 10000"/>
                <a:gd name="connsiteX341" fmla="*/ 4603 w 10126"/>
                <a:gd name="connsiteY341" fmla="*/ 4390 h 10000"/>
                <a:gd name="connsiteX342" fmla="*/ 4540 w 10126"/>
                <a:gd name="connsiteY342" fmla="*/ 4268 h 10000"/>
                <a:gd name="connsiteX343" fmla="*/ 4498 w 10126"/>
                <a:gd name="connsiteY343" fmla="*/ 4187 h 10000"/>
                <a:gd name="connsiteX344" fmla="*/ 4477 w 10126"/>
                <a:gd name="connsiteY344" fmla="*/ 4024 h 10000"/>
                <a:gd name="connsiteX345" fmla="*/ 4373 w 10126"/>
                <a:gd name="connsiteY345" fmla="*/ 3821 h 10000"/>
                <a:gd name="connsiteX346" fmla="*/ 4352 w 10126"/>
                <a:gd name="connsiteY346" fmla="*/ 3699 h 10000"/>
                <a:gd name="connsiteX347" fmla="*/ 4394 w 10126"/>
                <a:gd name="connsiteY347" fmla="*/ 3537 h 10000"/>
                <a:gd name="connsiteX348" fmla="*/ 4457 w 10126"/>
                <a:gd name="connsiteY348" fmla="*/ 3455 h 10000"/>
                <a:gd name="connsiteX349" fmla="*/ 4477 w 10126"/>
                <a:gd name="connsiteY349" fmla="*/ 3374 h 10000"/>
                <a:gd name="connsiteX350" fmla="*/ 4582 w 10126"/>
                <a:gd name="connsiteY350" fmla="*/ 3293 h 10000"/>
                <a:gd name="connsiteX351" fmla="*/ 4645 w 10126"/>
                <a:gd name="connsiteY351" fmla="*/ 3171 h 10000"/>
                <a:gd name="connsiteX352" fmla="*/ 4687 w 10126"/>
                <a:gd name="connsiteY352" fmla="*/ 3089 h 10000"/>
                <a:gd name="connsiteX353" fmla="*/ 4833 w 10126"/>
                <a:gd name="connsiteY353" fmla="*/ 2967 h 10000"/>
                <a:gd name="connsiteX354" fmla="*/ 5021 w 10126"/>
                <a:gd name="connsiteY354" fmla="*/ 2886 h 10000"/>
                <a:gd name="connsiteX355" fmla="*/ 5189 w 10126"/>
                <a:gd name="connsiteY355" fmla="*/ 2602 h 10000"/>
                <a:gd name="connsiteX356" fmla="*/ 5210 w 10126"/>
                <a:gd name="connsiteY356" fmla="*/ 2480 h 10000"/>
                <a:gd name="connsiteX357" fmla="*/ 5210 w 10126"/>
                <a:gd name="connsiteY357" fmla="*/ 2236 h 10000"/>
                <a:gd name="connsiteX358" fmla="*/ 5231 w 10126"/>
                <a:gd name="connsiteY358" fmla="*/ 2114 h 10000"/>
                <a:gd name="connsiteX359" fmla="*/ 5231 w 10126"/>
                <a:gd name="connsiteY359" fmla="*/ 1992 h 10000"/>
                <a:gd name="connsiteX360" fmla="*/ 5210 w 10126"/>
                <a:gd name="connsiteY360" fmla="*/ 1870 h 10000"/>
                <a:gd name="connsiteX361" fmla="*/ 5272 w 10126"/>
                <a:gd name="connsiteY361" fmla="*/ 1829 h 10000"/>
                <a:gd name="connsiteX362" fmla="*/ 5461 w 10126"/>
                <a:gd name="connsiteY362" fmla="*/ 1870 h 10000"/>
                <a:gd name="connsiteX363" fmla="*/ 5523 w 10126"/>
                <a:gd name="connsiteY363" fmla="*/ 1992 h 10000"/>
                <a:gd name="connsiteX364" fmla="*/ 5586 w 10126"/>
                <a:gd name="connsiteY364" fmla="*/ 2033 h 10000"/>
                <a:gd name="connsiteX365" fmla="*/ 5607 w 10126"/>
                <a:gd name="connsiteY365" fmla="*/ 1870 h 10000"/>
                <a:gd name="connsiteX366" fmla="*/ 5649 w 10126"/>
                <a:gd name="connsiteY366" fmla="*/ 1829 h 10000"/>
                <a:gd name="connsiteX367" fmla="*/ 5691 w 10126"/>
                <a:gd name="connsiteY367" fmla="*/ 1707 h 10000"/>
                <a:gd name="connsiteX368" fmla="*/ 5691 w 10126"/>
                <a:gd name="connsiteY368" fmla="*/ 1545 h 10000"/>
                <a:gd name="connsiteX369" fmla="*/ 5670 w 10126"/>
                <a:gd name="connsiteY369" fmla="*/ 1423 h 10000"/>
                <a:gd name="connsiteX370" fmla="*/ 5670 w 10126"/>
                <a:gd name="connsiteY370" fmla="*/ 1301 h 10000"/>
                <a:gd name="connsiteX371" fmla="*/ 5691 w 10126"/>
                <a:gd name="connsiteY371" fmla="*/ 1057 h 10000"/>
                <a:gd name="connsiteX372" fmla="*/ 5733 w 10126"/>
                <a:gd name="connsiteY372" fmla="*/ 1098 h 10000"/>
                <a:gd name="connsiteX373" fmla="*/ 5795 w 10126"/>
                <a:gd name="connsiteY373" fmla="*/ 1138 h 10000"/>
                <a:gd name="connsiteX374" fmla="*/ 5900 w 10126"/>
                <a:gd name="connsiteY374" fmla="*/ 1301 h 10000"/>
                <a:gd name="connsiteX375" fmla="*/ 5942 w 10126"/>
                <a:gd name="connsiteY375" fmla="*/ 1423 h 10000"/>
                <a:gd name="connsiteX376" fmla="*/ 5963 w 10126"/>
                <a:gd name="connsiteY376" fmla="*/ 1545 h 10000"/>
                <a:gd name="connsiteX377" fmla="*/ 5984 w 10126"/>
                <a:gd name="connsiteY377" fmla="*/ 1667 h 10000"/>
                <a:gd name="connsiteX378" fmla="*/ 6047 w 10126"/>
                <a:gd name="connsiteY378" fmla="*/ 1707 h 10000"/>
                <a:gd name="connsiteX379" fmla="*/ 6214 w 10126"/>
                <a:gd name="connsiteY379" fmla="*/ 1748 h 10000"/>
                <a:gd name="connsiteX380" fmla="*/ 6339 w 10126"/>
                <a:gd name="connsiteY380" fmla="*/ 1789 h 10000"/>
                <a:gd name="connsiteX381" fmla="*/ 6402 w 10126"/>
                <a:gd name="connsiteY381" fmla="*/ 1748 h 10000"/>
                <a:gd name="connsiteX382" fmla="*/ 6465 w 10126"/>
                <a:gd name="connsiteY382" fmla="*/ 1707 h 10000"/>
                <a:gd name="connsiteX383" fmla="*/ 6507 w 10126"/>
                <a:gd name="connsiteY383" fmla="*/ 1504 h 10000"/>
                <a:gd name="connsiteX384" fmla="*/ 6549 w 10126"/>
                <a:gd name="connsiteY384" fmla="*/ 1545 h 10000"/>
                <a:gd name="connsiteX385" fmla="*/ 6611 w 10126"/>
                <a:gd name="connsiteY385" fmla="*/ 1585 h 10000"/>
                <a:gd name="connsiteX386" fmla="*/ 6674 w 10126"/>
                <a:gd name="connsiteY386" fmla="*/ 1545 h 10000"/>
                <a:gd name="connsiteX387" fmla="*/ 6737 w 10126"/>
                <a:gd name="connsiteY387" fmla="*/ 1585 h 10000"/>
                <a:gd name="connsiteX388" fmla="*/ 6800 w 10126"/>
                <a:gd name="connsiteY388" fmla="*/ 1667 h 10000"/>
                <a:gd name="connsiteX389" fmla="*/ 6841 w 10126"/>
                <a:gd name="connsiteY389" fmla="*/ 1545 h 10000"/>
                <a:gd name="connsiteX390" fmla="*/ 6821 w 10126"/>
                <a:gd name="connsiteY390" fmla="*/ 1423 h 10000"/>
                <a:gd name="connsiteX391" fmla="*/ 6841 w 10126"/>
                <a:gd name="connsiteY391" fmla="*/ 1179 h 10000"/>
                <a:gd name="connsiteX392" fmla="*/ 6925 w 10126"/>
                <a:gd name="connsiteY392" fmla="*/ 1057 h 10000"/>
                <a:gd name="connsiteX393" fmla="*/ 6946 w 10126"/>
                <a:gd name="connsiteY393" fmla="*/ 976 h 10000"/>
                <a:gd name="connsiteX394" fmla="*/ 7051 w 10126"/>
                <a:gd name="connsiteY394" fmla="*/ 854 h 10000"/>
                <a:gd name="connsiteX395" fmla="*/ 7113 w 10126"/>
                <a:gd name="connsiteY395" fmla="*/ 894 h 10000"/>
                <a:gd name="connsiteX396" fmla="*/ 7134 w 10126"/>
                <a:gd name="connsiteY396" fmla="*/ 772 h 10000"/>
                <a:gd name="connsiteX397" fmla="*/ 7155 w 10126"/>
                <a:gd name="connsiteY397" fmla="*/ 447 h 10000"/>
                <a:gd name="connsiteX398" fmla="*/ 7155 w 10126"/>
                <a:gd name="connsiteY398" fmla="*/ 244 h 10000"/>
                <a:gd name="connsiteX399" fmla="*/ 7134 w 10126"/>
                <a:gd name="connsiteY399" fmla="*/ 122 h 10000"/>
                <a:gd name="connsiteX400" fmla="*/ 7155 w 10126"/>
                <a:gd name="connsiteY400" fmla="*/ 0 h 10000"/>
                <a:gd name="connsiteX0" fmla="*/ 7155 w 10126"/>
                <a:gd name="connsiteY0" fmla="*/ 0 h 10000"/>
                <a:gd name="connsiteX1" fmla="*/ 7260 w 10126"/>
                <a:gd name="connsiteY1" fmla="*/ 0 h 10000"/>
                <a:gd name="connsiteX2" fmla="*/ 7364 w 10126"/>
                <a:gd name="connsiteY2" fmla="*/ 0 h 10000"/>
                <a:gd name="connsiteX3" fmla="*/ 7385 w 10126"/>
                <a:gd name="connsiteY3" fmla="*/ 163 h 10000"/>
                <a:gd name="connsiteX4" fmla="*/ 7364 w 10126"/>
                <a:gd name="connsiteY4" fmla="*/ 203 h 10000"/>
                <a:gd name="connsiteX5" fmla="*/ 7490 w 10126"/>
                <a:gd name="connsiteY5" fmla="*/ 163 h 10000"/>
                <a:gd name="connsiteX6" fmla="*/ 7511 w 10126"/>
                <a:gd name="connsiteY6" fmla="*/ 41 h 10000"/>
                <a:gd name="connsiteX7" fmla="*/ 7616 w 10126"/>
                <a:gd name="connsiteY7" fmla="*/ 41 h 10000"/>
                <a:gd name="connsiteX8" fmla="*/ 7699 w 10126"/>
                <a:gd name="connsiteY8" fmla="*/ 122 h 10000"/>
                <a:gd name="connsiteX9" fmla="*/ 7762 w 10126"/>
                <a:gd name="connsiteY9" fmla="*/ 122 h 10000"/>
                <a:gd name="connsiteX10" fmla="*/ 7867 w 10126"/>
                <a:gd name="connsiteY10" fmla="*/ 244 h 10000"/>
                <a:gd name="connsiteX11" fmla="*/ 7971 w 10126"/>
                <a:gd name="connsiteY11" fmla="*/ 325 h 10000"/>
                <a:gd name="connsiteX12" fmla="*/ 8076 w 10126"/>
                <a:gd name="connsiteY12" fmla="*/ 407 h 10000"/>
                <a:gd name="connsiteX13" fmla="*/ 8118 w 10126"/>
                <a:gd name="connsiteY13" fmla="*/ 407 h 10000"/>
                <a:gd name="connsiteX14" fmla="*/ 8180 w 10126"/>
                <a:gd name="connsiteY14" fmla="*/ 366 h 10000"/>
                <a:gd name="connsiteX15" fmla="*/ 8243 w 10126"/>
                <a:gd name="connsiteY15" fmla="*/ 325 h 10000"/>
                <a:gd name="connsiteX16" fmla="*/ 8285 w 10126"/>
                <a:gd name="connsiteY16" fmla="*/ 407 h 10000"/>
                <a:gd name="connsiteX17" fmla="*/ 8348 w 10126"/>
                <a:gd name="connsiteY17" fmla="*/ 447 h 10000"/>
                <a:gd name="connsiteX18" fmla="*/ 8411 w 10126"/>
                <a:gd name="connsiteY18" fmla="*/ 569 h 10000"/>
                <a:gd name="connsiteX19" fmla="*/ 8557 w 10126"/>
                <a:gd name="connsiteY19" fmla="*/ 732 h 10000"/>
                <a:gd name="connsiteX20" fmla="*/ 8620 w 10126"/>
                <a:gd name="connsiteY20" fmla="*/ 772 h 10000"/>
                <a:gd name="connsiteX21" fmla="*/ 8724 w 10126"/>
                <a:gd name="connsiteY21" fmla="*/ 732 h 10000"/>
                <a:gd name="connsiteX22" fmla="*/ 8913 w 10126"/>
                <a:gd name="connsiteY22" fmla="*/ 772 h 10000"/>
                <a:gd name="connsiteX23" fmla="*/ 8975 w 10126"/>
                <a:gd name="connsiteY23" fmla="*/ 772 h 10000"/>
                <a:gd name="connsiteX24" fmla="*/ 9059 w 10126"/>
                <a:gd name="connsiteY24" fmla="*/ 488 h 10000"/>
                <a:gd name="connsiteX25" fmla="*/ 9101 w 10126"/>
                <a:gd name="connsiteY25" fmla="*/ 488 h 10000"/>
                <a:gd name="connsiteX26" fmla="*/ 9164 w 10126"/>
                <a:gd name="connsiteY26" fmla="*/ 447 h 10000"/>
                <a:gd name="connsiteX27" fmla="*/ 9268 w 10126"/>
                <a:gd name="connsiteY27" fmla="*/ 488 h 10000"/>
                <a:gd name="connsiteX28" fmla="*/ 9310 w 10126"/>
                <a:gd name="connsiteY28" fmla="*/ 528 h 10000"/>
                <a:gd name="connsiteX29" fmla="*/ 9352 w 10126"/>
                <a:gd name="connsiteY29" fmla="*/ 650 h 10000"/>
                <a:gd name="connsiteX30" fmla="*/ 9436 w 10126"/>
                <a:gd name="connsiteY30" fmla="*/ 650 h 10000"/>
                <a:gd name="connsiteX31" fmla="*/ 9498 w 10126"/>
                <a:gd name="connsiteY31" fmla="*/ 732 h 10000"/>
                <a:gd name="connsiteX32" fmla="*/ 9561 w 10126"/>
                <a:gd name="connsiteY32" fmla="*/ 732 h 10000"/>
                <a:gd name="connsiteX33" fmla="*/ 9603 w 10126"/>
                <a:gd name="connsiteY33" fmla="*/ 691 h 10000"/>
                <a:gd name="connsiteX34" fmla="*/ 9645 w 10126"/>
                <a:gd name="connsiteY34" fmla="*/ 772 h 10000"/>
                <a:gd name="connsiteX35" fmla="*/ 9729 w 10126"/>
                <a:gd name="connsiteY35" fmla="*/ 1098 h 10000"/>
                <a:gd name="connsiteX36" fmla="*/ 9749 w 10126"/>
                <a:gd name="connsiteY36" fmla="*/ 1301 h 10000"/>
                <a:gd name="connsiteX37" fmla="*/ 9729 w 10126"/>
                <a:gd name="connsiteY37" fmla="*/ 1423 h 10000"/>
                <a:gd name="connsiteX38" fmla="*/ 9687 w 10126"/>
                <a:gd name="connsiteY38" fmla="*/ 1545 h 10000"/>
                <a:gd name="connsiteX39" fmla="*/ 9666 w 10126"/>
                <a:gd name="connsiteY39" fmla="*/ 1707 h 10000"/>
                <a:gd name="connsiteX40" fmla="*/ 9645 w 10126"/>
                <a:gd name="connsiteY40" fmla="*/ 1951 h 10000"/>
                <a:gd name="connsiteX41" fmla="*/ 9666 w 10126"/>
                <a:gd name="connsiteY41" fmla="*/ 2073 h 10000"/>
                <a:gd name="connsiteX42" fmla="*/ 9708 w 10126"/>
                <a:gd name="connsiteY42" fmla="*/ 2114 h 10000"/>
                <a:gd name="connsiteX43" fmla="*/ 9729 w 10126"/>
                <a:gd name="connsiteY43" fmla="*/ 2236 h 10000"/>
                <a:gd name="connsiteX44" fmla="*/ 9770 w 10126"/>
                <a:gd name="connsiteY44" fmla="*/ 2317 h 10000"/>
                <a:gd name="connsiteX45" fmla="*/ 9812 w 10126"/>
                <a:gd name="connsiteY45" fmla="*/ 2439 h 10000"/>
                <a:gd name="connsiteX46" fmla="*/ 9833 w 10126"/>
                <a:gd name="connsiteY46" fmla="*/ 2561 h 10000"/>
                <a:gd name="connsiteX47" fmla="*/ 9854 w 10126"/>
                <a:gd name="connsiteY47" fmla="*/ 2724 h 10000"/>
                <a:gd name="connsiteX48" fmla="*/ 9896 w 10126"/>
                <a:gd name="connsiteY48" fmla="*/ 2846 h 10000"/>
                <a:gd name="connsiteX49" fmla="*/ 9959 w 10126"/>
                <a:gd name="connsiteY49" fmla="*/ 2886 h 10000"/>
                <a:gd name="connsiteX50" fmla="*/ 10021 w 10126"/>
                <a:gd name="connsiteY50" fmla="*/ 3008 h 10000"/>
                <a:gd name="connsiteX51" fmla="*/ 10000 w 10126"/>
                <a:gd name="connsiteY51" fmla="*/ 3130 h 10000"/>
                <a:gd name="connsiteX52" fmla="*/ 10042 w 10126"/>
                <a:gd name="connsiteY52" fmla="*/ 3252 h 10000"/>
                <a:gd name="connsiteX53" fmla="*/ 10126 w 10126"/>
                <a:gd name="connsiteY53" fmla="*/ 3333 h 10000"/>
                <a:gd name="connsiteX54" fmla="*/ 10042 w 10126"/>
                <a:gd name="connsiteY54" fmla="*/ 3455 h 10000"/>
                <a:gd name="connsiteX55" fmla="*/ 10063 w 10126"/>
                <a:gd name="connsiteY55" fmla="*/ 3577 h 10000"/>
                <a:gd name="connsiteX56" fmla="*/ 10063 w 10126"/>
                <a:gd name="connsiteY56" fmla="*/ 3699 h 10000"/>
                <a:gd name="connsiteX57" fmla="*/ 10021 w 10126"/>
                <a:gd name="connsiteY57" fmla="*/ 3821 h 10000"/>
                <a:gd name="connsiteX58" fmla="*/ 9959 w 10126"/>
                <a:gd name="connsiteY58" fmla="*/ 3862 h 10000"/>
                <a:gd name="connsiteX59" fmla="*/ 10021 w 10126"/>
                <a:gd name="connsiteY59" fmla="*/ 4024 h 10000"/>
                <a:gd name="connsiteX60" fmla="*/ 10021 w 10126"/>
                <a:gd name="connsiteY60" fmla="*/ 4228 h 10000"/>
                <a:gd name="connsiteX61" fmla="*/ 10042 w 10126"/>
                <a:gd name="connsiteY61" fmla="*/ 4390 h 10000"/>
                <a:gd name="connsiteX62" fmla="*/ 10063 w 10126"/>
                <a:gd name="connsiteY62" fmla="*/ 4512 h 10000"/>
                <a:gd name="connsiteX63" fmla="*/ 9959 w 10126"/>
                <a:gd name="connsiteY63" fmla="*/ 4553 h 10000"/>
                <a:gd name="connsiteX64" fmla="*/ 9833 w 10126"/>
                <a:gd name="connsiteY64" fmla="*/ 4634 h 10000"/>
                <a:gd name="connsiteX65" fmla="*/ 9791 w 10126"/>
                <a:gd name="connsiteY65" fmla="*/ 4593 h 10000"/>
                <a:gd name="connsiteX66" fmla="*/ 9729 w 10126"/>
                <a:gd name="connsiteY66" fmla="*/ 4634 h 10000"/>
                <a:gd name="connsiteX67" fmla="*/ 9624 w 10126"/>
                <a:gd name="connsiteY67" fmla="*/ 4675 h 10000"/>
                <a:gd name="connsiteX68" fmla="*/ 9582 w 10126"/>
                <a:gd name="connsiteY68" fmla="*/ 4553 h 10000"/>
                <a:gd name="connsiteX69" fmla="*/ 9457 w 10126"/>
                <a:gd name="connsiteY69" fmla="*/ 4431 h 10000"/>
                <a:gd name="connsiteX70" fmla="*/ 9394 w 10126"/>
                <a:gd name="connsiteY70" fmla="*/ 4431 h 10000"/>
                <a:gd name="connsiteX71" fmla="*/ 9352 w 10126"/>
                <a:gd name="connsiteY71" fmla="*/ 4472 h 10000"/>
                <a:gd name="connsiteX72" fmla="*/ 9352 w 10126"/>
                <a:gd name="connsiteY72" fmla="*/ 4593 h 10000"/>
                <a:gd name="connsiteX73" fmla="*/ 9289 w 10126"/>
                <a:gd name="connsiteY73" fmla="*/ 4675 h 10000"/>
                <a:gd name="connsiteX74" fmla="*/ 9226 w 10126"/>
                <a:gd name="connsiteY74" fmla="*/ 4715 h 10000"/>
                <a:gd name="connsiteX75" fmla="*/ 9226 w 10126"/>
                <a:gd name="connsiteY75" fmla="*/ 4837 h 10000"/>
                <a:gd name="connsiteX76" fmla="*/ 9310 w 10126"/>
                <a:gd name="connsiteY76" fmla="*/ 4878 h 10000"/>
                <a:gd name="connsiteX77" fmla="*/ 9436 w 10126"/>
                <a:gd name="connsiteY77" fmla="*/ 4919 h 10000"/>
                <a:gd name="connsiteX78" fmla="*/ 9498 w 10126"/>
                <a:gd name="connsiteY78" fmla="*/ 4919 h 10000"/>
                <a:gd name="connsiteX79" fmla="*/ 9540 w 10126"/>
                <a:gd name="connsiteY79" fmla="*/ 5041 h 10000"/>
                <a:gd name="connsiteX80" fmla="*/ 9582 w 10126"/>
                <a:gd name="connsiteY80" fmla="*/ 5163 h 10000"/>
                <a:gd name="connsiteX81" fmla="*/ 9582 w 10126"/>
                <a:gd name="connsiteY81" fmla="*/ 5325 h 10000"/>
                <a:gd name="connsiteX82" fmla="*/ 9519 w 10126"/>
                <a:gd name="connsiteY82" fmla="*/ 5366 h 10000"/>
                <a:gd name="connsiteX83" fmla="*/ 9540 w 10126"/>
                <a:gd name="connsiteY83" fmla="*/ 5528 h 10000"/>
                <a:gd name="connsiteX84" fmla="*/ 9477 w 10126"/>
                <a:gd name="connsiteY84" fmla="*/ 5650 h 10000"/>
                <a:gd name="connsiteX85" fmla="*/ 9352 w 10126"/>
                <a:gd name="connsiteY85" fmla="*/ 5813 h 10000"/>
                <a:gd name="connsiteX86" fmla="*/ 9289 w 10126"/>
                <a:gd name="connsiteY86" fmla="*/ 5732 h 10000"/>
                <a:gd name="connsiteX87" fmla="*/ 9289 w 10126"/>
                <a:gd name="connsiteY87" fmla="*/ 5935 h 10000"/>
                <a:gd name="connsiteX88" fmla="*/ 9352 w 10126"/>
                <a:gd name="connsiteY88" fmla="*/ 6179 h 10000"/>
                <a:gd name="connsiteX89" fmla="*/ 9352 w 10126"/>
                <a:gd name="connsiteY89" fmla="*/ 6260 h 10000"/>
                <a:gd name="connsiteX90" fmla="*/ 9289 w 10126"/>
                <a:gd name="connsiteY90" fmla="*/ 6382 h 10000"/>
                <a:gd name="connsiteX91" fmla="*/ 9268 w 10126"/>
                <a:gd name="connsiteY91" fmla="*/ 6504 h 10000"/>
                <a:gd name="connsiteX92" fmla="*/ 9331 w 10126"/>
                <a:gd name="connsiteY92" fmla="*/ 6626 h 10000"/>
                <a:gd name="connsiteX93" fmla="*/ 9331 w 10126"/>
                <a:gd name="connsiteY93" fmla="*/ 6748 h 10000"/>
                <a:gd name="connsiteX94" fmla="*/ 9394 w 10126"/>
                <a:gd name="connsiteY94" fmla="*/ 6707 h 10000"/>
                <a:gd name="connsiteX95" fmla="*/ 9394 w 10126"/>
                <a:gd name="connsiteY95" fmla="*/ 6911 h 10000"/>
                <a:gd name="connsiteX96" fmla="*/ 9373 w 10126"/>
                <a:gd name="connsiteY96" fmla="*/ 7033 h 10000"/>
                <a:gd name="connsiteX97" fmla="*/ 9352 w 10126"/>
                <a:gd name="connsiteY97" fmla="*/ 7195 h 10000"/>
                <a:gd name="connsiteX98" fmla="*/ 9415 w 10126"/>
                <a:gd name="connsiteY98" fmla="*/ 7276 h 10000"/>
                <a:gd name="connsiteX99" fmla="*/ 9352 w 10126"/>
                <a:gd name="connsiteY99" fmla="*/ 7317 h 10000"/>
                <a:gd name="connsiteX100" fmla="*/ 9310 w 10126"/>
                <a:gd name="connsiteY100" fmla="*/ 7358 h 10000"/>
                <a:gd name="connsiteX101" fmla="*/ 9247 w 10126"/>
                <a:gd name="connsiteY101" fmla="*/ 7317 h 10000"/>
                <a:gd name="connsiteX102" fmla="*/ 9205 w 10126"/>
                <a:gd name="connsiteY102" fmla="*/ 7317 h 10000"/>
                <a:gd name="connsiteX103" fmla="*/ 9143 w 10126"/>
                <a:gd name="connsiteY103" fmla="*/ 7317 h 10000"/>
                <a:gd name="connsiteX104" fmla="*/ 9101 w 10126"/>
                <a:gd name="connsiteY104" fmla="*/ 7439 h 10000"/>
                <a:gd name="connsiteX105" fmla="*/ 9080 w 10126"/>
                <a:gd name="connsiteY105" fmla="*/ 7561 h 10000"/>
                <a:gd name="connsiteX106" fmla="*/ 9017 w 10126"/>
                <a:gd name="connsiteY106" fmla="*/ 7683 h 10000"/>
                <a:gd name="connsiteX107" fmla="*/ 8954 w 10126"/>
                <a:gd name="connsiteY107" fmla="*/ 7846 h 10000"/>
                <a:gd name="connsiteX108" fmla="*/ 8850 w 10126"/>
                <a:gd name="connsiteY108" fmla="*/ 8008 h 10000"/>
                <a:gd name="connsiteX109" fmla="*/ 8787 w 10126"/>
                <a:gd name="connsiteY109" fmla="*/ 8049 h 10000"/>
                <a:gd name="connsiteX110" fmla="*/ 8766 w 10126"/>
                <a:gd name="connsiteY110" fmla="*/ 8252 h 10000"/>
                <a:gd name="connsiteX111" fmla="*/ 8766 w 10126"/>
                <a:gd name="connsiteY111" fmla="*/ 8374 h 10000"/>
                <a:gd name="connsiteX112" fmla="*/ 8829 w 10126"/>
                <a:gd name="connsiteY112" fmla="*/ 8496 h 10000"/>
                <a:gd name="connsiteX113" fmla="*/ 8850 w 10126"/>
                <a:gd name="connsiteY113" fmla="*/ 8618 h 10000"/>
                <a:gd name="connsiteX114" fmla="*/ 8745 w 10126"/>
                <a:gd name="connsiteY114" fmla="*/ 8537 h 10000"/>
                <a:gd name="connsiteX115" fmla="*/ 8662 w 10126"/>
                <a:gd name="connsiteY115" fmla="*/ 8455 h 10000"/>
                <a:gd name="connsiteX116" fmla="*/ 8578 w 10126"/>
                <a:gd name="connsiteY116" fmla="*/ 8455 h 10000"/>
                <a:gd name="connsiteX117" fmla="*/ 8494 w 10126"/>
                <a:gd name="connsiteY117" fmla="*/ 8537 h 10000"/>
                <a:gd name="connsiteX118" fmla="*/ 8327 w 10126"/>
                <a:gd name="connsiteY118" fmla="*/ 8537 h 10000"/>
                <a:gd name="connsiteX119" fmla="*/ 8306 w 10126"/>
                <a:gd name="connsiteY119" fmla="*/ 8659 h 10000"/>
                <a:gd name="connsiteX120" fmla="*/ 8264 w 10126"/>
                <a:gd name="connsiteY120" fmla="*/ 8699 h 10000"/>
                <a:gd name="connsiteX121" fmla="*/ 8201 w 10126"/>
                <a:gd name="connsiteY121" fmla="*/ 8699 h 10000"/>
                <a:gd name="connsiteX122" fmla="*/ 8159 w 10126"/>
                <a:gd name="connsiteY122" fmla="*/ 8862 h 10000"/>
                <a:gd name="connsiteX123" fmla="*/ 8097 w 10126"/>
                <a:gd name="connsiteY123" fmla="*/ 8943 h 10000"/>
                <a:gd name="connsiteX124" fmla="*/ 8034 w 10126"/>
                <a:gd name="connsiteY124" fmla="*/ 8862 h 10000"/>
                <a:gd name="connsiteX125" fmla="*/ 7762 w 10126"/>
                <a:gd name="connsiteY125" fmla="*/ 8902 h 10000"/>
                <a:gd name="connsiteX126" fmla="*/ 7574 w 10126"/>
                <a:gd name="connsiteY126" fmla="*/ 8902 h 10000"/>
                <a:gd name="connsiteX127" fmla="*/ 7490 w 10126"/>
                <a:gd name="connsiteY127" fmla="*/ 8943 h 10000"/>
                <a:gd name="connsiteX128" fmla="*/ 7448 w 10126"/>
                <a:gd name="connsiteY128" fmla="*/ 9065 h 10000"/>
                <a:gd name="connsiteX129" fmla="*/ 7344 w 10126"/>
                <a:gd name="connsiteY129" fmla="*/ 9065 h 10000"/>
                <a:gd name="connsiteX130" fmla="*/ 7281 w 10126"/>
                <a:gd name="connsiteY130" fmla="*/ 9106 h 10000"/>
                <a:gd name="connsiteX131" fmla="*/ 7260 w 10126"/>
                <a:gd name="connsiteY131" fmla="*/ 9228 h 10000"/>
                <a:gd name="connsiteX132" fmla="*/ 7239 w 10126"/>
                <a:gd name="connsiteY132" fmla="*/ 9350 h 10000"/>
                <a:gd name="connsiteX133" fmla="*/ 7218 w 10126"/>
                <a:gd name="connsiteY133" fmla="*/ 9472 h 10000"/>
                <a:gd name="connsiteX134" fmla="*/ 7155 w 10126"/>
                <a:gd name="connsiteY134" fmla="*/ 9512 h 10000"/>
                <a:gd name="connsiteX135" fmla="*/ 7113 w 10126"/>
                <a:gd name="connsiteY135" fmla="*/ 9634 h 10000"/>
                <a:gd name="connsiteX136" fmla="*/ 7051 w 10126"/>
                <a:gd name="connsiteY136" fmla="*/ 9715 h 10000"/>
                <a:gd name="connsiteX137" fmla="*/ 7009 w 10126"/>
                <a:gd name="connsiteY137" fmla="*/ 9797 h 10000"/>
                <a:gd name="connsiteX138" fmla="*/ 6946 w 10126"/>
                <a:gd name="connsiteY138" fmla="*/ 9878 h 10000"/>
                <a:gd name="connsiteX139" fmla="*/ 6925 w 10126"/>
                <a:gd name="connsiteY139" fmla="*/ 10000 h 10000"/>
                <a:gd name="connsiteX140" fmla="*/ 6841 w 10126"/>
                <a:gd name="connsiteY140" fmla="*/ 9919 h 10000"/>
                <a:gd name="connsiteX141" fmla="*/ 6779 w 10126"/>
                <a:gd name="connsiteY141" fmla="*/ 9919 h 10000"/>
                <a:gd name="connsiteX142" fmla="*/ 6716 w 10126"/>
                <a:gd name="connsiteY142" fmla="*/ 9878 h 10000"/>
                <a:gd name="connsiteX143" fmla="*/ 6632 w 10126"/>
                <a:gd name="connsiteY143" fmla="*/ 9837 h 10000"/>
                <a:gd name="connsiteX144" fmla="*/ 6360 w 10126"/>
                <a:gd name="connsiteY144" fmla="*/ 9837 h 10000"/>
                <a:gd name="connsiteX145" fmla="*/ 6256 w 10126"/>
                <a:gd name="connsiteY145" fmla="*/ 9715 h 10000"/>
                <a:gd name="connsiteX146" fmla="*/ 6193 w 10126"/>
                <a:gd name="connsiteY146" fmla="*/ 9715 h 10000"/>
                <a:gd name="connsiteX147" fmla="*/ 6130 w 10126"/>
                <a:gd name="connsiteY147" fmla="*/ 9715 h 10000"/>
                <a:gd name="connsiteX148" fmla="*/ 6005 w 10126"/>
                <a:gd name="connsiteY148" fmla="*/ 9634 h 10000"/>
                <a:gd name="connsiteX149" fmla="*/ 5879 w 10126"/>
                <a:gd name="connsiteY149" fmla="*/ 9634 h 10000"/>
                <a:gd name="connsiteX150" fmla="*/ 5775 w 10126"/>
                <a:gd name="connsiteY150" fmla="*/ 9634 h 10000"/>
                <a:gd name="connsiteX151" fmla="*/ 5712 w 10126"/>
                <a:gd name="connsiteY151" fmla="*/ 9634 h 10000"/>
                <a:gd name="connsiteX152" fmla="*/ 5544 w 10126"/>
                <a:gd name="connsiteY152" fmla="*/ 9512 h 10000"/>
                <a:gd name="connsiteX153" fmla="*/ 5503 w 10126"/>
                <a:gd name="connsiteY153" fmla="*/ 9512 h 10000"/>
                <a:gd name="connsiteX154" fmla="*/ 5377 w 10126"/>
                <a:gd name="connsiteY154" fmla="*/ 9472 h 10000"/>
                <a:gd name="connsiteX155" fmla="*/ 5293 w 10126"/>
                <a:gd name="connsiteY155" fmla="*/ 9431 h 10000"/>
                <a:gd name="connsiteX156" fmla="*/ 5168 w 10126"/>
                <a:gd name="connsiteY156" fmla="*/ 9512 h 10000"/>
                <a:gd name="connsiteX157" fmla="*/ 5105 w 10126"/>
                <a:gd name="connsiteY157" fmla="*/ 9512 h 10000"/>
                <a:gd name="connsiteX158" fmla="*/ 5000 w 10126"/>
                <a:gd name="connsiteY158" fmla="*/ 9390 h 10000"/>
                <a:gd name="connsiteX159" fmla="*/ 4875 w 10126"/>
                <a:gd name="connsiteY159" fmla="*/ 9350 h 10000"/>
                <a:gd name="connsiteX160" fmla="*/ 4561 w 10126"/>
                <a:gd name="connsiteY160" fmla="*/ 9350 h 10000"/>
                <a:gd name="connsiteX161" fmla="*/ 4498 w 10126"/>
                <a:gd name="connsiteY161" fmla="*/ 9268 h 10000"/>
                <a:gd name="connsiteX162" fmla="*/ 4436 w 10126"/>
                <a:gd name="connsiteY162" fmla="*/ 9228 h 10000"/>
                <a:gd name="connsiteX163" fmla="*/ 4373 w 10126"/>
                <a:gd name="connsiteY163" fmla="*/ 9187 h 10000"/>
                <a:gd name="connsiteX164" fmla="*/ 4289 w 10126"/>
                <a:gd name="connsiteY164" fmla="*/ 9187 h 10000"/>
                <a:gd name="connsiteX165" fmla="*/ 4205 w 10126"/>
                <a:gd name="connsiteY165" fmla="*/ 9228 h 10000"/>
                <a:gd name="connsiteX166" fmla="*/ 4122 w 10126"/>
                <a:gd name="connsiteY166" fmla="*/ 9146 h 10000"/>
                <a:gd name="connsiteX167" fmla="*/ 4059 w 10126"/>
                <a:gd name="connsiteY167" fmla="*/ 9106 h 10000"/>
                <a:gd name="connsiteX168" fmla="*/ 3996 w 10126"/>
                <a:gd name="connsiteY168" fmla="*/ 9065 h 10000"/>
                <a:gd name="connsiteX169" fmla="*/ 3934 w 10126"/>
                <a:gd name="connsiteY169" fmla="*/ 8902 h 10000"/>
                <a:gd name="connsiteX170" fmla="*/ 3892 w 10126"/>
                <a:gd name="connsiteY170" fmla="*/ 8780 h 10000"/>
                <a:gd name="connsiteX171" fmla="*/ 3808 w 10126"/>
                <a:gd name="connsiteY171" fmla="*/ 8740 h 10000"/>
                <a:gd name="connsiteX172" fmla="*/ 3787 w 10126"/>
                <a:gd name="connsiteY172" fmla="*/ 8659 h 10000"/>
                <a:gd name="connsiteX173" fmla="*/ 3808 w 10126"/>
                <a:gd name="connsiteY173" fmla="*/ 8496 h 10000"/>
                <a:gd name="connsiteX174" fmla="*/ 3766 w 10126"/>
                <a:gd name="connsiteY174" fmla="*/ 8415 h 10000"/>
                <a:gd name="connsiteX175" fmla="*/ 3703 w 10126"/>
                <a:gd name="connsiteY175" fmla="*/ 8415 h 10000"/>
                <a:gd name="connsiteX176" fmla="*/ 3662 w 10126"/>
                <a:gd name="connsiteY176" fmla="*/ 8333 h 10000"/>
                <a:gd name="connsiteX177" fmla="*/ 3599 w 10126"/>
                <a:gd name="connsiteY177" fmla="*/ 8293 h 10000"/>
                <a:gd name="connsiteX178" fmla="*/ 3599 w 10126"/>
                <a:gd name="connsiteY178" fmla="*/ 8171 h 10000"/>
                <a:gd name="connsiteX179" fmla="*/ 3599 w 10126"/>
                <a:gd name="connsiteY179" fmla="*/ 8049 h 10000"/>
                <a:gd name="connsiteX180" fmla="*/ 3578 w 10126"/>
                <a:gd name="connsiteY180" fmla="*/ 7886 h 10000"/>
                <a:gd name="connsiteX181" fmla="*/ 3662 w 10126"/>
                <a:gd name="connsiteY181" fmla="*/ 7805 h 10000"/>
                <a:gd name="connsiteX182" fmla="*/ 3682 w 10126"/>
                <a:gd name="connsiteY182" fmla="*/ 7642 h 10000"/>
                <a:gd name="connsiteX183" fmla="*/ 3578 w 10126"/>
                <a:gd name="connsiteY183" fmla="*/ 7642 h 10000"/>
                <a:gd name="connsiteX184" fmla="*/ 3452 w 10126"/>
                <a:gd name="connsiteY184" fmla="*/ 7805 h 10000"/>
                <a:gd name="connsiteX185" fmla="*/ 3348 w 10126"/>
                <a:gd name="connsiteY185" fmla="*/ 7805 h 10000"/>
                <a:gd name="connsiteX186" fmla="*/ 3285 w 10126"/>
                <a:gd name="connsiteY186" fmla="*/ 7846 h 10000"/>
                <a:gd name="connsiteX187" fmla="*/ 3243 w 10126"/>
                <a:gd name="connsiteY187" fmla="*/ 7927 h 10000"/>
                <a:gd name="connsiteX188" fmla="*/ 3139 w 10126"/>
                <a:gd name="connsiteY188" fmla="*/ 8008 h 10000"/>
                <a:gd name="connsiteX189" fmla="*/ 3076 w 10126"/>
                <a:gd name="connsiteY189" fmla="*/ 8089 h 10000"/>
                <a:gd name="connsiteX190" fmla="*/ 3013 w 10126"/>
                <a:gd name="connsiteY190" fmla="*/ 8008 h 10000"/>
                <a:gd name="connsiteX191" fmla="*/ 2971 w 10126"/>
                <a:gd name="connsiteY191" fmla="*/ 8008 h 10000"/>
                <a:gd name="connsiteX192" fmla="*/ 2888 w 10126"/>
                <a:gd name="connsiteY192" fmla="*/ 7967 h 10000"/>
                <a:gd name="connsiteX193" fmla="*/ 2825 w 10126"/>
                <a:gd name="connsiteY193" fmla="*/ 8008 h 10000"/>
                <a:gd name="connsiteX194" fmla="*/ 2783 w 10126"/>
                <a:gd name="connsiteY194" fmla="*/ 8008 h 10000"/>
                <a:gd name="connsiteX195" fmla="*/ 2720 w 10126"/>
                <a:gd name="connsiteY195" fmla="*/ 7967 h 10000"/>
                <a:gd name="connsiteX196" fmla="*/ 2657 w 10126"/>
                <a:gd name="connsiteY196" fmla="*/ 8089 h 10000"/>
                <a:gd name="connsiteX197" fmla="*/ 2574 w 10126"/>
                <a:gd name="connsiteY197" fmla="*/ 8049 h 10000"/>
                <a:gd name="connsiteX198" fmla="*/ 2532 w 10126"/>
                <a:gd name="connsiteY198" fmla="*/ 8049 h 10000"/>
                <a:gd name="connsiteX199" fmla="*/ 2427 w 10126"/>
                <a:gd name="connsiteY199" fmla="*/ 8089 h 10000"/>
                <a:gd name="connsiteX200" fmla="*/ 2344 w 10126"/>
                <a:gd name="connsiteY200" fmla="*/ 8130 h 10000"/>
                <a:gd name="connsiteX201" fmla="*/ 2218 w 10126"/>
                <a:gd name="connsiteY201" fmla="*/ 8333 h 10000"/>
                <a:gd name="connsiteX202" fmla="*/ 2197 w 10126"/>
                <a:gd name="connsiteY202" fmla="*/ 8496 h 10000"/>
                <a:gd name="connsiteX203" fmla="*/ 2155 w 10126"/>
                <a:gd name="connsiteY203" fmla="*/ 8618 h 10000"/>
                <a:gd name="connsiteX204" fmla="*/ 2134 w 10126"/>
                <a:gd name="connsiteY204" fmla="*/ 8740 h 10000"/>
                <a:gd name="connsiteX205" fmla="*/ 2093 w 10126"/>
                <a:gd name="connsiteY205" fmla="*/ 8862 h 10000"/>
                <a:gd name="connsiteX206" fmla="*/ 2009 w 10126"/>
                <a:gd name="connsiteY206" fmla="*/ 8862 h 10000"/>
                <a:gd name="connsiteX207" fmla="*/ 1946 w 10126"/>
                <a:gd name="connsiteY207" fmla="*/ 8902 h 10000"/>
                <a:gd name="connsiteX208" fmla="*/ 1883 w 10126"/>
                <a:gd name="connsiteY208" fmla="*/ 8821 h 10000"/>
                <a:gd name="connsiteX209" fmla="*/ 1841 w 10126"/>
                <a:gd name="connsiteY209" fmla="*/ 8862 h 10000"/>
                <a:gd name="connsiteX210" fmla="*/ 1779 w 10126"/>
                <a:gd name="connsiteY210" fmla="*/ 8821 h 10000"/>
                <a:gd name="connsiteX211" fmla="*/ 1737 w 10126"/>
                <a:gd name="connsiteY211" fmla="*/ 8821 h 10000"/>
                <a:gd name="connsiteX212" fmla="*/ 1758 w 10126"/>
                <a:gd name="connsiteY212" fmla="*/ 8699 h 10000"/>
                <a:gd name="connsiteX213" fmla="*/ 1653 w 10126"/>
                <a:gd name="connsiteY213" fmla="*/ 8537 h 10000"/>
                <a:gd name="connsiteX214" fmla="*/ 1465 w 10126"/>
                <a:gd name="connsiteY214" fmla="*/ 8618 h 10000"/>
                <a:gd name="connsiteX215" fmla="*/ 1423 w 10126"/>
                <a:gd name="connsiteY215" fmla="*/ 8577 h 10000"/>
                <a:gd name="connsiteX216" fmla="*/ 1360 w 10126"/>
                <a:gd name="connsiteY216" fmla="*/ 8455 h 10000"/>
                <a:gd name="connsiteX217" fmla="*/ 1381 w 10126"/>
                <a:gd name="connsiteY217" fmla="*/ 8333 h 10000"/>
                <a:gd name="connsiteX218" fmla="*/ 1318 w 10126"/>
                <a:gd name="connsiteY218" fmla="*/ 8171 h 10000"/>
                <a:gd name="connsiteX219" fmla="*/ 1277 w 10126"/>
                <a:gd name="connsiteY219" fmla="*/ 8049 h 10000"/>
                <a:gd name="connsiteX220" fmla="*/ 1214 w 10126"/>
                <a:gd name="connsiteY220" fmla="*/ 8089 h 10000"/>
                <a:gd name="connsiteX221" fmla="*/ 1172 w 10126"/>
                <a:gd name="connsiteY221" fmla="*/ 8252 h 10000"/>
                <a:gd name="connsiteX222" fmla="*/ 1109 w 10126"/>
                <a:gd name="connsiteY222" fmla="*/ 8293 h 10000"/>
                <a:gd name="connsiteX223" fmla="*/ 1047 w 10126"/>
                <a:gd name="connsiteY223" fmla="*/ 8415 h 10000"/>
                <a:gd name="connsiteX224" fmla="*/ 984 w 10126"/>
                <a:gd name="connsiteY224" fmla="*/ 8577 h 10000"/>
                <a:gd name="connsiteX225" fmla="*/ 921 w 10126"/>
                <a:gd name="connsiteY225" fmla="*/ 8577 h 10000"/>
                <a:gd name="connsiteX226" fmla="*/ 858 w 10126"/>
                <a:gd name="connsiteY226" fmla="*/ 8537 h 10000"/>
                <a:gd name="connsiteX227" fmla="*/ 754 w 10126"/>
                <a:gd name="connsiteY227" fmla="*/ 8415 h 10000"/>
                <a:gd name="connsiteX228" fmla="*/ 628 w 10126"/>
                <a:gd name="connsiteY228" fmla="*/ 8333 h 10000"/>
                <a:gd name="connsiteX229" fmla="*/ 565 w 10126"/>
                <a:gd name="connsiteY229" fmla="*/ 8252 h 10000"/>
                <a:gd name="connsiteX230" fmla="*/ 565 w 10126"/>
                <a:gd name="connsiteY230" fmla="*/ 8089 h 10000"/>
                <a:gd name="connsiteX231" fmla="*/ 565 w 10126"/>
                <a:gd name="connsiteY231" fmla="*/ 7967 h 10000"/>
                <a:gd name="connsiteX232" fmla="*/ 314 w 10126"/>
                <a:gd name="connsiteY232" fmla="*/ 7805 h 10000"/>
                <a:gd name="connsiteX233" fmla="*/ 231 w 10126"/>
                <a:gd name="connsiteY233" fmla="*/ 7805 h 10000"/>
                <a:gd name="connsiteX234" fmla="*/ 147 w 10126"/>
                <a:gd name="connsiteY234" fmla="*/ 7804 h 10000"/>
                <a:gd name="connsiteX235" fmla="*/ 63 w 10126"/>
                <a:gd name="connsiteY235" fmla="*/ 7600 h 10000"/>
                <a:gd name="connsiteX236" fmla="*/ 0 w 10126"/>
                <a:gd name="connsiteY236" fmla="*/ 7398 h 10000"/>
                <a:gd name="connsiteX237" fmla="*/ 147 w 10126"/>
                <a:gd name="connsiteY237" fmla="*/ 7195 h 10000"/>
                <a:gd name="connsiteX238" fmla="*/ 126 w 10126"/>
                <a:gd name="connsiteY238" fmla="*/ 7073 h 10000"/>
                <a:gd name="connsiteX239" fmla="*/ 168 w 10126"/>
                <a:gd name="connsiteY239" fmla="*/ 6911 h 10000"/>
                <a:gd name="connsiteX240" fmla="*/ 210 w 10126"/>
                <a:gd name="connsiteY240" fmla="*/ 6707 h 10000"/>
                <a:gd name="connsiteX241" fmla="*/ 272 w 10126"/>
                <a:gd name="connsiteY241" fmla="*/ 6504 h 10000"/>
                <a:gd name="connsiteX242" fmla="*/ 293 w 10126"/>
                <a:gd name="connsiteY242" fmla="*/ 6301 h 10000"/>
                <a:gd name="connsiteX243" fmla="*/ 210 w 10126"/>
                <a:gd name="connsiteY243" fmla="*/ 6179 h 10000"/>
                <a:gd name="connsiteX244" fmla="*/ 168 w 10126"/>
                <a:gd name="connsiteY244" fmla="*/ 6057 h 10000"/>
                <a:gd name="connsiteX245" fmla="*/ 252 w 10126"/>
                <a:gd name="connsiteY245" fmla="*/ 6016 h 10000"/>
                <a:gd name="connsiteX246" fmla="*/ 335 w 10126"/>
                <a:gd name="connsiteY246" fmla="*/ 6016 h 10000"/>
                <a:gd name="connsiteX247" fmla="*/ 377 w 10126"/>
                <a:gd name="connsiteY247" fmla="*/ 5935 h 10000"/>
                <a:gd name="connsiteX248" fmla="*/ 419 w 10126"/>
                <a:gd name="connsiteY248" fmla="*/ 5813 h 10000"/>
                <a:gd name="connsiteX249" fmla="*/ 482 w 10126"/>
                <a:gd name="connsiteY249" fmla="*/ 5813 h 10000"/>
                <a:gd name="connsiteX250" fmla="*/ 503 w 10126"/>
                <a:gd name="connsiteY250" fmla="*/ 5935 h 10000"/>
                <a:gd name="connsiteX251" fmla="*/ 565 w 10126"/>
                <a:gd name="connsiteY251" fmla="*/ 5976 h 10000"/>
                <a:gd name="connsiteX252" fmla="*/ 649 w 10126"/>
                <a:gd name="connsiteY252" fmla="*/ 5976 h 10000"/>
                <a:gd name="connsiteX253" fmla="*/ 691 w 10126"/>
                <a:gd name="connsiteY253" fmla="*/ 6057 h 10000"/>
                <a:gd name="connsiteX254" fmla="*/ 733 w 10126"/>
                <a:gd name="connsiteY254" fmla="*/ 6179 h 10000"/>
                <a:gd name="connsiteX255" fmla="*/ 775 w 10126"/>
                <a:gd name="connsiteY255" fmla="*/ 6138 h 10000"/>
                <a:gd name="connsiteX256" fmla="*/ 858 w 10126"/>
                <a:gd name="connsiteY256" fmla="*/ 6341 h 10000"/>
                <a:gd name="connsiteX257" fmla="*/ 837 w 10126"/>
                <a:gd name="connsiteY257" fmla="*/ 6463 h 10000"/>
                <a:gd name="connsiteX258" fmla="*/ 858 w 10126"/>
                <a:gd name="connsiteY258" fmla="*/ 6585 h 10000"/>
                <a:gd name="connsiteX259" fmla="*/ 921 w 10126"/>
                <a:gd name="connsiteY259" fmla="*/ 6626 h 10000"/>
                <a:gd name="connsiteX260" fmla="*/ 963 w 10126"/>
                <a:gd name="connsiteY260" fmla="*/ 6585 h 10000"/>
                <a:gd name="connsiteX261" fmla="*/ 1026 w 10126"/>
                <a:gd name="connsiteY261" fmla="*/ 6545 h 10000"/>
                <a:gd name="connsiteX262" fmla="*/ 1026 w 10126"/>
                <a:gd name="connsiteY262" fmla="*/ 6789 h 10000"/>
                <a:gd name="connsiteX263" fmla="*/ 984 w 10126"/>
                <a:gd name="connsiteY263" fmla="*/ 6992 h 10000"/>
                <a:gd name="connsiteX264" fmla="*/ 1088 w 10126"/>
                <a:gd name="connsiteY264" fmla="*/ 6992 h 10000"/>
                <a:gd name="connsiteX265" fmla="*/ 1172 w 10126"/>
                <a:gd name="connsiteY265" fmla="*/ 6911 h 10000"/>
                <a:gd name="connsiteX266" fmla="*/ 1214 w 10126"/>
                <a:gd name="connsiteY266" fmla="*/ 6748 h 10000"/>
                <a:gd name="connsiteX267" fmla="*/ 1256 w 10126"/>
                <a:gd name="connsiteY267" fmla="*/ 6626 h 10000"/>
                <a:gd name="connsiteX268" fmla="*/ 1298 w 10126"/>
                <a:gd name="connsiteY268" fmla="*/ 6585 h 10000"/>
                <a:gd name="connsiteX269" fmla="*/ 1360 w 10126"/>
                <a:gd name="connsiteY269" fmla="*/ 6423 h 10000"/>
                <a:gd name="connsiteX270" fmla="*/ 1360 w 10126"/>
                <a:gd name="connsiteY270" fmla="*/ 6260 h 10000"/>
                <a:gd name="connsiteX271" fmla="*/ 1318 w 10126"/>
                <a:gd name="connsiteY271" fmla="*/ 6138 h 10000"/>
                <a:gd name="connsiteX272" fmla="*/ 1339 w 10126"/>
                <a:gd name="connsiteY272" fmla="*/ 5976 h 10000"/>
                <a:gd name="connsiteX273" fmla="*/ 1318 w 10126"/>
                <a:gd name="connsiteY273" fmla="*/ 5854 h 10000"/>
                <a:gd name="connsiteX274" fmla="*/ 1360 w 10126"/>
                <a:gd name="connsiteY274" fmla="*/ 5813 h 10000"/>
                <a:gd name="connsiteX275" fmla="*/ 1360 w 10126"/>
                <a:gd name="connsiteY275" fmla="*/ 5935 h 10000"/>
                <a:gd name="connsiteX276" fmla="*/ 1465 w 10126"/>
                <a:gd name="connsiteY276" fmla="*/ 6016 h 10000"/>
                <a:gd name="connsiteX277" fmla="*/ 1507 w 10126"/>
                <a:gd name="connsiteY277" fmla="*/ 5894 h 10000"/>
                <a:gd name="connsiteX278" fmla="*/ 1570 w 10126"/>
                <a:gd name="connsiteY278" fmla="*/ 5894 h 10000"/>
                <a:gd name="connsiteX279" fmla="*/ 1737 w 10126"/>
                <a:gd name="connsiteY279" fmla="*/ 6016 h 10000"/>
                <a:gd name="connsiteX280" fmla="*/ 1800 w 10126"/>
                <a:gd name="connsiteY280" fmla="*/ 6057 h 10000"/>
                <a:gd name="connsiteX281" fmla="*/ 1862 w 10126"/>
                <a:gd name="connsiteY281" fmla="*/ 5976 h 10000"/>
                <a:gd name="connsiteX282" fmla="*/ 1904 w 10126"/>
                <a:gd name="connsiteY282" fmla="*/ 6016 h 10000"/>
                <a:gd name="connsiteX283" fmla="*/ 1883 w 10126"/>
                <a:gd name="connsiteY283" fmla="*/ 6138 h 10000"/>
                <a:gd name="connsiteX284" fmla="*/ 1967 w 10126"/>
                <a:gd name="connsiteY284" fmla="*/ 6220 h 10000"/>
                <a:gd name="connsiteX285" fmla="*/ 2030 w 10126"/>
                <a:gd name="connsiteY285" fmla="*/ 6341 h 10000"/>
                <a:gd name="connsiteX286" fmla="*/ 2030 w 10126"/>
                <a:gd name="connsiteY286" fmla="*/ 6504 h 10000"/>
                <a:gd name="connsiteX287" fmla="*/ 2197 w 10126"/>
                <a:gd name="connsiteY287" fmla="*/ 6504 h 10000"/>
                <a:gd name="connsiteX288" fmla="*/ 2302 w 10126"/>
                <a:gd name="connsiteY288" fmla="*/ 6382 h 10000"/>
                <a:gd name="connsiteX289" fmla="*/ 2385 w 10126"/>
                <a:gd name="connsiteY289" fmla="*/ 6382 h 10000"/>
                <a:gd name="connsiteX290" fmla="*/ 2406 w 10126"/>
                <a:gd name="connsiteY290" fmla="*/ 6463 h 10000"/>
                <a:gd name="connsiteX291" fmla="*/ 2448 w 10126"/>
                <a:gd name="connsiteY291" fmla="*/ 6423 h 10000"/>
                <a:gd name="connsiteX292" fmla="*/ 2532 w 10126"/>
                <a:gd name="connsiteY292" fmla="*/ 6301 h 10000"/>
                <a:gd name="connsiteX293" fmla="*/ 2574 w 10126"/>
                <a:gd name="connsiteY293" fmla="*/ 6301 h 10000"/>
                <a:gd name="connsiteX294" fmla="*/ 2574 w 10126"/>
                <a:gd name="connsiteY294" fmla="*/ 6179 h 10000"/>
                <a:gd name="connsiteX295" fmla="*/ 2636 w 10126"/>
                <a:gd name="connsiteY295" fmla="*/ 6057 h 10000"/>
                <a:gd name="connsiteX296" fmla="*/ 2699 w 10126"/>
                <a:gd name="connsiteY296" fmla="*/ 6057 h 10000"/>
                <a:gd name="connsiteX297" fmla="*/ 2783 w 10126"/>
                <a:gd name="connsiteY297" fmla="*/ 6057 h 10000"/>
                <a:gd name="connsiteX298" fmla="*/ 2846 w 10126"/>
                <a:gd name="connsiteY298" fmla="*/ 5976 h 10000"/>
                <a:gd name="connsiteX299" fmla="*/ 2846 w 10126"/>
                <a:gd name="connsiteY299" fmla="*/ 5854 h 10000"/>
                <a:gd name="connsiteX300" fmla="*/ 2908 w 10126"/>
                <a:gd name="connsiteY300" fmla="*/ 5732 h 10000"/>
                <a:gd name="connsiteX301" fmla="*/ 2992 w 10126"/>
                <a:gd name="connsiteY301" fmla="*/ 5772 h 10000"/>
                <a:gd name="connsiteX302" fmla="*/ 3097 w 10126"/>
                <a:gd name="connsiteY302" fmla="*/ 5732 h 10000"/>
                <a:gd name="connsiteX303" fmla="*/ 3159 w 10126"/>
                <a:gd name="connsiteY303" fmla="*/ 5772 h 10000"/>
                <a:gd name="connsiteX304" fmla="*/ 3306 w 10126"/>
                <a:gd name="connsiteY304" fmla="*/ 5650 h 10000"/>
                <a:gd name="connsiteX305" fmla="*/ 3620 w 10126"/>
                <a:gd name="connsiteY305" fmla="*/ 5650 h 10000"/>
                <a:gd name="connsiteX306" fmla="*/ 3662 w 10126"/>
                <a:gd name="connsiteY306" fmla="*/ 5528 h 10000"/>
                <a:gd name="connsiteX307" fmla="*/ 3662 w 10126"/>
                <a:gd name="connsiteY307" fmla="*/ 5407 h 10000"/>
                <a:gd name="connsiteX308" fmla="*/ 3620 w 10126"/>
                <a:gd name="connsiteY308" fmla="*/ 5244 h 10000"/>
                <a:gd name="connsiteX309" fmla="*/ 3682 w 10126"/>
                <a:gd name="connsiteY309" fmla="*/ 5203 h 10000"/>
                <a:gd name="connsiteX310" fmla="*/ 3682 w 10126"/>
                <a:gd name="connsiteY310" fmla="*/ 5325 h 10000"/>
                <a:gd name="connsiteX311" fmla="*/ 3745 w 10126"/>
                <a:gd name="connsiteY311" fmla="*/ 5325 h 10000"/>
                <a:gd name="connsiteX312" fmla="*/ 3871 w 10126"/>
                <a:gd name="connsiteY312" fmla="*/ 5325 h 10000"/>
                <a:gd name="connsiteX313" fmla="*/ 3934 w 10126"/>
                <a:gd name="connsiteY313" fmla="*/ 5285 h 10000"/>
                <a:gd name="connsiteX314" fmla="*/ 3996 w 10126"/>
                <a:gd name="connsiteY314" fmla="*/ 5407 h 10000"/>
                <a:gd name="connsiteX315" fmla="*/ 4038 w 10126"/>
                <a:gd name="connsiteY315" fmla="*/ 5528 h 10000"/>
                <a:gd name="connsiteX316" fmla="*/ 4122 w 10126"/>
                <a:gd name="connsiteY316" fmla="*/ 5528 h 10000"/>
                <a:gd name="connsiteX317" fmla="*/ 4185 w 10126"/>
                <a:gd name="connsiteY317" fmla="*/ 5407 h 10000"/>
                <a:gd name="connsiteX318" fmla="*/ 4268 w 10126"/>
                <a:gd name="connsiteY318" fmla="*/ 5325 h 10000"/>
                <a:gd name="connsiteX319" fmla="*/ 4310 w 10126"/>
                <a:gd name="connsiteY319" fmla="*/ 5325 h 10000"/>
                <a:gd name="connsiteX320" fmla="*/ 4394 w 10126"/>
                <a:gd name="connsiteY320" fmla="*/ 5366 h 10000"/>
                <a:gd name="connsiteX321" fmla="*/ 4415 w 10126"/>
                <a:gd name="connsiteY321" fmla="*/ 5488 h 10000"/>
                <a:gd name="connsiteX322" fmla="*/ 4477 w 10126"/>
                <a:gd name="connsiteY322" fmla="*/ 5569 h 10000"/>
                <a:gd name="connsiteX323" fmla="*/ 4436 w 10126"/>
                <a:gd name="connsiteY323" fmla="*/ 5691 h 10000"/>
                <a:gd name="connsiteX324" fmla="*/ 4477 w 10126"/>
                <a:gd name="connsiteY324" fmla="*/ 5813 h 10000"/>
                <a:gd name="connsiteX325" fmla="*/ 4582 w 10126"/>
                <a:gd name="connsiteY325" fmla="*/ 5976 h 10000"/>
                <a:gd name="connsiteX326" fmla="*/ 4645 w 10126"/>
                <a:gd name="connsiteY326" fmla="*/ 6057 h 10000"/>
                <a:gd name="connsiteX327" fmla="*/ 4687 w 10126"/>
                <a:gd name="connsiteY327" fmla="*/ 6057 h 10000"/>
                <a:gd name="connsiteX328" fmla="*/ 4749 w 10126"/>
                <a:gd name="connsiteY328" fmla="*/ 6057 h 10000"/>
                <a:gd name="connsiteX329" fmla="*/ 4770 w 10126"/>
                <a:gd name="connsiteY329" fmla="*/ 5935 h 10000"/>
                <a:gd name="connsiteX330" fmla="*/ 4770 w 10126"/>
                <a:gd name="connsiteY330" fmla="*/ 5813 h 10000"/>
                <a:gd name="connsiteX331" fmla="*/ 4770 w 10126"/>
                <a:gd name="connsiteY331" fmla="*/ 5650 h 10000"/>
                <a:gd name="connsiteX332" fmla="*/ 4812 w 10126"/>
                <a:gd name="connsiteY332" fmla="*/ 5488 h 10000"/>
                <a:gd name="connsiteX333" fmla="*/ 4812 w 10126"/>
                <a:gd name="connsiteY333" fmla="*/ 5366 h 10000"/>
                <a:gd name="connsiteX334" fmla="*/ 4770 w 10126"/>
                <a:gd name="connsiteY334" fmla="*/ 5203 h 10000"/>
                <a:gd name="connsiteX335" fmla="*/ 4708 w 10126"/>
                <a:gd name="connsiteY335" fmla="*/ 5163 h 10000"/>
                <a:gd name="connsiteX336" fmla="*/ 4666 w 10126"/>
                <a:gd name="connsiteY336" fmla="*/ 5203 h 10000"/>
                <a:gd name="connsiteX337" fmla="*/ 4603 w 10126"/>
                <a:gd name="connsiteY337" fmla="*/ 5163 h 10000"/>
                <a:gd name="connsiteX338" fmla="*/ 4603 w 10126"/>
                <a:gd name="connsiteY338" fmla="*/ 5081 h 10000"/>
                <a:gd name="connsiteX339" fmla="*/ 4603 w 10126"/>
                <a:gd name="connsiteY339" fmla="*/ 4919 h 10000"/>
                <a:gd name="connsiteX340" fmla="*/ 4645 w 10126"/>
                <a:gd name="connsiteY340" fmla="*/ 4593 h 10000"/>
                <a:gd name="connsiteX341" fmla="*/ 4603 w 10126"/>
                <a:gd name="connsiteY341" fmla="*/ 4390 h 10000"/>
                <a:gd name="connsiteX342" fmla="*/ 4540 w 10126"/>
                <a:gd name="connsiteY342" fmla="*/ 4268 h 10000"/>
                <a:gd name="connsiteX343" fmla="*/ 4498 w 10126"/>
                <a:gd name="connsiteY343" fmla="*/ 4187 h 10000"/>
                <a:gd name="connsiteX344" fmla="*/ 4477 w 10126"/>
                <a:gd name="connsiteY344" fmla="*/ 4024 h 10000"/>
                <a:gd name="connsiteX345" fmla="*/ 4373 w 10126"/>
                <a:gd name="connsiteY345" fmla="*/ 3821 h 10000"/>
                <a:gd name="connsiteX346" fmla="*/ 4352 w 10126"/>
                <a:gd name="connsiteY346" fmla="*/ 3699 h 10000"/>
                <a:gd name="connsiteX347" fmla="*/ 4394 w 10126"/>
                <a:gd name="connsiteY347" fmla="*/ 3537 h 10000"/>
                <a:gd name="connsiteX348" fmla="*/ 4457 w 10126"/>
                <a:gd name="connsiteY348" fmla="*/ 3455 h 10000"/>
                <a:gd name="connsiteX349" fmla="*/ 4477 w 10126"/>
                <a:gd name="connsiteY349" fmla="*/ 3374 h 10000"/>
                <a:gd name="connsiteX350" fmla="*/ 4582 w 10126"/>
                <a:gd name="connsiteY350" fmla="*/ 3293 h 10000"/>
                <a:gd name="connsiteX351" fmla="*/ 4645 w 10126"/>
                <a:gd name="connsiteY351" fmla="*/ 3171 h 10000"/>
                <a:gd name="connsiteX352" fmla="*/ 4687 w 10126"/>
                <a:gd name="connsiteY352" fmla="*/ 3089 h 10000"/>
                <a:gd name="connsiteX353" fmla="*/ 4833 w 10126"/>
                <a:gd name="connsiteY353" fmla="*/ 2967 h 10000"/>
                <a:gd name="connsiteX354" fmla="*/ 5021 w 10126"/>
                <a:gd name="connsiteY354" fmla="*/ 2886 h 10000"/>
                <a:gd name="connsiteX355" fmla="*/ 5189 w 10126"/>
                <a:gd name="connsiteY355" fmla="*/ 2602 h 10000"/>
                <a:gd name="connsiteX356" fmla="*/ 5210 w 10126"/>
                <a:gd name="connsiteY356" fmla="*/ 2480 h 10000"/>
                <a:gd name="connsiteX357" fmla="*/ 5210 w 10126"/>
                <a:gd name="connsiteY357" fmla="*/ 2236 h 10000"/>
                <a:gd name="connsiteX358" fmla="*/ 5231 w 10126"/>
                <a:gd name="connsiteY358" fmla="*/ 2114 h 10000"/>
                <a:gd name="connsiteX359" fmla="*/ 5231 w 10126"/>
                <a:gd name="connsiteY359" fmla="*/ 1992 h 10000"/>
                <a:gd name="connsiteX360" fmla="*/ 5210 w 10126"/>
                <a:gd name="connsiteY360" fmla="*/ 1870 h 10000"/>
                <a:gd name="connsiteX361" fmla="*/ 5272 w 10126"/>
                <a:gd name="connsiteY361" fmla="*/ 1829 h 10000"/>
                <a:gd name="connsiteX362" fmla="*/ 5461 w 10126"/>
                <a:gd name="connsiteY362" fmla="*/ 1870 h 10000"/>
                <a:gd name="connsiteX363" fmla="*/ 5523 w 10126"/>
                <a:gd name="connsiteY363" fmla="*/ 1992 h 10000"/>
                <a:gd name="connsiteX364" fmla="*/ 5586 w 10126"/>
                <a:gd name="connsiteY364" fmla="*/ 2033 h 10000"/>
                <a:gd name="connsiteX365" fmla="*/ 5607 w 10126"/>
                <a:gd name="connsiteY365" fmla="*/ 1870 h 10000"/>
                <a:gd name="connsiteX366" fmla="*/ 5649 w 10126"/>
                <a:gd name="connsiteY366" fmla="*/ 1829 h 10000"/>
                <a:gd name="connsiteX367" fmla="*/ 5691 w 10126"/>
                <a:gd name="connsiteY367" fmla="*/ 1707 h 10000"/>
                <a:gd name="connsiteX368" fmla="*/ 5691 w 10126"/>
                <a:gd name="connsiteY368" fmla="*/ 1545 h 10000"/>
                <a:gd name="connsiteX369" fmla="*/ 5670 w 10126"/>
                <a:gd name="connsiteY369" fmla="*/ 1423 h 10000"/>
                <a:gd name="connsiteX370" fmla="*/ 5670 w 10126"/>
                <a:gd name="connsiteY370" fmla="*/ 1301 h 10000"/>
                <a:gd name="connsiteX371" fmla="*/ 5691 w 10126"/>
                <a:gd name="connsiteY371" fmla="*/ 1057 h 10000"/>
                <a:gd name="connsiteX372" fmla="*/ 5733 w 10126"/>
                <a:gd name="connsiteY372" fmla="*/ 1098 h 10000"/>
                <a:gd name="connsiteX373" fmla="*/ 5795 w 10126"/>
                <a:gd name="connsiteY373" fmla="*/ 1138 h 10000"/>
                <a:gd name="connsiteX374" fmla="*/ 5900 w 10126"/>
                <a:gd name="connsiteY374" fmla="*/ 1301 h 10000"/>
                <a:gd name="connsiteX375" fmla="*/ 5942 w 10126"/>
                <a:gd name="connsiteY375" fmla="*/ 1423 h 10000"/>
                <a:gd name="connsiteX376" fmla="*/ 5963 w 10126"/>
                <a:gd name="connsiteY376" fmla="*/ 1545 h 10000"/>
                <a:gd name="connsiteX377" fmla="*/ 5984 w 10126"/>
                <a:gd name="connsiteY377" fmla="*/ 1667 h 10000"/>
                <a:gd name="connsiteX378" fmla="*/ 6047 w 10126"/>
                <a:gd name="connsiteY378" fmla="*/ 1707 h 10000"/>
                <a:gd name="connsiteX379" fmla="*/ 6214 w 10126"/>
                <a:gd name="connsiteY379" fmla="*/ 1748 h 10000"/>
                <a:gd name="connsiteX380" fmla="*/ 6339 w 10126"/>
                <a:gd name="connsiteY380" fmla="*/ 1789 h 10000"/>
                <a:gd name="connsiteX381" fmla="*/ 6402 w 10126"/>
                <a:gd name="connsiteY381" fmla="*/ 1748 h 10000"/>
                <a:gd name="connsiteX382" fmla="*/ 6465 w 10126"/>
                <a:gd name="connsiteY382" fmla="*/ 1707 h 10000"/>
                <a:gd name="connsiteX383" fmla="*/ 6507 w 10126"/>
                <a:gd name="connsiteY383" fmla="*/ 1504 h 10000"/>
                <a:gd name="connsiteX384" fmla="*/ 6549 w 10126"/>
                <a:gd name="connsiteY384" fmla="*/ 1545 h 10000"/>
                <a:gd name="connsiteX385" fmla="*/ 6611 w 10126"/>
                <a:gd name="connsiteY385" fmla="*/ 1585 h 10000"/>
                <a:gd name="connsiteX386" fmla="*/ 6674 w 10126"/>
                <a:gd name="connsiteY386" fmla="*/ 1545 h 10000"/>
                <a:gd name="connsiteX387" fmla="*/ 6737 w 10126"/>
                <a:gd name="connsiteY387" fmla="*/ 1585 h 10000"/>
                <a:gd name="connsiteX388" fmla="*/ 6800 w 10126"/>
                <a:gd name="connsiteY388" fmla="*/ 1667 h 10000"/>
                <a:gd name="connsiteX389" fmla="*/ 6841 w 10126"/>
                <a:gd name="connsiteY389" fmla="*/ 1545 h 10000"/>
                <a:gd name="connsiteX390" fmla="*/ 6821 w 10126"/>
                <a:gd name="connsiteY390" fmla="*/ 1423 h 10000"/>
                <a:gd name="connsiteX391" fmla="*/ 6841 w 10126"/>
                <a:gd name="connsiteY391" fmla="*/ 1179 h 10000"/>
                <a:gd name="connsiteX392" fmla="*/ 6925 w 10126"/>
                <a:gd name="connsiteY392" fmla="*/ 1057 h 10000"/>
                <a:gd name="connsiteX393" fmla="*/ 6946 w 10126"/>
                <a:gd name="connsiteY393" fmla="*/ 976 h 10000"/>
                <a:gd name="connsiteX394" fmla="*/ 7051 w 10126"/>
                <a:gd name="connsiteY394" fmla="*/ 854 h 10000"/>
                <a:gd name="connsiteX395" fmla="*/ 7113 w 10126"/>
                <a:gd name="connsiteY395" fmla="*/ 894 h 10000"/>
                <a:gd name="connsiteX396" fmla="*/ 7134 w 10126"/>
                <a:gd name="connsiteY396" fmla="*/ 772 h 10000"/>
                <a:gd name="connsiteX397" fmla="*/ 7155 w 10126"/>
                <a:gd name="connsiteY397" fmla="*/ 447 h 10000"/>
                <a:gd name="connsiteX398" fmla="*/ 7155 w 10126"/>
                <a:gd name="connsiteY398" fmla="*/ 244 h 10000"/>
                <a:gd name="connsiteX399" fmla="*/ 7134 w 10126"/>
                <a:gd name="connsiteY399" fmla="*/ 122 h 10000"/>
                <a:gd name="connsiteX400" fmla="*/ 7155 w 10126"/>
                <a:gd name="connsiteY400" fmla="*/ 0 h 10000"/>
                <a:gd name="connsiteX0" fmla="*/ 7155 w 10126"/>
                <a:gd name="connsiteY0" fmla="*/ 0 h 10000"/>
                <a:gd name="connsiteX1" fmla="*/ 7260 w 10126"/>
                <a:gd name="connsiteY1" fmla="*/ 0 h 10000"/>
                <a:gd name="connsiteX2" fmla="*/ 7364 w 10126"/>
                <a:gd name="connsiteY2" fmla="*/ 0 h 10000"/>
                <a:gd name="connsiteX3" fmla="*/ 7385 w 10126"/>
                <a:gd name="connsiteY3" fmla="*/ 163 h 10000"/>
                <a:gd name="connsiteX4" fmla="*/ 7364 w 10126"/>
                <a:gd name="connsiteY4" fmla="*/ 203 h 10000"/>
                <a:gd name="connsiteX5" fmla="*/ 7490 w 10126"/>
                <a:gd name="connsiteY5" fmla="*/ 163 h 10000"/>
                <a:gd name="connsiteX6" fmla="*/ 7511 w 10126"/>
                <a:gd name="connsiteY6" fmla="*/ 41 h 10000"/>
                <a:gd name="connsiteX7" fmla="*/ 7616 w 10126"/>
                <a:gd name="connsiteY7" fmla="*/ 41 h 10000"/>
                <a:gd name="connsiteX8" fmla="*/ 7699 w 10126"/>
                <a:gd name="connsiteY8" fmla="*/ 122 h 10000"/>
                <a:gd name="connsiteX9" fmla="*/ 7762 w 10126"/>
                <a:gd name="connsiteY9" fmla="*/ 122 h 10000"/>
                <a:gd name="connsiteX10" fmla="*/ 7867 w 10126"/>
                <a:gd name="connsiteY10" fmla="*/ 244 h 10000"/>
                <a:gd name="connsiteX11" fmla="*/ 7971 w 10126"/>
                <a:gd name="connsiteY11" fmla="*/ 325 h 10000"/>
                <a:gd name="connsiteX12" fmla="*/ 8076 w 10126"/>
                <a:gd name="connsiteY12" fmla="*/ 407 h 10000"/>
                <a:gd name="connsiteX13" fmla="*/ 8118 w 10126"/>
                <a:gd name="connsiteY13" fmla="*/ 407 h 10000"/>
                <a:gd name="connsiteX14" fmla="*/ 8180 w 10126"/>
                <a:gd name="connsiteY14" fmla="*/ 366 h 10000"/>
                <a:gd name="connsiteX15" fmla="*/ 8243 w 10126"/>
                <a:gd name="connsiteY15" fmla="*/ 325 h 10000"/>
                <a:gd name="connsiteX16" fmla="*/ 8285 w 10126"/>
                <a:gd name="connsiteY16" fmla="*/ 407 h 10000"/>
                <a:gd name="connsiteX17" fmla="*/ 8348 w 10126"/>
                <a:gd name="connsiteY17" fmla="*/ 447 h 10000"/>
                <a:gd name="connsiteX18" fmla="*/ 8411 w 10126"/>
                <a:gd name="connsiteY18" fmla="*/ 569 h 10000"/>
                <a:gd name="connsiteX19" fmla="*/ 8557 w 10126"/>
                <a:gd name="connsiteY19" fmla="*/ 732 h 10000"/>
                <a:gd name="connsiteX20" fmla="*/ 8620 w 10126"/>
                <a:gd name="connsiteY20" fmla="*/ 772 h 10000"/>
                <a:gd name="connsiteX21" fmla="*/ 8724 w 10126"/>
                <a:gd name="connsiteY21" fmla="*/ 732 h 10000"/>
                <a:gd name="connsiteX22" fmla="*/ 8913 w 10126"/>
                <a:gd name="connsiteY22" fmla="*/ 772 h 10000"/>
                <a:gd name="connsiteX23" fmla="*/ 8975 w 10126"/>
                <a:gd name="connsiteY23" fmla="*/ 772 h 10000"/>
                <a:gd name="connsiteX24" fmla="*/ 9059 w 10126"/>
                <a:gd name="connsiteY24" fmla="*/ 488 h 10000"/>
                <a:gd name="connsiteX25" fmla="*/ 9101 w 10126"/>
                <a:gd name="connsiteY25" fmla="*/ 488 h 10000"/>
                <a:gd name="connsiteX26" fmla="*/ 9164 w 10126"/>
                <a:gd name="connsiteY26" fmla="*/ 447 h 10000"/>
                <a:gd name="connsiteX27" fmla="*/ 9268 w 10126"/>
                <a:gd name="connsiteY27" fmla="*/ 488 h 10000"/>
                <a:gd name="connsiteX28" fmla="*/ 9310 w 10126"/>
                <a:gd name="connsiteY28" fmla="*/ 528 h 10000"/>
                <a:gd name="connsiteX29" fmla="*/ 9352 w 10126"/>
                <a:gd name="connsiteY29" fmla="*/ 650 h 10000"/>
                <a:gd name="connsiteX30" fmla="*/ 9436 w 10126"/>
                <a:gd name="connsiteY30" fmla="*/ 650 h 10000"/>
                <a:gd name="connsiteX31" fmla="*/ 9498 w 10126"/>
                <a:gd name="connsiteY31" fmla="*/ 732 h 10000"/>
                <a:gd name="connsiteX32" fmla="*/ 9561 w 10126"/>
                <a:gd name="connsiteY32" fmla="*/ 732 h 10000"/>
                <a:gd name="connsiteX33" fmla="*/ 9603 w 10126"/>
                <a:gd name="connsiteY33" fmla="*/ 691 h 10000"/>
                <a:gd name="connsiteX34" fmla="*/ 9645 w 10126"/>
                <a:gd name="connsiteY34" fmla="*/ 772 h 10000"/>
                <a:gd name="connsiteX35" fmla="*/ 9729 w 10126"/>
                <a:gd name="connsiteY35" fmla="*/ 1098 h 10000"/>
                <a:gd name="connsiteX36" fmla="*/ 9749 w 10126"/>
                <a:gd name="connsiteY36" fmla="*/ 1301 h 10000"/>
                <a:gd name="connsiteX37" fmla="*/ 9729 w 10126"/>
                <a:gd name="connsiteY37" fmla="*/ 1423 h 10000"/>
                <a:gd name="connsiteX38" fmla="*/ 9687 w 10126"/>
                <a:gd name="connsiteY38" fmla="*/ 1545 h 10000"/>
                <a:gd name="connsiteX39" fmla="*/ 9666 w 10126"/>
                <a:gd name="connsiteY39" fmla="*/ 1707 h 10000"/>
                <a:gd name="connsiteX40" fmla="*/ 9645 w 10126"/>
                <a:gd name="connsiteY40" fmla="*/ 1951 h 10000"/>
                <a:gd name="connsiteX41" fmla="*/ 9666 w 10126"/>
                <a:gd name="connsiteY41" fmla="*/ 2073 h 10000"/>
                <a:gd name="connsiteX42" fmla="*/ 9708 w 10126"/>
                <a:gd name="connsiteY42" fmla="*/ 2114 h 10000"/>
                <a:gd name="connsiteX43" fmla="*/ 9729 w 10126"/>
                <a:gd name="connsiteY43" fmla="*/ 2236 h 10000"/>
                <a:gd name="connsiteX44" fmla="*/ 9770 w 10126"/>
                <a:gd name="connsiteY44" fmla="*/ 2317 h 10000"/>
                <a:gd name="connsiteX45" fmla="*/ 9812 w 10126"/>
                <a:gd name="connsiteY45" fmla="*/ 2439 h 10000"/>
                <a:gd name="connsiteX46" fmla="*/ 9833 w 10126"/>
                <a:gd name="connsiteY46" fmla="*/ 2561 h 10000"/>
                <a:gd name="connsiteX47" fmla="*/ 9854 w 10126"/>
                <a:gd name="connsiteY47" fmla="*/ 2724 h 10000"/>
                <a:gd name="connsiteX48" fmla="*/ 9896 w 10126"/>
                <a:gd name="connsiteY48" fmla="*/ 2846 h 10000"/>
                <a:gd name="connsiteX49" fmla="*/ 9959 w 10126"/>
                <a:gd name="connsiteY49" fmla="*/ 2886 h 10000"/>
                <a:gd name="connsiteX50" fmla="*/ 10021 w 10126"/>
                <a:gd name="connsiteY50" fmla="*/ 3008 h 10000"/>
                <a:gd name="connsiteX51" fmla="*/ 10000 w 10126"/>
                <a:gd name="connsiteY51" fmla="*/ 3130 h 10000"/>
                <a:gd name="connsiteX52" fmla="*/ 10042 w 10126"/>
                <a:gd name="connsiteY52" fmla="*/ 3252 h 10000"/>
                <a:gd name="connsiteX53" fmla="*/ 10126 w 10126"/>
                <a:gd name="connsiteY53" fmla="*/ 3333 h 10000"/>
                <a:gd name="connsiteX54" fmla="*/ 10042 w 10126"/>
                <a:gd name="connsiteY54" fmla="*/ 3455 h 10000"/>
                <a:gd name="connsiteX55" fmla="*/ 10063 w 10126"/>
                <a:gd name="connsiteY55" fmla="*/ 3577 h 10000"/>
                <a:gd name="connsiteX56" fmla="*/ 10063 w 10126"/>
                <a:gd name="connsiteY56" fmla="*/ 3699 h 10000"/>
                <a:gd name="connsiteX57" fmla="*/ 10021 w 10126"/>
                <a:gd name="connsiteY57" fmla="*/ 3821 h 10000"/>
                <a:gd name="connsiteX58" fmla="*/ 9959 w 10126"/>
                <a:gd name="connsiteY58" fmla="*/ 3862 h 10000"/>
                <a:gd name="connsiteX59" fmla="*/ 10021 w 10126"/>
                <a:gd name="connsiteY59" fmla="*/ 4024 h 10000"/>
                <a:gd name="connsiteX60" fmla="*/ 10021 w 10126"/>
                <a:gd name="connsiteY60" fmla="*/ 4228 h 10000"/>
                <a:gd name="connsiteX61" fmla="*/ 10042 w 10126"/>
                <a:gd name="connsiteY61" fmla="*/ 4390 h 10000"/>
                <a:gd name="connsiteX62" fmla="*/ 10063 w 10126"/>
                <a:gd name="connsiteY62" fmla="*/ 4512 h 10000"/>
                <a:gd name="connsiteX63" fmla="*/ 9959 w 10126"/>
                <a:gd name="connsiteY63" fmla="*/ 4553 h 10000"/>
                <a:gd name="connsiteX64" fmla="*/ 9833 w 10126"/>
                <a:gd name="connsiteY64" fmla="*/ 4634 h 10000"/>
                <a:gd name="connsiteX65" fmla="*/ 9791 w 10126"/>
                <a:gd name="connsiteY65" fmla="*/ 4593 h 10000"/>
                <a:gd name="connsiteX66" fmla="*/ 9729 w 10126"/>
                <a:gd name="connsiteY66" fmla="*/ 4634 h 10000"/>
                <a:gd name="connsiteX67" fmla="*/ 9624 w 10126"/>
                <a:gd name="connsiteY67" fmla="*/ 4675 h 10000"/>
                <a:gd name="connsiteX68" fmla="*/ 9582 w 10126"/>
                <a:gd name="connsiteY68" fmla="*/ 4553 h 10000"/>
                <a:gd name="connsiteX69" fmla="*/ 9457 w 10126"/>
                <a:gd name="connsiteY69" fmla="*/ 4431 h 10000"/>
                <a:gd name="connsiteX70" fmla="*/ 9394 w 10126"/>
                <a:gd name="connsiteY70" fmla="*/ 4431 h 10000"/>
                <a:gd name="connsiteX71" fmla="*/ 9352 w 10126"/>
                <a:gd name="connsiteY71" fmla="*/ 4472 h 10000"/>
                <a:gd name="connsiteX72" fmla="*/ 9352 w 10126"/>
                <a:gd name="connsiteY72" fmla="*/ 4593 h 10000"/>
                <a:gd name="connsiteX73" fmla="*/ 9289 w 10126"/>
                <a:gd name="connsiteY73" fmla="*/ 4675 h 10000"/>
                <a:gd name="connsiteX74" fmla="*/ 9226 w 10126"/>
                <a:gd name="connsiteY74" fmla="*/ 4715 h 10000"/>
                <a:gd name="connsiteX75" fmla="*/ 9226 w 10126"/>
                <a:gd name="connsiteY75" fmla="*/ 4837 h 10000"/>
                <a:gd name="connsiteX76" fmla="*/ 9310 w 10126"/>
                <a:gd name="connsiteY76" fmla="*/ 4878 h 10000"/>
                <a:gd name="connsiteX77" fmla="*/ 9436 w 10126"/>
                <a:gd name="connsiteY77" fmla="*/ 4919 h 10000"/>
                <a:gd name="connsiteX78" fmla="*/ 9498 w 10126"/>
                <a:gd name="connsiteY78" fmla="*/ 4919 h 10000"/>
                <a:gd name="connsiteX79" fmla="*/ 9540 w 10126"/>
                <a:gd name="connsiteY79" fmla="*/ 5041 h 10000"/>
                <a:gd name="connsiteX80" fmla="*/ 9582 w 10126"/>
                <a:gd name="connsiteY80" fmla="*/ 5163 h 10000"/>
                <a:gd name="connsiteX81" fmla="*/ 9582 w 10126"/>
                <a:gd name="connsiteY81" fmla="*/ 5325 h 10000"/>
                <a:gd name="connsiteX82" fmla="*/ 9519 w 10126"/>
                <a:gd name="connsiteY82" fmla="*/ 5366 h 10000"/>
                <a:gd name="connsiteX83" fmla="*/ 9540 w 10126"/>
                <a:gd name="connsiteY83" fmla="*/ 5528 h 10000"/>
                <a:gd name="connsiteX84" fmla="*/ 9477 w 10126"/>
                <a:gd name="connsiteY84" fmla="*/ 5650 h 10000"/>
                <a:gd name="connsiteX85" fmla="*/ 9352 w 10126"/>
                <a:gd name="connsiteY85" fmla="*/ 5813 h 10000"/>
                <a:gd name="connsiteX86" fmla="*/ 9289 w 10126"/>
                <a:gd name="connsiteY86" fmla="*/ 5732 h 10000"/>
                <a:gd name="connsiteX87" fmla="*/ 9289 w 10126"/>
                <a:gd name="connsiteY87" fmla="*/ 5935 h 10000"/>
                <a:gd name="connsiteX88" fmla="*/ 9352 w 10126"/>
                <a:gd name="connsiteY88" fmla="*/ 6179 h 10000"/>
                <a:gd name="connsiteX89" fmla="*/ 9352 w 10126"/>
                <a:gd name="connsiteY89" fmla="*/ 6260 h 10000"/>
                <a:gd name="connsiteX90" fmla="*/ 9289 w 10126"/>
                <a:gd name="connsiteY90" fmla="*/ 6382 h 10000"/>
                <a:gd name="connsiteX91" fmla="*/ 9268 w 10126"/>
                <a:gd name="connsiteY91" fmla="*/ 6504 h 10000"/>
                <a:gd name="connsiteX92" fmla="*/ 9331 w 10126"/>
                <a:gd name="connsiteY92" fmla="*/ 6626 h 10000"/>
                <a:gd name="connsiteX93" fmla="*/ 9331 w 10126"/>
                <a:gd name="connsiteY93" fmla="*/ 6748 h 10000"/>
                <a:gd name="connsiteX94" fmla="*/ 9394 w 10126"/>
                <a:gd name="connsiteY94" fmla="*/ 6707 h 10000"/>
                <a:gd name="connsiteX95" fmla="*/ 9394 w 10126"/>
                <a:gd name="connsiteY95" fmla="*/ 6911 h 10000"/>
                <a:gd name="connsiteX96" fmla="*/ 9373 w 10126"/>
                <a:gd name="connsiteY96" fmla="*/ 7033 h 10000"/>
                <a:gd name="connsiteX97" fmla="*/ 9352 w 10126"/>
                <a:gd name="connsiteY97" fmla="*/ 7195 h 10000"/>
                <a:gd name="connsiteX98" fmla="*/ 9415 w 10126"/>
                <a:gd name="connsiteY98" fmla="*/ 7276 h 10000"/>
                <a:gd name="connsiteX99" fmla="*/ 9352 w 10126"/>
                <a:gd name="connsiteY99" fmla="*/ 7317 h 10000"/>
                <a:gd name="connsiteX100" fmla="*/ 9310 w 10126"/>
                <a:gd name="connsiteY100" fmla="*/ 7358 h 10000"/>
                <a:gd name="connsiteX101" fmla="*/ 9247 w 10126"/>
                <a:gd name="connsiteY101" fmla="*/ 7317 h 10000"/>
                <a:gd name="connsiteX102" fmla="*/ 9205 w 10126"/>
                <a:gd name="connsiteY102" fmla="*/ 7317 h 10000"/>
                <a:gd name="connsiteX103" fmla="*/ 9143 w 10126"/>
                <a:gd name="connsiteY103" fmla="*/ 7317 h 10000"/>
                <a:gd name="connsiteX104" fmla="*/ 9101 w 10126"/>
                <a:gd name="connsiteY104" fmla="*/ 7439 h 10000"/>
                <a:gd name="connsiteX105" fmla="*/ 9080 w 10126"/>
                <a:gd name="connsiteY105" fmla="*/ 7561 h 10000"/>
                <a:gd name="connsiteX106" fmla="*/ 9017 w 10126"/>
                <a:gd name="connsiteY106" fmla="*/ 7683 h 10000"/>
                <a:gd name="connsiteX107" fmla="*/ 8954 w 10126"/>
                <a:gd name="connsiteY107" fmla="*/ 7846 h 10000"/>
                <a:gd name="connsiteX108" fmla="*/ 8850 w 10126"/>
                <a:gd name="connsiteY108" fmla="*/ 8008 h 10000"/>
                <a:gd name="connsiteX109" fmla="*/ 8787 w 10126"/>
                <a:gd name="connsiteY109" fmla="*/ 8049 h 10000"/>
                <a:gd name="connsiteX110" fmla="*/ 8766 w 10126"/>
                <a:gd name="connsiteY110" fmla="*/ 8252 h 10000"/>
                <a:gd name="connsiteX111" fmla="*/ 8766 w 10126"/>
                <a:gd name="connsiteY111" fmla="*/ 8374 h 10000"/>
                <a:gd name="connsiteX112" fmla="*/ 8829 w 10126"/>
                <a:gd name="connsiteY112" fmla="*/ 8496 h 10000"/>
                <a:gd name="connsiteX113" fmla="*/ 8850 w 10126"/>
                <a:gd name="connsiteY113" fmla="*/ 8618 h 10000"/>
                <a:gd name="connsiteX114" fmla="*/ 8745 w 10126"/>
                <a:gd name="connsiteY114" fmla="*/ 8537 h 10000"/>
                <a:gd name="connsiteX115" fmla="*/ 8662 w 10126"/>
                <a:gd name="connsiteY115" fmla="*/ 8455 h 10000"/>
                <a:gd name="connsiteX116" fmla="*/ 8578 w 10126"/>
                <a:gd name="connsiteY116" fmla="*/ 8455 h 10000"/>
                <a:gd name="connsiteX117" fmla="*/ 8494 w 10126"/>
                <a:gd name="connsiteY117" fmla="*/ 8537 h 10000"/>
                <a:gd name="connsiteX118" fmla="*/ 8327 w 10126"/>
                <a:gd name="connsiteY118" fmla="*/ 8537 h 10000"/>
                <a:gd name="connsiteX119" fmla="*/ 8306 w 10126"/>
                <a:gd name="connsiteY119" fmla="*/ 8659 h 10000"/>
                <a:gd name="connsiteX120" fmla="*/ 8264 w 10126"/>
                <a:gd name="connsiteY120" fmla="*/ 8699 h 10000"/>
                <a:gd name="connsiteX121" fmla="*/ 8201 w 10126"/>
                <a:gd name="connsiteY121" fmla="*/ 8699 h 10000"/>
                <a:gd name="connsiteX122" fmla="*/ 8159 w 10126"/>
                <a:gd name="connsiteY122" fmla="*/ 8862 h 10000"/>
                <a:gd name="connsiteX123" fmla="*/ 8097 w 10126"/>
                <a:gd name="connsiteY123" fmla="*/ 8943 h 10000"/>
                <a:gd name="connsiteX124" fmla="*/ 8034 w 10126"/>
                <a:gd name="connsiteY124" fmla="*/ 8862 h 10000"/>
                <a:gd name="connsiteX125" fmla="*/ 7762 w 10126"/>
                <a:gd name="connsiteY125" fmla="*/ 8902 h 10000"/>
                <a:gd name="connsiteX126" fmla="*/ 7574 w 10126"/>
                <a:gd name="connsiteY126" fmla="*/ 8902 h 10000"/>
                <a:gd name="connsiteX127" fmla="*/ 7490 w 10126"/>
                <a:gd name="connsiteY127" fmla="*/ 8943 h 10000"/>
                <a:gd name="connsiteX128" fmla="*/ 7448 w 10126"/>
                <a:gd name="connsiteY128" fmla="*/ 9065 h 10000"/>
                <a:gd name="connsiteX129" fmla="*/ 7344 w 10126"/>
                <a:gd name="connsiteY129" fmla="*/ 9065 h 10000"/>
                <a:gd name="connsiteX130" fmla="*/ 7281 w 10126"/>
                <a:gd name="connsiteY130" fmla="*/ 9106 h 10000"/>
                <a:gd name="connsiteX131" fmla="*/ 7260 w 10126"/>
                <a:gd name="connsiteY131" fmla="*/ 9228 h 10000"/>
                <a:gd name="connsiteX132" fmla="*/ 7239 w 10126"/>
                <a:gd name="connsiteY132" fmla="*/ 9350 h 10000"/>
                <a:gd name="connsiteX133" fmla="*/ 7218 w 10126"/>
                <a:gd name="connsiteY133" fmla="*/ 9472 h 10000"/>
                <a:gd name="connsiteX134" fmla="*/ 7155 w 10126"/>
                <a:gd name="connsiteY134" fmla="*/ 9512 h 10000"/>
                <a:gd name="connsiteX135" fmla="*/ 7113 w 10126"/>
                <a:gd name="connsiteY135" fmla="*/ 9634 h 10000"/>
                <a:gd name="connsiteX136" fmla="*/ 7051 w 10126"/>
                <a:gd name="connsiteY136" fmla="*/ 9715 h 10000"/>
                <a:gd name="connsiteX137" fmla="*/ 7009 w 10126"/>
                <a:gd name="connsiteY137" fmla="*/ 9797 h 10000"/>
                <a:gd name="connsiteX138" fmla="*/ 6946 w 10126"/>
                <a:gd name="connsiteY138" fmla="*/ 9878 h 10000"/>
                <a:gd name="connsiteX139" fmla="*/ 6925 w 10126"/>
                <a:gd name="connsiteY139" fmla="*/ 10000 h 10000"/>
                <a:gd name="connsiteX140" fmla="*/ 6841 w 10126"/>
                <a:gd name="connsiteY140" fmla="*/ 9919 h 10000"/>
                <a:gd name="connsiteX141" fmla="*/ 6779 w 10126"/>
                <a:gd name="connsiteY141" fmla="*/ 9919 h 10000"/>
                <a:gd name="connsiteX142" fmla="*/ 6716 w 10126"/>
                <a:gd name="connsiteY142" fmla="*/ 9878 h 10000"/>
                <a:gd name="connsiteX143" fmla="*/ 6632 w 10126"/>
                <a:gd name="connsiteY143" fmla="*/ 9837 h 10000"/>
                <a:gd name="connsiteX144" fmla="*/ 6360 w 10126"/>
                <a:gd name="connsiteY144" fmla="*/ 9837 h 10000"/>
                <a:gd name="connsiteX145" fmla="*/ 6256 w 10126"/>
                <a:gd name="connsiteY145" fmla="*/ 9715 h 10000"/>
                <a:gd name="connsiteX146" fmla="*/ 6193 w 10126"/>
                <a:gd name="connsiteY146" fmla="*/ 9715 h 10000"/>
                <a:gd name="connsiteX147" fmla="*/ 6130 w 10126"/>
                <a:gd name="connsiteY147" fmla="*/ 9715 h 10000"/>
                <a:gd name="connsiteX148" fmla="*/ 6005 w 10126"/>
                <a:gd name="connsiteY148" fmla="*/ 9634 h 10000"/>
                <a:gd name="connsiteX149" fmla="*/ 5879 w 10126"/>
                <a:gd name="connsiteY149" fmla="*/ 9634 h 10000"/>
                <a:gd name="connsiteX150" fmla="*/ 5775 w 10126"/>
                <a:gd name="connsiteY150" fmla="*/ 9634 h 10000"/>
                <a:gd name="connsiteX151" fmla="*/ 5712 w 10126"/>
                <a:gd name="connsiteY151" fmla="*/ 9634 h 10000"/>
                <a:gd name="connsiteX152" fmla="*/ 5544 w 10126"/>
                <a:gd name="connsiteY152" fmla="*/ 9512 h 10000"/>
                <a:gd name="connsiteX153" fmla="*/ 5503 w 10126"/>
                <a:gd name="connsiteY153" fmla="*/ 9512 h 10000"/>
                <a:gd name="connsiteX154" fmla="*/ 5377 w 10126"/>
                <a:gd name="connsiteY154" fmla="*/ 9472 h 10000"/>
                <a:gd name="connsiteX155" fmla="*/ 5293 w 10126"/>
                <a:gd name="connsiteY155" fmla="*/ 9431 h 10000"/>
                <a:gd name="connsiteX156" fmla="*/ 5168 w 10126"/>
                <a:gd name="connsiteY156" fmla="*/ 9512 h 10000"/>
                <a:gd name="connsiteX157" fmla="*/ 5105 w 10126"/>
                <a:gd name="connsiteY157" fmla="*/ 9512 h 10000"/>
                <a:gd name="connsiteX158" fmla="*/ 5000 w 10126"/>
                <a:gd name="connsiteY158" fmla="*/ 9390 h 10000"/>
                <a:gd name="connsiteX159" fmla="*/ 4875 w 10126"/>
                <a:gd name="connsiteY159" fmla="*/ 9350 h 10000"/>
                <a:gd name="connsiteX160" fmla="*/ 4561 w 10126"/>
                <a:gd name="connsiteY160" fmla="*/ 9350 h 10000"/>
                <a:gd name="connsiteX161" fmla="*/ 4498 w 10126"/>
                <a:gd name="connsiteY161" fmla="*/ 9268 h 10000"/>
                <a:gd name="connsiteX162" fmla="*/ 4436 w 10126"/>
                <a:gd name="connsiteY162" fmla="*/ 9228 h 10000"/>
                <a:gd name="connsiteX163" fmla="*/ 4373 w 10126"/>
                <a:gd name="connsiteY163" fmla="*/ 9187 h 10000"/>
                <a:gd name="connsiteX164" fmla="*/ 4289 w 10126"/>
                <a:gd name="connsiteY164" fmla="*/ 9187 h 10000"/>
                <a:gd name="connsiteX165" fmla="*/ 4205 w 10126"/>
                <a:gd name="connsiteY165" fmla="*/ 9228 h 10000"/>
                <a:gd name="connsiteX166" fmla="*/ 4122 w 10126"/>
                <a:gd name="connsiteY166" fmla="*/ 9146 h 10000"/>
                <a:gd name="connsiteX167" fmla="*/ 4059 w 10126"/>
                <a:gd name="connsiteY167" fmla="*/ 9106 h 10000"/>
                <a:gd name="connsiteX168" fmla="*/ 3996 w 10126"/>
                <a:gd name="connsiteY168" fmla="*/ 9065 h 10000"/>
                <a:gd name="connsiteX169" fmla="*/ 3934 w 10126"/>
                <a:gd name="connsiteY169" fmla="*/ 8902 h 10000"/>
                <a:gd name="connsiteX170" fmla="*/ 3892 w 10126"/>
                <a:gd name="connsiteY170" fmla="*/ 8780 h 10000"/>
                <a:gd name="connsiteX171" fmla="*/ 3808 w 10126"/>
                <a:gd name="connsiteY171" fmla="*/ 8740 h 10000"/>
                <a:gd name="connsiteX172" fmla="*/ 3787 w 10126"/>
                <a:gd name="connsiteY172" fmla="*/ 8659 h 10000"/>
                <a:gd name="connsiteX173" fmla="*/ 3808 w 10126"/>
                <a:gd name="connsiteY173" fmla="*/ 8496 h 10000"/>
                <a:gd name="connsiteX174" fmla="*/ 3766 w 10126"/>
                <a:gd name="connsiteY174" fmla="*/ 8415 h 10000"/>
                <a:gd name="connsiteX175" fmla="*/ 3703 w 10126"/>
                <a:gd name="connsiteY175" fmla="*/ 8415 h 10000"/>
                <a:gd name="connsiteX176" fmla="*/ 3662 w 10126"/>
                <a:gd name="connsiteY176" fmla="*/ 8333 h 10000"/>
                <a:gd name="connsiteX177" fmla="*/ 3599 w 10126"/>
                <a:gd name="connsiteY177" fmla="*/ 8293 h 10000"/>
                <a:gd name="connsiteX178" fmla="*/ 3599 w 10126"/>
                <a:gd name="connsiteY178" fmla="*/ 8171 h 10000"/>
                <a:gd name="connsiteX179" fmla="*/ 3599 w 10126"/>
                <a:gd name="connsiteY179" fmla="*/ 8049 h 10000"/>
                <a:gd name="connsiteX180" fmla="*/ 3578 w 10126"/>
                <a:gd name="connsiteY180" fmla="*/ 7886 h 10000"/>
                <a:gd name="connsiteX181" fmla="*/ 3662 w 10126"/>
                <a:gd name="connsiteY181" fmla="*/ 7805 h 10000"/>
                <a:gd name="connsiteX182" fmla="*/ 3682 w 10126"/>
                <a:gd name="connsiteY182" fmla="*/ 7642 h 10000"/>
                <a:gd name="connsiteX183" fmla="*/ 3578 w 10126"/>
                <a:gd name="connsiteY183" fmla="*/ 7642 h 10000"/>
                <a:gd name="connsiteX184" fmla="*/ 3452 w 10126"/>
                <a:gd name="connsiteY184" fmla="*/ 7805 h 10000"/>
                <a:gd name="connsiteX185" fmla="*/ 3348 w 10126"/>
                <a:gd name="connsiteY185" fmla="*/ 7805 h 10000"/>
                <a:gd name="connsiteX186" fmla="*/ 3285 w 10126"/>
                <a:gd name="connsiteY186" fmla="*/ 7846 h 10000"/>
                <a:gd name="connsiteX187" fmla="*/ 3243 w 10126"/>
                <a:gd name="connsiteY187" fmla="*/ 7927 h 10000"/>
                <a:gd name="connsiteX188" fmla="*/ 3139 w 10126"/>
                <a:gd name="connsiteY188" fmla="*/ 8008 h 10000"/>
                <a:gd name="connsiteX189" fmla="*/ 3076 w 10126"/>
                <a:gd name="connsiteY189" fmla="*/ 8089 h 10000"/>
                <a:gd name="connsiteX190" fmla="*/ 3013 w 10126"/>
                <a:gd name="connsiteY190" fmla="*/ 8008 h 10000"/>
                <a:gd name="connsiteX191" fmla="*/ 2971 w 10126"/>
                <a:gd name="connsiteY191" fmla="*/ 8008 h 10000"/>
                <a:gd name="connsiteX192" fmla="*/ 2888 w 10126"/>
                <a:gd name="connsiteY192" fmla="*/ 7967 h 10000"/>
                <a:gd name="connsiteX193" fmla="*/ 2825 w 10126"/>
                <a:gd name="connsiteY193" fmla="*/ 8008 h 10000"/>
                <a:gd name="connsiteX194" fmla="*/ 2783 w 10126"/>
                <a:gd name="connsiteY194" fmla="*/ 8008 h 10000"/>
                <a:gd name="connsiteX195" fmla="*/ 2720 w 10126"/>
                <a:gd name="connsiteY195" fmla="*/ 7967 h 10000"/>
                <a:gd name="connsiteX196" fmla="*/ 2657 w 10126"/>
                <a:gd name="connsiteY196" fmla="*/ 8089 h 10000"/>
                <a:gd name="connsiteX197" fmla="*/ 2574 w 10126"/>
                <a:gd name="connsiteY197" fmla="*/ 8049 h 10000"/>
                <a:gd name="connsiteX198" fmla="*/ 2532 w 10126"/>
                <a:gd name="connsiteY198" fmla="*/ 8049 h 10000"/>
                <a:gd name="connsiteX199" fmla="*/ 2427 w 10126"/>
                <a:gd name="connsiteY199" fmla="*/ 8089 h 10000"/>
                <a:gd name="connsiteX200" fmla="*/ 2344 w 10126"/>
                <a:gd name="connsiteY200" fmla="*/ 8130 h 10000"/>
                <a:gd name="connsiteX201" fmla="*/ 2218 w 10126"/>
                <a:gd name="connsiteY201" fmla="*/ 8333 h 10000"/>
                <a:gd name="connsiteX202" fmla="*/ 2197 w 10126"/>
                <a:gd name="connsiteY202" fmla="*/ 8496 h 10000"/>
                <a:gd name="connsiteX203" fmla="*/ 2155 w 10126"/>
                <a:gd name="connsiteY203" fmla="*/ 8618 h 10000"/>
                <a:gd name="connsiteX204" fmla="*/ 2134 w 10126"/>
                <a:gd name="connsiteY204" fmla="*/ 8740 h 10000"/>
                <a:gd name="connsiteX205" fmla="*/ 2093 w 10126"/>
                <a:gd name="connsiteY205" fmla="*/ 8862 h 10000"/>
                <a:gd name="connsiteX206" fmla="*/ 2009 w 10126"/>
                <a:gd name="connsiteY206" fmla="*/ 8862 h 10000"/>
                <a:gd name="connsiteX207" fmla="*/ 1946 w 10126"/>
                <a:gd name="connsiteY207" fmla="*/ 8902 h 10000"/>
                <a:gd name="connsiteX208" fmla="*/ 1883 w 10126"/>
                <a:gd name="connsiteY208" fmla="*/ 8821 h 10000"/>
                <a:gd name="connsiteX209" fmla="*/ 1841 w 10126"/>
                <a:gd name="connsiteY209" fmla="*/ 8862 h 10000"/>
                <a:gd name="connsiteX210" fmla="*/ 1779 w 10126"/>
                <a:gd name="connsiteY210" fmla="*/ 8821 h 10000"/>
                <a:gd name="connsiteX211" fmla="*/ 1737 w 10126"/>
                <a:gd name="connsiteY211" fmla="*/ 8821 h 10000"/>
                <a:gd name="connsiteX212" fmla="*/ 1758 w 10126"/>
                <a:gd name="connsiteY212" fmla="*/ 8699 h 10000"/>
                <a:gd name="connsiteX213" fmla="*/ 1653 w 10126"/>
                <a:gd name="connsiteY213" fmla="*/ 8537 h 10000"/>
                <a:gd name="connsiteX214" fmla="*/ 1465 w 10126"/>
                <a:gd name="connsiteY214" fmla="*/ 8618 h 10000"/>
                <a:gd name="connsiteX215" fmla="*/ 1423 w 10126"/>
                <a:gd name="connsiteY215" fmla="*/ 8577 h 10000"/>
                <a:gd name="connsiteX216" fmla="*/ 1360 w 10126"/>
                <a:gd name="connsiteY216" fmla="*/ 8455 h 10000"/>
                <a:gd name="connsiteX217" fmla="*/ 1381 w 10126"/>
                <a:gd name="connsiteY217" fmla="*/ 8333 h 10000"/>
                <a:gd name="connsiteX218" fmla="*/ 1318 w 10126"/>
                <a:gd name="connsiteY218" fmla="*/ 8171 h 10000"/>
                <a:gd name="connsiteX219" fmla="*/ 1277 w 10126"/>
                <a:gd name="connsiteY219" fmla="*/ 8049 h 10000"/>
                <a:gd name="connsiteX220" fmla="*/ 1214 w 10126"/>
                <a:gd name="connsiteY220" fmla="*/ 8089 h 10000"/>
                <a:gd name="connsiteX221" fmla="*/ 1172 w 10126"/>
                <a:gd name="connsiteY221" fmla="*/ 8252 h 10000"/>
                <a:gd name="connsiteX222" fmla="*/ 1109 w 10126"/>
                <a:gd name="connsiteY222" fmla="*/ 8293 h 10000"/>
                <a:gd name="connsiteX223" fmla="*/ 1047 w 10126"/>
                <a:gd name="connsiteY223" fmla="*/ 8415 h 10000"/>
                <a:gd name="connsiteX224" fmla="*/ 984 w 10126"/>
                <a:gd name="connsiteY224" fmla="*/ 8577 h 10000"/>
                <a:gd name="connsiteX225" fmla="*/ 921 w 10126"/>
                <a:gd name="connsiteY225" fmla="*/ 8577 h 10000"/>
                <a:gd name="connsiteX226" fmla="*/ 858 w 10126"/>
                <a:gd name="connsiteY226" fmla="*/ 8537 h 10000"/>
                <a:gd name="connsiteX227" fmla="*/ 754 w 10126"/>
                <a:gd name="connsiteY227" fmla="*/ 8415 h 10000"/>
                <a:gd name="connsiteX228" fmla="*/ 628 w 10126"/>
                <a:gd name="connsiteY228" fmla="*/ 8333 h 10000"/>
                <a:gd name="connsiteX229" fmla="*/ 565 w 10126"/>
                <a:gd name="connsiteY229" fmla="*/ 8252 h 10000"/>
                <a:gd name="connsiteX230" fmla="*/ 565 w 10126"/>
                <a:gd name="connsiteY230" fmla="*/ 8089 h 10000"/>
                <a:gd name="connsiteX231" fmla="*/ 565 w 10126"/>
                <a:gd name="connsiteY231" fmla="*/ 7967 h 10000"/>
                <a:gd name="connsiteX232" fmla="*/ 314 w 10126"/>
                <a:gd name="connsiteY232" fmla="*/ 7805 h 10000"/>
                <a:gd name="connsiteX233" fmla="*/ 231 w 10126"/>
                <a:gd name="connsiteY233" fmla="*/ 7805 h 10000"/>
                <a:gd name="connsiteX234" fmla="*/ 147 w 10126"/>
                <a:gd name="connsiteY234" fmla="*/ 7804 h 10000"/>
                <a:gd name="connsiteX235" fmla="*/ 63 w 10126"/>
                <a:gd name="connsiteY235" fmla="*/ 7600 h 10000"/>
                <a:gd name="connsiteX236" fmla="*/ 0 w 10126"/>
                <a:gd name="connsiteY236" fmla="*/ 7398 h 10000"/>
                <a:gd name="connsiteX237" fmla="*/ 42 w 10126"/>
                <a:gd name="connsiteY237" fmla="*/ 7074 h 10000"/>
                <a:gd name="connsiteX238" fmla="*/ 126 w 10126"/>
                <a:gd name="connsiteY238" fmla="*/ 7073 h 10000"/>
                <a:gd name="connsiteX239" fmla="*/ 168 w 10126"/>
                <a:gd name="connsiteY239" fmla="*/ 6911 h 10000"/>
                <a:gd name="connsiteX240" fmla="*/ 210 w 10126"/>
                <a:gd name="connsiteY240" fmla="*/ 6707 h 10000"/>
                <a:gd name="connsiteX241" fmla="*/ 272 w 10126"/>
                <a:gd name="connsiteY241" fmla="*/ 6504 h 10000"/>
                <a:gd name="connsiteX242" fmla="*/ 293 w 10126"/>
                <a:gd name="connsiteY242" fmla="*/ 6301 h 10000"/>
                <a:gd name="connsiteX243" fmla="*/ 210 w 10126"/>
                <a:gd name="connsiteY243" fmla="*/ 6179 h 10000"/>
                <a:gd name="connsiteX244" fmla="*/ 168 w 10126"/>
                <a:gd name="connsiteY244" fmla="*/ 6057 h 10000"/>
                <a:gd name="connsiteX245" fmla="*/ 252 w 10126"/>
                <a:gd name="connsiteY245" fmla="*/ 6016 h 10000"/>
                <a:gd name="connsiteX246" fmla="*/ 335 w 10126"/>
                <a:gd name="connsiteY246" fmla="*/ 6016 h 10000"/>
                <a:gd name="connsiteX247" fmla="*/ 377 w 10126"/>
                <a:gd name="connsiteY247" fmla="*/ 5935 h 10000"/>
                <a:gd name="connsiteX248" fmla="*/ 419 w 10126"/>
                <a:gd name="connsiteY248" fmla="*/ 5813 h 10000"/>
                <a:gd name="connsiteX249" fmla="*/ 482 w 10126"/>
                <a:gd name="connsiteY249" fmla="*/ 5813 h 10000"/>
                <a:gd name="connsiteX250" fmla="*/ 503 w 10126"/>
                <a:gd name="connsiteY250" fmla="*/ 5935 h 10000"/>
                <a:gd name="connsiteX251" fmla="*/ 565 w 10126"/>
                <a:gd name="connsiteY251" fmla="*/ 5976 h 10000"/>
                <a:gd name="connsiteX252" fmla="*/ 649 w 10126"/>
                <a:gd name="connsiteY252" fmla="*/ 5976 h 10000"/>
                <a:gd name="connsiteX253" fmla="*/ 691 w 10126"/>
                <a:gd name="connsiteY253" fmla="*/ 6057 h 10000"/>
                <a:gd name="connsiteX254" fmla="*/ 733 w 10126"/>
                <a:gd name="connsiteY254" fmla="*/ 6179 h 10000"/>
                <a:gd name="connsiteX255" fmla="*/ 775 w 10126"/>
                <a:gd name="connsiteY255" fmla="*/ 6138 h 10000"/>
                <a:gd name="connsiteX256" fmla="*/ 858 w 10126"/>
                <a:gd name="connsiteY256" fmla="*/ 6341 h 10000"/>
                <a:gd name="connsiteX257" fmla="*/ 837 w 10126"/>
                <a:gd name="connsiteY257" fmla="*/ 6463 h 10000"/>
                <a:gd name="connsiteX258" fmla="*/ 858 w 10126"/>
                <a:gd name="connsiteY258" fmla="*/ 6585 h 10000"/>
                <a:gd name="connsiteX259" fmla="*/ 921 w 10126"/>
                <a:gd name="connsiteY259" fmla="*/ 6626 h 10000"/>
                <a:gd name="connsiteX260" fmla="*/ 963 w 10126"/>
                <a:gd name="connsiteY260" fmla="*/ 6585 h 10000"/>
                <a:gd name="connsiteX261" fmla="*/ 1026 w 10126"/>
                <a:gd name="connsiteY261" fmla="*/ 6545 h 10000"/>
                <a:gd name="connsiteX262" fmla="*/ 1026 w 10126"/>
                <a:gd name="connsiteY262" fmla="*/ 6789 h 10000"/>
                <a:gd name="connsiteX263" fmla="*/ 984 w 10126"/>
                <a:gd name="connsiteY263" fmla="*/ 6992 h 10000"/>
                <a:gd name="connsiteX264" fmla="*/ 1088 w 10126"/>
                <a:gd name="connsiteY264" fmla="*/ 6992 h 10000"/>
                <a:gd name="connsiteX265" fmla="*/ 1172 w 10126"/>
                <a:gd name="connsiteY265" fmla="*/ 6911 h 10000"/>
                <a:gd name="connsiteX266" fmla="*/ 1214 w 10126"/>
                <a:gd name="connsiteY266" fmla="*/ 6748 h 10000"/>
                <a:gd name="connsiteX267" fmla="*/ 1256 w 10126"/>
                <a:gd name="connsiteY267" fmla="*/ 6626 h 10000"/>
                <a:gd name="connsiteX268" fmla="*/ 1298 w 10126"/>
                <a:gd name="connsiteY268" fmla="*/ 6585 h 10000"/>
                <a:gd name="connsiteX269" fmla="*/ 1360 w 10126"/>
                <a:gd name="connsiteY269" fmla="*/ 6423 h 10000"/>
                <a:gd name="connsiteX270" fmla="*/ 1360 w 10126"/>
                <a:gd name="connsiteY270" fmla="*/ 6260 h 10000"/>
                <a:gd name="connsiteX271" fmla="*/ 1318 w 10126"/>
                <a:gd name="connsiteY271" fmla="*/ 6138 h 10000"/>
                <a:gd name="connsiteX272" fmla="*/ 1339 w 10126"/>
                <a:gd name="connsiteY272" fmla="*/ 5976 h 10000"/>
                <a:gd name="connsiteX273" fmla="*/ 1318 w 10126"/>
                <a:gd name="connsiteY273" fmla="*/ 5854 h 10000"/>
                <a:gd name="connsiteX274" fmla="*/ 1360 w 10126"/>
                <a:gd name="connsiteY274" fmla="*/ 5813 h 10000"/>
                <a:gd name="connsiteX275" fmla="*/ 1360 w 10126"/>
                <a:gd name="connsiteY275" fmla="*/ 5935 h 10000"/>
                <a:gd name="connsiteX276" fmla="*/ 1465 w 10126"/>
                <a:gd name="connsiteY276" fmla="*/ 6016 h 10000"/>
                <a:gd name="connsiteX277" fmla="*/ 1507 w 10126"/>
                <a:gd name="connsiteY277" fmla="*/ 5894 h 10000"/>
                <a:gd name="connsiteX278" fmla="*/ 1570 w 10126"/>
                <a:gd name="connsiteY278" fmla="*/ 5894 h 10000"/>
                <a:gd name="connsiteX279" fmla="*/ 1737 w 10126"/>
                <a:gd name="connsiteY279" fmla="*/ 6016 h 10000"/>
                <a:gd name="connsiteX280" fmla="*/ 1800 w 10126"/>
                <a:gd name="connsiteY280" fmla="*/ 6057 h 10000"/>
                <a:gd name="connsiteX281" fmla="*/ 1862 w 10126"/>
                <a:gd name="connsiteY281" fmla="*/ 5976 h 10000"/>
                <a:gd name="connsiteX282" fmla="*/ 1904 w 10126"/>
                <a:gd name="connsiteY282" fmla="*/ 6016 h 10000"/>
                <a:gd name="connsiteX283" fmla="*/ 1883 w 10126"/>
                <a:gd name="connsiteY283" fmla="*/ 6138 h 10000"/>
                <a:gd name="connsiteX284" fmla="*/ 1967 w 10126"/>
                <a:gd name="connsiteY284" fmla="*/ 6220 h 10000"/>
                <a:gd name="connsiteX285" fmla="*/ 2030 w 10126"/>
                <a:gd name="connsiteY285" fmla="*/ 6341 h 10000"/>
                <a:gd name="connsiteX286" fmla="*/ 2030 w 10126"/>
                <a:gd name="connsiteY286" fmla="*/ 6504 h 10000"/>
                <a:gd name="connsiteX287" fmla="*/ 2197 w 10126"/>
                <a:gd name="connsiteY287" fmla="*/ 6504 h 10000"/>
                <a:gd name="connsiteX288" fmla="*/ 2302 w 10126"/>
                <a:gd name="connsiteY288" fmla="*/ 6382 h 10000"/>
                <a:gd name="connsiteX289" fmla="*/ 2385 w 10126"/>
                <a:gd name="connsiteY289" fmla="*/ 6382 h 10000"/>
                <a:gd name="connsiteX290" fmla="*/ 2406 w 10126"/>
                <a:gd name="connsiteY290" fmla="*/ 6463 h 10000"/>
                <a:gd name="connsiteX291" fmla="*/ 2448 w 10126"/>
                <a:gd name="connsiteY291" fmla="*/ 6423 h 10000"/>
                <a:gd name="connsiteX292" fmla="*/ 2532 w 10126"/>
                <a:gd name="connsiteY292" fmla="*/ 6301 h 10000"/>
                <a:gd name="connsiteX293" fmla="*/ 2574 w 10126"/>
                <a:gd name="connsiteY293" fmla="*/ 6301 h 10000"/>
                <a:gd name="connsiteX294" fmla="*/ 2574 w 10126"/>
                <a:gd name="connsiteY294" fmla="*/ 6179 h 10000"/>
                <a:gd name="connsiteX295" fmla="*/ 2636 w 10126"/>
                <a:gd name="connsiteY295" fmla="*/ 6057 h 10000"/>
                <a:gd name="connsiteX296" fmla="*/ 2699 w 10126"/>
                <a:gd name="connsiteY296" fmla="*/ 6057 h 10000"/>
                <a:gd name="connsiteX297" fmla="*/ 2783 w 10126"/>
                <a:gd name="connsiteY297" fmla="*/ 6057 h 10000"/>
                <a:gd name="connsiteX298" fmla="*/ 2846 w 10126"/>
                <a:gd name="connsiteY298" fmla="*/ 5976 h 10000"/>
                <a:gd name="connsiteX299" fmla="*/ 2846 w 10126"/>
                <a:gd name="connsiteY299" fmla="*/ 5854 h 10000"/>
                <a:gd name="connsiteX300" fmla="*/ 2908 w 10126"/>
                <a:gd name="connsiteY300" fmla="*/ 5732 h 10000"/>
                <a:gd name="connsiteX301" fmla="*/ 2992 w 10126"/>
                <a:gd name="connsiteY301" fmla="*/ 5772 h 10000"/>
                <a:gd name="connsiteX302" fmla="*/ 3097 w 10126"/>
                <a:gd name="connsiteY302" fmla="*/ 5732 h 10000"/>
                <a:gd name="connsiteX303" fmla="*/ 3159 w 10126"/>
                <a:gd name="connsiteY303" fmla="*/ 5772 h 10000"/>
                <a:gd name="connsiteX304" fmla="*/ 3306 w 10126"/>
                <a:gd name="connsiteY304" fmla="*/ 5650 h 10000"/>
                <a:gd name="connsiteX305" fmla="*/ 3620 w 10126"/>
                <a:gd name="connsiteY305" fmla="*/ 5650 h 10000"/>
                <a:gd name="connsiteX306" fmla="*/ 3662 w 10126"/>
                <a:gd name="connsiteY306" fmla="*/ 5528 h 10000"/>
                <a:gd name="connsiteX307" fmla="*/ 3662 w 10126"/>
                <a:gd name="connsiteY307" fmla="*/ 5407 h 10000"/>
                <a:gd name="connsiteX308" fmla="*/ 3620 w 10126"/>
                <a:gd name="connsiteY308" fmla="*/ 5244 h 10000"/>
                <a:gd name="connsiteX309" fmla="*/ 3682 w 10126"/>
                <a:gd name="connsiteY309" fmla="*/ 5203 h 10000"/>
                <a:gd name="connsiteX310" fmla="*/ 3682 w 10126"/>
                <a:gd name="connsiteY310" fmla="*/ 5325 h 10000"/>
                <a:gd name="connsiteX311" fmla="*/ 3745 w 10126"/>
                <a:gd name="connsiteY311" fmla="*/ 5325 h 10000"/>
                <a:gd name="connsiteX312" fmla="*/ 3871 w 10126"/>
                <a:gd name="connsiteY312" fmla="*/ 5325 h 10000"/>
                <a:gd name="connsiteX313" fmla="*/ 3934 w 10126"/>
                <a:gd name="connsiteY313" fmla="*/ 5285 h 10000"/>
                <a:gd name="connsiteX314" fmla="*/ 3996 w 10126"/>
                <a:gd name="connsiteY314" fmla="*/ 5407 h 10000"/>
                <a:gd name="connsiteX315" fmla="*/ 4038 w 10126"/>
                <a:gd name="connsiteY315" fmla="*/ 5528 h 10000"/>
                <a:gd name="connsiteX316" fmla="*/ 4122 w 10126"/>
                <a:gd name="connsiteY316" fmla="*/ 5528 h 10000"/>
                <a:gd name="connsiteX317" fmla="*/ 4185 w 10126"/>
                <a:gd name="connsiteY317" fmla="*/ 5407 h 10000"/>
                <a:gd name="connsiteX318" fmla="*/ 4268 w 10126"/>
                <a:gd name="connsiteY318" fmla="*/ 5325 h 10000"/>
                <a:gd name="connsiteX319" fmla="*/ 4310 w 10126"/>
                <a:gd name="connsiteY319" fmla="*/ 5325 h 10000"/>
                <a:gd name="connsiteX320" fmla="*/ 4394 w 10126"/>
                <a:gd name="connsiteY320" fmla="*/ 5366 h 10000"/>
                <a:gd name="connsiteX321" fmla="*/ 4415 w 10126"/>
                <a:gd name="connsiteY321" fmla="*/ 5488 h 10000"/>
                <a:gd name="connsiteX322" fmla="*/ 4477 w 10126"/>
                <a:gd name="connsiteY322" fmla="*/ 5569 h 10000"/>
                <a:gd name="connsiteX323" fmla="*/ 4436 w 10126"/>
                <a:gd name="connsiteY323" fmla="*/ 5691 h 10000"/>
                <a:gd name="connsiteX324" fmla="*/ 4477 w 10126"/>
                <a:gd name="connsiteY324" fmla="*/ 5813 h 10000"/>
                <a:gd name="connsiteX325" fmla="*/ 4582 w 10126"/>
                <a:gd name="connsiteY325" fmla="*/ 5976 h 10000"/>
                <a:gd name="connsiteX326" fmla="*/ 4645 w 10126"/>
                <a:gd name="connsiteY326" fmla="*/ 6057 h 10000"/>
                <a:gd name="connsiteX327" fmla="*/ 4687 w 10126"/>
                <a:gd name="connsiteY327" fmla="*/ 6057 h 10000"/>
                <a:gd name="connsiteX328" fmla="*/ 4749 w 10126"/>
                <a:gd name="connsiteY328" fmla="*/ 6057 h 10000"/>
                <a:gd name="connsiteX329" fmla="*/ 4770 w 10126"/>
                <a:gd name="connsiteY329" fmla="*/ 5935 h 10000"/>
                <a:gd name="connsiteX330" fmla="*/ 4770 w 10126"/>
                <a:gd name="connsiteY330" fmla="*/ 5813 h 10000"/>
                <a:gd name="connsiteX331" fmla="*/ 4770 w 10126"/>
                <a:gd name="connsiteY331" fmla="*/ 5650 h 10000"/>
                <a:gd name="connsiteX332" fmla="*/ 4812 w 10126"/>
                <a:gd name="connsiteY332" fmla="*/ 5488 h 10000"/>
                <a:gd name="connsiteX333" fmla="*/ 4812 w 10126"/>
                <a:gd name="connsiteY333" fmla="*/ 5366 h 10000"/>
                <a:gd name="connsiteX334" fmla="*/ 4770 w 10126"/>
                <a:gd name="connsiteY334" fmla="*/ 5203 h 10000"/>
                <a:gd name="connsiteX335" fmla="*/ 4708 w 10126"/>
                <a:gd name="connsiteY335" fmla="*/ 5163 h 10000"/>
                <a:gd name="connsiteX336" fmla="*/ 4666 w 10126"/>
                <a:gd name="connsiteY336" fmla="*/ 5203 h 10000"/>
                <a:gd name="connsiteX337" fmla="*/ 4603 w 10126"/>
                <a:gd name="connsiteY337" fmla="*/ 5163 h 10000"/>
                <a:gd name="connsiteX338" fmla="*/ 4603 w 10126"/>
                <a:gd name="connsiteY338" fmla="*/ 5081 h 10000"/>
                <a:gd name="connsiteX339" fmla="*/ 4603 w 10126"/>
                <a:gd name="connsiteY339" fmla="*/ 4919 h 10000"/>
                <a:gd name="connsiteX340" fmla="*/ 4645 w 10126"/>
                <a:gd name="connsiteY340" fmla="*/ 4593 h 10000"/>
                <a:gd name="connsiteX341" fmla="*/ 4603 w 10126"/>
                <a:gd name="connsiteY341" fmla="*/ 4390 h 10000"/>
                <a:gd name="connsiteX342" fmla="*/ 4540 w 10126"/>
                <a:gd name="connsiteY342" fmla="*/ 4268 h 10000"/>
                <a:gd name="connsiteX343" fmla="*/ 4498 w 10126"/>
                <a:gd name="connsiteY343" fmla="*/ 4187 h 10000"/>
                <a:gd name="connsiteX344" fmla="*/ 4477 w 10126"/>
                <a:gd name="connsiteY344" fmla="*/ 4024 h 10000"/>
                <a:gd name="connsiteX345" fmla="*/ 4373 w 10126"/>
                <a:gd name="connsiteY345" fmla="*/ 3821 h 10000"/>
                <a:gd name="connsiteX346" fmla="*/ 4352 w 10126"/>
                <a:gd name="connsiteY346" fmla="*/ 3699 h 10000"/>
                <a:gd name="connsiteX347" fmla="*/ 4394 w 10126"/>
                <a:gd name="connsiteY347" fmla="*/ 3537 h 10000"/>
                <a:gd name="connsiteX348" fmla="*/ 4457 w 10126"/>
                <a:gd name="connsiteY348" fmla="*/ 3455 h 10000"/>
                <a:gd name="connsiteX349" fmla="*/ 4477 w 10126"/>
                <a:gd name="connsiteY349" fmla="*/ 3374 h 10000"/>
                <a:gd name="connsiteX350" fmla="*/ 4582 w 10126"/>
                <a:gd name="connsiteY350" fmla="*/ 3293 h 10000"/>
                <a:gd name="connsiteX351" fmla="*/ 4645 w 10126"/>
                <a:gd name="connsiteY351" fmla="*/ 3171 h 10000"/>
                <a:gd name="connsiteX352" fmla="*/ 4687 w 10126"/>
                <a:gd name="connsiteY352" fmla="*/ 3089 h 10000"/>
                <a:gd name="connsiteX353" fmla="*/ 4833 w 10126"/>
                <a:gd name="connsiteY353" fmla="*/ 2967 h 10000"/>
                <a:gd name="connsiteX354" fmla="*/ 5021 w 10126"/>
                <a:gd name="connsiteY354" fmla="*/ 2886 h 10000"/>
                <a:gd name="connsiteX355" fmla="*/ 5189 w 10126"/>
                <a:gd name="connsiteY355" fmla="*/ 2602 h 10000"/>
                <a:gd name="connsiteX356" fmla="*/ 5210 w 10126"/>
                <a:gd name="connsiteY356" fmla="*/ 2480 h 10000"/>
                <a:gd name="connsiteX357" fmla="*/ 5210 w 10126"/>
                <a:gd name="connsiteY357" fmla="*/ 2236 h 10000"/>
                <a:gd name="connsiteX358" fmla="*/ 5231 w 10126"/>
                <a:gd name="connsiteY358" fmla="*/ 2114 h 10000"/>
                <a:gd name="connsiteX359" fmla="*/ 5231 w 10126"/>
                <a:gd name="connsiteY359" fmla="*/ 1992 h 10000"/>
                <a:gd name="connsiteX360" fmla="*/ 5210 w 10126"/>
                <a:gd name="connsiteY360" fmla="*/ 1870 h 10000"/>
                <a:gd name="connsiteX361" fmla="*/ 5272 w 10126"/>
                <a:gd name="connsiteY361" fmla="*/ 1829 h 10000"/>
                <a:gd name="connsiteX362" fmla="*/ 5461 w 10126"/>
                <a:gd name="connsiteY362" fmla="*/ 1870 h 10000"/>
                <a:gd name="connsiteX363" fmla="*/ 5523 w 10126"/>
                <a:gd name="connsiteY363" fmla="*/ 1992 h 10000"/>
                <a:gd name="connsiteX364" fmla="*/ 5586 w 10126"/>
                <a:gd name="connsiteY364" fmla="*/ 2033 h 10000"/>
                <a:gd name="connsiteX365" fmla="*/ 5607 w 10126"/>
                <a:gd name="connsiteY365" fmla="*/ 1870 h 10000"/>
                <a:gd name="connsiteX366" fmla="*/ 5649 w 10126"/>
                <a:gd name="connsiteY366" fmla="*/ 1829 h 10000"/>
                <a:gd name="connsiteX367" fmla="*/ 5691 w 10126"/>
                <a:gd name="connsiteY367" fmla="*/ 1707 h 10000"/>
                <a:gd name="connsiteX368" fmla="*/ 5691 w 10126"/>
                <a:gd name="connsiteY368" fmla="*/ 1545 h 10000"/>
                <a:gd name="connsiteX369" fmla="*/ 5670 w 10126"/>
                <a:gd name="connsiteY369" fmla="*/ 1423 h 10000"/>
                <a:gd name="connsiteX370" fmla="*/ 5670 w 10126"/>
                <a:gd name="connsiteY370" fmla="*/ 1301 h 10000"/>
                <a:gd name="connsiteX371" fmla="*/ 5691 w 10126"/>
                <a:gd name="connsiteY371" fmla="*/ 1057 h 10000"/>
                <a:gd name="connsiteX372" fmla="*/ 5733 w 10126"/>
                <a:gd name="connsiteY372" fmla="*/ 1098 h 10000"/>
                <a:gd name="connsiteX373" fmla="*/ 5795 w 10126"/>
                <a:gd name="connsiteY373" fmla="*/ 1138 h 10000"/>
                <a:gd name="connsiteX374" fmla="*/ 5900 w 10126"/>
                <a:gd name="connsiteY374" fmla="*/ 1301 h 10000"/>
                <a:gd name="connsiteX375" fmla="*/ 5942 w 10126"/>
                <a:gd name="connsiteY375" fmla="*/ 1423 h 10000"/>
                <a:gd name="connsiteX376" fmla="*/ 5963 w 10126"/>
                <a:gd name="connsiteY376" fmla="*/ 1545 h 10000"/>
                <a:gd name="connsiteX377" fmla="*/ 5984 w 10126"/>
                <a:gd name="connsiteY377" fmla="*/ 1667 h 10000"/>
                <a:gd name="connsiteX378" fmla="*/ 6047 w 10126"/>
                <a:gd name="connsiteY378" fmla="*/ 1707 h 10000"/>
                <a:gd name="connsiteX379" fmla="*/ 6214 w 10126"/>
                <a:gd name="connsiteY379" fmla="*/ 1748 h 10000"/>
                <a:gd name="connsiteX380" fmla="*/ 6339 w 10126"/>
                <a:gd name="connsiteY380" fmla="*/ 1789 h 10000"/>
                <a:gd name="connsiteX381" fmla="*/ 6402 w 10126"/>
                <a:gd name="connsiteY381" fmla="*/ 1748 h 10000"/>
                <a:gd name="connsiteX382" fmla="*/ 6465 w 10126"/>
                <a:gd name="connsiteY382" fmla="*/ 1707 h 10000"/>
                <a:gd name="connsiteX383" fmla="*/ 6507 w 10126"/>
                <a:gd name="connsiteY383" fmla="*/ 1504 h 10000"/>
                <a:gd name="connsiteX384" fmla="*/ 6549 w 10126"/>
                <a:gd name="connsiteY384" fmla="*/ 1545 h 10000"/>
                <a:gd name="connsiteX385" fmla="*/ 6611 w 10126"/>
                <a:gd name="connsiteY385" fmla="*/ 1585 h 10000"/>
                <a:gd name="connsiteX386" fmla="*/ 6674 w 10126"/>
                <a:gd name="connsiteY386" fmla="*/ 1545 h 10000"/>
                <a:gd name="connsiteX387" fmla="*/ 6737 w 10126"/>
                <a:gd name="connsiteY387" fmla="*/ 1585 h 10000"/>
                <a:gd name="connsiteX388" fmla="*/ 6800 w 10126"/>
                <a:gd name="connsiteY388" fmla="*/ 1667 h 10000"/>
                <a:gd name="connsiteX389" fmla="*/ 6841 w 10126"/>
                <a:gd name="connsiteY389" fmla="*/ 1545 h 10000"/>
                <a:gd name="connsiteX390" fmla="*/ 6821 w 10126"/>
                <a:gd name="connsiteY390" fmla="*/ 1423 h 10000"/>
                <a:gd name="connsiteX391" fmla="*/ 6841 w 10126"/>
                <a:gd name="connsiteY391" fmla="*/ 1179 h 10000"/>
                <a:gd name="connsiteX392" fmla="*/ 6925 w 10126"/>
                <a:gd name="connsiteY392" fmla="*/ 1057 h 10000"/>
                <a:gd name="connsiteX393" fmla="*/ 6946 w 10126"/>
                <a:gd name="connsiteY393" fmla="*/ 976 h 10000"/>
                <a:gd name="connsiteX394" fmla="*/ 7051 w 10126"/>
                <a:gd name="connsiteY394" fmla="*/ 854 h 10000"/>
                <a:gd name="connsiteX395" fmla="*/ 7113 w 10126"/>
                <a:gd name="connsiteY395" fmla="*/ 894 h 10000"/>
                <a:gd name="connsiteX396" fmla="*/ 7134 w 10126"/>
                <a:gd name="connsiteY396" fmla="*/ 772 h 10000"/>
                <a:gd name="connsiteX397" fmla="*/ 7155 w 10126"/>
                <a:gd name="connsiteY397" fmla="*/ 447 h 10000"/>
                <a:gd name="connsiteX398" fmla="*/ 7155 w 10126"/>
                <a:gd name="connsiteY398" fmla="*/ 244 h 10000"/>
                <a:gd name="connsiteX399" fmla="*/ 7134 w 10126"/>
                <a:gd name="connsiteY399" fmla="*/ 122 h 10000"/>
                <a:gd name="connsiteX400" fmla="*/ 7155 w 10126"/>
                <a:gd name="connsiteY40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</a:cxnLst>
              <a:rect l="l" t="t" r="r" b="b"/>
              <a:pathLst>
                <a:path w="10126" h="10000">
                  <a:moveTo>
                    <a:pt x="7155" y="0"/>
                  </a:moveTo>
                  <a:lnTo>
                    <a:pt x="7260" y="0"/>
                  </a:lnTo>
                  <a:lnTo>
                    <a:pt x="7364" y="0"/>
                  </a:lnTo>
                  <a:cubicBezTo>
                    <a:pt x="7371" y="54"/>
                    <a:pt x="7378" y="109"/>
                    <a:pt x="7385" y="163"/>
                  </a:cubicBezTo>
                  <a:cubicBezTo>
                    <a:pt x="7378" y="176"/>
                    <a:pt x="7371" y="190"/>
                    <a:pt x="7364" y="203"/>
                  </a:cubicBezTo>
                  <a:lnTo>
                    <a:pt x="7490" y="163"/>
                  </a:lnTo>
                  <a:cubicBezTo>
                    <a:pt x="7497" y="122"/>
                    <a:pt x="7504" y="82"/>
                    <a:pt x="7511" y="41"/>
                  </a:cubicBezTo>
                  <a:lnTo>
                    <a:pt x="7616" y="41"/>
                  </a:lnTo>
                  <a:cubicBezTo>
                    <a:pt x="7644" y="68"/>
                    <a:pt x="7671" y="95"/>
                    <a:pt x="7699" y="122"/>
                  </a:cubicBezTo>
                  <a:lnTo>
                    <a:pt x="7762" y="122"/>
                  </a:lnTo>
                  <a:lnTo>
                    <a:pt x="7867" y="244"/>
                  </a:lnTo>
                  <a:lnTo>
                    <a:pt x="7971" y="325"/>
                  </a:lnTo>
                  <a:lnTo>
                    <a:pt x="8076" y="407"/>
                  </a:lnTo>
                  <a:lnTo>
                    <a:pt x="8118" y="407"/>
                  </a:lnTo>
                  <a:lnTo>
                    <a:pt x="8180" y="366"/>
                  </a:lnTo>
                  <a:cubicBezTo>
                    <a:pt x="8201" y="352"/>
                    <a:pt x="8222" y="339"/>
                    <a:pt x="8243" y="325"/>
                  </a:cubicBezTo>
                  <a:cubicBezTo>
                    <a:pt x="8257" y="352"/>
                    <a:pt x="8271" y="380"/>
                    <a:pt x="8285" y="407"/>
                  </a:cubicBezTo>
                  <a:cubicBezTo>
                    <a:pt x="8306" y="420"/>
                    <a:pt x="8327" y="434"/>
                    <a:pt x="8348" y="447"/>
                  </a:cubicBezTo>
                  <a:cubicBezTo>
                    <a:pt x="8369" y="488"/>
                    <a:pt x="8390" y="528"/>
                    <a:pt x="8411" y="569"/>
                  </a:cubicBezTo>
                  <a:cubicBezTo>
                    <a:pt x="8460" y="623"/>
                    <a:pt x="8508" y="678"/>
                    <a:pt x="8557" y="732"/>
                  </a:cubicBezTo>
                  <a:cubicBezTo>
                    <a:pt x="8578" y="745"/>
                    <a:pt x="8599" y="759"/>
                    <a:pt x="8620" y="772"/>
                  </a:cubicBezTo>
                  <a:cubicBezTo>
                    <a:pt x="8655" y="759"/>
                    <a:pt x="8689" y="745"/>
                    <a:pt x="8724" y="732"/>
                  </a:cubicBezTo>
                  <a:lnTo>
                    <a:pt x="8913" y="772"/>
                  </a:lnTo>
                  <a:lnTo>
                    <a:pt x="8975" y="772"/>
                  </a:lnTo>
                  <a:cubicBezTo>
                    <a:pt x="9003" y="677"/>
                    <a:pt x="9031" y="583"/>
                    <a:pt x="9059" y="488"/>
                  </a:cubicBezTo>
                  <a:lnTo>
                    <a:pt x="9101" y="488"/>
                  </a:lnTo>
                  <a:cubicBezTo>
                    <a:pt x="9122" y="474"/>
                    <a:pt x="9143" y="461"/>
                    <a:pt x="9164" y="447"/>
                  </a:cubicBezTo>
                  <a:lnTo>
                    <a:pt x="9268" y="488"/>
                  </a:lnTo>
                  <a:cubicBezTo>
                    <a:pt x="9282" y="501"/>
                    <a:pt x="9296" y="515"/>
                    <a:pt x="9310" y="528"/>
                  </a:cubicBezTo>
                  <a:cubicBezTo>
                    <a:pt x="9324" y="569"/>
                    <a:pt x="9338" y="609"/>
                    <a:pt x="9352" y="650"/>
                  </a:cubicBezTo>
                  <a:lnTo>
                    <a:pt x="9436" y="650"/>
                  </a:lnTo>
                  <a:cubicBezTo>
                    <a:pt x="9457" y="677"/>
                    <a:pt x="9477" y="705"/>
                    <a:pt x="9498" y="732"/>
                  </a:cubicBezTo>
                  <a:lnTo>
                    <a:pt x="9561" y="732"/>
                  </a:lnTo>
                  <a:cubicBezTo>
                    <a:pt x="9575" y="718"/>
                    <a:pt x="9589" y="705"/>
                    <a:pt x="9603" y="691"/>
                  </a:cubicBezTo>
                  <a:lnTo>
                    <a:pt x="9645" y="772"/>
                  </a:lnTo>
                  <a:cubicBezTo>
                    <a:pt x="9673" y="881"/>
                    <a:pt x="9701" y="989"/>
                    <a:pt x="9729" y="1098"/>
                  </a:cubicBezTo>
                  <a:cubicBezTo>
                    <a:pt x="9736" y="1166"/>
                    <a:pt x="9742" y="1233"/>
                    <a:pt x="9749" y="1301"/>
                  </a:cubicBezTo>
                  <a:cubicBezTo>
                    <a:pt x="9742" y="1342"/>
                    <a:pt x="9736" y="1382"/>
                    <a:pt x="9729" y="1423"/>
                  </a:cubicBezTo>
                  <a:cubicBezTo>
                    <a:pt x="9715" y="1464"/>
                    <a:pt x="9701" y="1504"/>
                    <a:pt x="9687" y="1545"/>
                  </a:cubicBezTo>
                  <a:lnTo>
                    <a:pt x="9666" y="1707"/>
                  </a:lnTo>
                  <a:cubicBezTo>
                    <a:pt x="9659" y="1788"/>
                    <a:pt x="9652" y="1870"/>
                    <a:pt x="9645" y="1951"/>
                  </a:cubicBezTo>
                  <a:cubicBezTo>
                    <a:pt x="9652" y="1992"/>
                    <a:pt x="9659" y="2032"/>
                    <a:pt x="9666" y="2073"/>
                  </a:cubicBezTo>
                  <a:cubicBezTo>
                    <a:pt x="9680" y="2087"/>
                    <a:pt x="9694" y="2100"/>
                    <a:pt x="9708" y="2114"/>
                  </a:cubicBezTo>
                  <a:cubicBezTo>
                    <a:pt x="9715" y="2155"/>
                    <a:pt x="9722" y="2195"/>
                    <a:pt x="9729" y="2236"/>
                  </a:cubicBezTo>
                  <a:cubicBezTo>
                    <a:pt x="9743" y="2263"/>
                    <a:pt x="9756" y="2290"/>
                    <a:pt x="9770" y="2317"/>
                  </a:cubicBezTo>
                  <a:cubicBezTo>
                    <a:pt x="9784" y="2358"/>
                    <a:pt x="9798" y="2398"/>
                    <a:pt x="9812" y="2439"/>
                  </a:cubicBezTo>
                  <a:cubicBezTo>
                    <a:pt x="9819" y="2480"/>
                    <a:pt x="9826" y="2520"/>
                    <a:pt x="9833" y="2561"/>
                  </a:cubicBezTo>
                  <a:cubicBezTo>
                    <a:pt x="9840" y="2615"/>
                    <a:pt x="9847" y="2670"/>
                    <a:pt x="9854" y="2724"/>
                  </a:cubicBezTo>
                  <a:cubicBezTo>
                    <a:pt x="9868" y="2765"/>
                    <a:pt x="9882" y="2805"/>
                    <a:pt x="9896" y="2846"/>
                  </a:cubicBezTo>
                  <a:cubicBezTo>
                    <a:pt x="9917" y="2859"/>
                    <a:pt x="9938" y="2873"/>
                    <a:pt x="9959" y="2886"/>
                  </a:cubicBezTo>
                  <a:cubicBezTo>
                    <a:pt x="9980" y="2927"/>
                    <a:pt x="10000" y="2967"/>
                    <a:pt x="10021" y="3008"/>
                  </a:cubicBezTo>
                  <a:cubicBezTo>
                    <a:pt x="10014" y="3049"/>
                    <a:pt x="10007" y="3089"/>
                    <a:pt x="10000" y="3130"/>
                  </a:cubicBezTo>
                  <a:cubicBezTo>
                    <a:pt x="10014" y="3171"/>
                    <a:pt x="10028" y="3211"/>
                    <a:pt x="10042" y="3252"/>
                  </a:cubicBezTo>
                  <a:lnTo>
                    <a:pt x="10126" y="3333"/>
                  </a:lnTo>
                  <a:cubicBezTo>
                    <a:pt x="10098" y="3374"/>
                    <a:pt x="10070" y="3414"/>
                    <a:pt x="10042" y="3455"/>
                  </a:cubicBezTo>
                  <a:cubicBezTo>
                    <a:pt x="10049" y="3496"/>
                    <a:pt x="10056" y="3536"/>
                    <a:pt x="10063" y="3577"/>
                  </a:cubicBezTo>
                  <a:lnTo>
                    <a:pt x="10063" y="3699"/>
                  </a:lnTo>
                  <a:cubicBezTo>
                    <a:pt x="10049" y="3740"/>
                    <a:pt x="10035" y="3780"/>
                    <a:pt x="10021" y="3821"/>
                  </a:cubicBezTo>
                  <a:lnTo>
                    <a:pt x="9959" y="3862"/>
                  </a:lnTo>
                  <a:cubicBezTo>
                    <a:pt x="9980" y="3916"/>
                    <a:pt x="10000" y="3970"/>
                    <a:pt x="10021" y="4024"/>
                  </a:cubicBezTo>
                  <a:lnTo>
                    <a:pt x="10021" y="4228"/>
                  </a:lnTo>
                  <a:lnTo>
                    <a:pt x="10042" y="4390"/>
                  </a:lnTo>
                  <a:cubicBezTo>
                    <a:pt x="10049" y="4431"/>
                    <a:pt x="10056" y="4471"/>
                    <a:pt x="10063" y="4512"/>
                  </a:cubicBezTo>
                  <a:lnTo>
                    <a:pt x="9959" y="4553"/>
                  </a:lnTo>
                  <a:lnTo>
                    <a:pt x="9833" y="4634"/>
                  </a:lnTo>
                  <a:cubicBezTo>
                    <a:pt x="9819" y="4620"/>
                    <a:pt x="9805" y="4607"/>
                    <a:pt x="9791" y="4593"/>
                  </a:cubicBezTo>
                  <a:lnTo>
                    <a:pt x="9729" y="4634"/>
                  </a:lnTo>
                  <a:lnTo>
                    <a:pt x="9624" y="4675"/>
                  </a:lnTo>
                  <a:cubicBezTo>
                    <a:pt x="9610" y="4634"/>
                    <a:pt x="9596" y="4594"/>
                    <a:pt x="9582" y="4553"/>
                  </a:cubicBezTo>
                  <a:lnTo>
                    <a:pt x="9457" y="4431"/>
                  </a:lnTo>
                  <a:lnTo>
                    <a:pt x="9394" y="4431"/>
                  </a:lnTo>
                  <a:cubicBezTo>
                    <a:pt x="9380" y="4445"/>
                    <a:pt x="9366" y="4458"/>
                    <a:pt x="9352" y="4472"/>
                  </a:cubicBezTo>
                  <a:lnTo>
                    <a:pt x="9352" y="4593"/>
                  </a:lnTo>
                  <a:cubicBezTo>
                    <a:pt x="9331" y="4620"/>
                    <a:pt x="9310" y="4648"/>
                    <a:pt x="9289" y="4675"/>
                  </a:cubicBezTo>
                  <a:cubicBezTo>
                    <a:pt x="9268" y="4688"/>
                    <a:pt x="9247" y="4702"/>
                    <a:pt x="9226" y="4715"/>
                  </a:cubicBezTo>
                  <a:lnTo>
                    <a:pt x="9226" y="4837"/>
                  </a:lnTo>
                  <a:cubicBezTo>
                    <a:pt x="9254" y="4851"/>
                    <a:pt x="9282" y="4864"/>
                    <a:pt x="9310" y="4878"/>
                  </a:cubicBezTo>
                  <a:lnTo>
                    <a:pt x="9436" y="4919"/>
                  </a:lnTo>
                  <a:lnTo>
                    <a:pt x="9498" y="4919"/>
                  </a:lnTo>
                  <a:cubicBezTo>
                    <a:pt x="9512" y="4960"/>
                    <a:pt x="9526" y="5000"/>
                    <a:pt x="9540" y="5041"/>
                  </a:cubicBezTo>
                  <a:cubicBezTo>
                    <a:pt x="9554" y="5082"/>
                    <a:pt x="9568" y="5122"/>
                    <a:pt x="9582" y="5163"/>
                  </a:cubicBezTo>
                  <a:lnTo>
                    <a:pt x="9582" y="5325"/>
                  </a:lnTo>
                  <a:cubicBezTo>
                    <a:pt x="9561" y="5339"/>
                    <a:pt x="9540" y="5352"/>
                    <a:pt x="9519" y="5366"/>
                  </a:cubicBezTo>
                  <a:lnTo>
                    <a:pt x="9540" y="5528"/>
                  </a:lnTo>
                  <a:cubicBezTo>
                    <a:pt x="9519" y="5569"/>
                    <a:pt x="9498" y="5609"/>
                    <a:pt x="9477" y="5650"/>
                  </a:cubicBezTo>
                  <a:cubicBezTo>
                    <a:pt x="9435" y="5704"/>
                    <a:pt x="9394" y="5759"/>
                    <a:pt x="9352" y="5813"/>
                  </a:cubicBezTo>
                  <a:lnTo>
                    <a:pt x="9289" y="5732"/>
                  </a:lnTo>
                  <a:lnTo>
                    <a:pt x="9289" y="5935"/>
                  </a:lnTo>
                  <a:cubicBezTo>
                    <a:pt x="9310" y="6016"/>
                    <a:pt x="9331" y="6098"/>
                    <a:pt x="9352" y="6179"/>
                  </a:cubicBezTo>
                  <a:lnTo>
                    <a:pt x="9352" y="6260"/>
                  </a:lnTo>
                  <a:cubicBezTo>
                    <a:pt x="9331" y="6301"/>
                    <a:pt x="9310" y="6341"/>
                    <a:pt x="9289" y="6382"/>
                  </a:cubicBezTo>
                  <a:cubicBezTo>
                    <a:pt x="9282" y="6423"/>
                    <a:pt x="9275" y="6463"/>
                    <a:pt x="9268" y="6504"/>
                  </a:cubicBezTo>
                  <a:cubicBezTo>
                    <a:pt x="9289" y="6545"/>
                    <a:pt x="9310" y="6585"/>
                    <a:pt x="9331" y="6626"/>
                  </a:cubicBezTo>
                  <a:lnTo>
                    <a:pt x="9331" y="6748"/>
                  </a:lnTo>
                  <a:cubicBezTo>
                    <a:pt x="9352" y="6734"/>
                    <a:pt x="9373" y="6721"/>
                    <a:pt x="9394" y="6707"/>
                  </a:cubicBezTo>
                  <a:lnTo>
                    <a:pt x="9394" y="6911"/>
                  </a:lnTo>
                  <a:cubicBezTo>
                    <a:pt x="9387" y="6952"/>
                    <a:pt x="9380" y="6992"/>
                    <a:pt x="9373" y="7033"/>
                  </a:cubicBezTo>
                  <a:lnTo>
                    <a:pt x="9352" y="7195"/>
                  </a:lnTo>
                  <a:lnTo>
                    <a:pt x="9415" y="7276"/>
                  </a:lnTo>
                  <a:cubicBezTo>
                    <a:pt x="9394" y="7290"/>
                    <a:pt x="9373" y="7303"/>
                    <a:pt x="9352" y="7317"/>
                  </a:cubicBezTo>
                  <a:cubicBezTo>
                    <a:pt x="9338" y="7331"/>
                    <a:pt x="9324" y="7344"/>
                    <a:pt x="9310" y="7358"/>
                  </a:cubicBezTo>
                  <a:cubicBezTo>
                    <a:pt x="9289" y="7344"/>
                    <a:pt x="9268" y="7331"/>
                    <a:pt x="9247" y="7317"/>
                  </a:cubicBezTo>
                  <a:lnTo>
                    <a:pt x="9205" y="7317"/>
                  </a:lnTo>
                  <a:lnTo>
                    <a:pt x="9143" y="7317"/>
                  </a:lnTo>
                  <a:cubicBezTo>
                    <a:pt x="9129" y="7358"/>
                    <a:pt x="9115" y="7398"/>
                    <a:pt x="9101" y="7439"/>
                  </a:cubicBezTo>
                  <a:cubicBezTo>
                    <a:pt x="9094" y="7480"/>
                    <a:pt x="9087" y="7520"/>
                    <a:pt x="9080" y="7561"/>
                  </a:cubicBezTo>
                  <a:cubicBezTo>
                    <a:pt x="9059" y="7602"/>
                    <a:pt x="9038" y="7642"/>
                    <a:pt x="9017" y="7683"/>
                  </a:cubicBezTo>
                  <a:cubicBezTo>
                    <a:pt x="8996" y="7737"/>
                    <a:pt x="8975" y="7792"/>
                    <a:pt x="8954" y="7846"/>
                  </a:cubicBezTo>
                  <a:cubicBezTo>
                    <a:pt x="8919" y="7900"/>
                    <a:pt x="8885" y="7954"/>
                    <a:pt x="8850" y="8008"/>
                  </a:cubicBezTo>
                  <a:cubicBezTo>
                    <a:pt x="8829" y="8022"/>
                    <a:pt x="8808" y="8035"/>
                    <a:pt x="8787" y="8049"/>
                  </a:cubicBezTo>
                  <a:cubicBezTo>
                    <a:pt x="8780" y="8117"/>
                    <a:pt x="8773" y="8184"/>
                    <a:pt x="8766" y="8252"/>
                  </a:cubicBezTo>
                  <a:lnTo>
                    <a:pt x="8766" y="8374"/>
                  </a:lnTo>
                  <a:cubicBezTo>
                    <a:pt x="8787" y="8415"/>
                    <a:pt x="8808" y="8455"/>
                    <a:pt x="8829" y="8496"/>
                  </a:cubicBezTo>
                  <a:cubicBezTo>
                    <a:pt x="8836" y="8537"/>
                    <a:pt x="8843" y="8577"/>
                    <a:pt x="8850" y="8618"/>
                  </a:cubicBezTo>
                  <a:lnTo>
                    <a:pt x="8745" y="8537"/>
                  </a:lnTo>
                  <a:cubicBezTo>
                    <a:pt x="8717" y="8510"/>
                    <a:pt x="8690" y="8482"/>
                    <a:pt x="8662" y="8455"/>
                  </a:cubicBezTo>
                  <a:lnTo>
                    <a:pt x="8578" y="8455"/>
                  </a:lnTo>
                  <a:cubicBezTo>
                    <a:pt x="8550" y="8482"/>
                    <a:pt x="8522" y="8510"/>
                    <a:pt x="8494" y="8537"/>
                  </a:cubicBezTo>
                  <a:lnTo>
                    <a:pt x="8327" y="8537"/>
                  </a:lnTo>
                  <a:cubicBezTo>
                    <a:pt x="8320" y="8578"/>
                    <a:pt x="8313" y="8618"/>
                    <a:pt x="8306" y="8659"/>
                  </a:cubicBezTo>
                  <a:cubicBezTo>
                    <a:pt x="8292" y="8672"/>
                    <a:pt x="8278" y="8686"/>
                    <a:pt x="8264" y="8699"/>
                  </a:cubicBezTo>
                  <a:lnTo>
                    <a:pt x="8201" y="8699"/>
                  </a:lnTo>
                  <a:cubicBezTo>
                    <a:pt x="8187" y="8753"/>
                    <a:pt x="8173" y="8808"/>
                    <a:pt x="8159" y="8862"/>
                  </a:cubicBezTo>
                  <a:cubicBezTo>
                    <a:pt x="8138" y="8889"/>
                    <a:pt x="8118" y="8916"/>
                    <a:pt x="8097" y="8943"/>
                  </a:cubicBezTo>
                  <a:lnTo>
                    <a:pt x="8034" y="8862"/>
                  </a:lnTo>
                  <a:lnTo>
                    <a:pt x="7762" y="8902"/>
                  </a:lnTo>
                  <a:lnTo>
                    <a:pt x="7574" y="8902"/>
                  </a:lnTo>
                  <a:cubicBezTo>
                    <a:pt x="7546" y="8916"/>
                    <a:pt x="7518" y="8929"/>
                    <a:pt x="7490" y="8943"/>
                  </a:cubicBezTo>
                  <a:cubicBezTo>
                    <a:pt x="7476" y="8984"/>
                    <a:pt x="7462" y="9024"/>
                    <a:pt x="7448" y="9065"/>
                  </a:cubicBezTo>
                  <a:lnTo>
                    <a:pt x="7344" y="9065"/>
                  </a:lnTo>
                  <a:cubicBezTo>
                    <a:pt x="7323" y="9079"/>
                    <a:pt x="7302" y="9092"/>
                    <a:pt x="7281" y="9106"/>
                  </a:cubicBezTo>
                  <a:cubicBezTo>
                    <a:pt x="7274" y="9147"/>
                    <a:pt x="7267" y="9187"/>
                    <a:pt x="7260" y="9228"/>
                  </a:cubicBezTo>
                  <a:cubicBezTo>
                    <a:pt x="7253" y="9269"/>
                    <a:pt x="7246" y="9309"/>
                    <a:pt x="7239" y="9350"/>
                  </a:cubicBezTo>
                  <a:cubicBezTo>
                    <a:pt x="7232" y="9391"/>
                    <a:pt x="7225" y="9431"/>
                    <a:pt x="7218" y="9472"/>
                  </a:cubicBezTo>
                  <a:cubicBezTo>
                    <a:pt x="7197" y="9485"/>
                    <a:pt x="7176" y="9499"/>
                    <a:pt x="7155" y="9512"/>
                  </a:cubicBezTo>
                  <a:cubicBezTo>
                    <a:pt x="7141" y="9553"/>
                    <a:pt x="7127" y="9593"/>
                    <a:pt x="7113" y="9634"/>
                  </a:cubicBezTo>
                  <a:cubicBezTo>
                    <a:pt x="7092" y="9661"/>
                    <a:pt x="7072" y="9688"/>
                    <a:pt x="7051" y="9715"/>
                  </a:cubicBezTo>
                  <a:cubicBezTo>
                    <a:pt x="7037" y="9742"/>
                    <a:pt x="7023" y="9770"/>
                    <a:pt x="7009" y="9797"/>
                  </a:cubicBezTo>
                  <a:lnTo>
                    <a:pt x="6946" y="9878"/>
                  </a:lnTo>
                  <a:cubicBezTo>
                    <a:pt x="6939" y="9919"/>
                    <a:pt x="6932" y="9959"/>
                    <a:pt x="6925" y="10000"/>
                  </a:cubicBezTo>
                  <a:lnTo>
                    <a:pt x="6841" y="9919"/>
                  </a:lnTo>
                  <a:lnTo>
                    <a:pt x="6779" y="9919"/>
                  </a:lnTo>
                  <a:cubicBezTo>
                    <a:pt x="6758" y="9905"/>
                    <a:pt x="6737" y="9892"/>
                    <a:pt x="6716" y="9878"/>
                  </a:cubicBezTo>
                  <a:cubicBezTo>
                    <a:pt x="6688" y="9864"/>
                    <a:pt x="6660" y="9851"/>
                    <a:pt x="6632" y="9837"/>
                  </a:cubicBezTo>
                  <a:lnTo>
                    <a:pt x="6360" y="9837"/>
                  </a:lnTo>
                  <a:lnTo>
                    <a:pt x="6256" y="9715"/>
                  </a:lnTo>
                  <a:lnTo>
                    <a:pt x="6193" y="9715"/>
                  </a:lnTo>
                  <a:lnTo>
                    <a:pt x="6130" y="9715"/>
                  </a:lnTo>
                  <a:lnTo>
                    <a:pt x="6005" y="9634"/>
                  </a:lnTo>
                  <a:lnTo>
                    <a:pt x="5879" y="9634"/>
                  </a:lnTo>
                  <a:lnTo>
                    <a:pt x="5775" y="9634"/>
                  </a:lnTo>
                  <a:lnTo>
                    <a:pt x="5712" y="9634"/>
                  </a:lnTo>
                  <a:lnTo>
                    <a:pt x="5544" y="9512"/>
                  </a:lnTo>
                  <a:lnTo>
                    <a:pt x="5503" y="9512"/>
                  </a:lnTo>
                  <a:lnTo>
                    <a:pt x="5377" y="9472"/>
                  </a:lnTo>
                  <a:cubicBezTo>
                    <a:pt x="5349" y="9458"/>
                    <a:pt x="5321" y="9445"/>
                    <a:pt x="5293" y="9431"/>
                  </a:cubicBezTo>
                  <a:lnTo>
                    <a:pt x="5168" y="9512"/>
                  </a:lnTo>
                  <a:lnTo>
                    <a:pt x="5105" y="9512"/>
                  </a:lnTo>
                  <a:lnTo>
                    <a:pt x="5000" y="9390"/>
                  </a:lnTo>
                  <a:cubicBezTo>
                    <a:pt x="4958" y="9377"/>
                    <a:pt x="4917" y="9363"/>
                    <a:pt x="4875" y="9350"/>
                  </a:cubicBezTo>
                  <a:lnTo>
                    <a:pt x="4561" y="9350"/>
                  </a:lnTo>
                  <a:cubicBezTo>
                    <a:pt x="4540" y="9323"/>
                    <a:pt x="4519" y="9295"/>
                    <a:pt x="4498" y="9268"/>
                  </a:cubicBezTo>
                  <a:cubicBezTo>
                    <a:pt x="4477" y="9255"/>
                    <a:pt x="4457" y="9241"/>
                    <a:pt x="4436" y="9228"/>
                  </a:cubicBezTo>
                  <a:cubicBezTo>
                    <a:pt x="4415" y="9214"/>
                    <a:pt x="4394" y="9201"/>
                    <a:pt x="4373" y="9187"/>
                  </a:cubicBezTo>
                  <a:lnTo>
                    <a:pt x="4289" y="9187"/>
                  </a:lnTo>
                  <a:cubicBezTo>
                    <a:pt x="4261" y="9201"/>
                    <a:pt x="4233" y="9214"/>
                    <a:pt x="4205" y="9228"/>
                  </a:cubicBezTo>
                  <a:cubicBezTo>
                    <a:pt x="4177" y="9201"/>
                    <a:pt x="4150" y="9173"/>
                    <a:pt x="4122" y="9146"/>
                  </a:cubicBezTo>
                  <a:cubicBezTo>
                    <a:pt x="4101" y="9133"/>
                    <a:pt x="4080" y="9119"/>
                    <a:pt x="4059" y="9106"/>
                  </a:cubicBezTo>
                  <a:cubicBezTo>
                    <a:pt x="4038" y="9092"/>
                    <a:pt x="4017" y="9079"/>
                    <a:pt x="3996" y="9065"/>
                  </a:cubicBezTo>
                  <a:cubicBezTo>
                    <a:pt x="3975" y="9011"/>
                    <a:pt x="3955" y="8956"/>
                    <a:pt x="3934" y="8902"/>
                  </a:cubicBezTo>
                  <a:cubicBezTo>
                    <a:pt x="3920" y="8861"/>
                    <a:pt x="3906" y="8821"/>
                    <a:pt x="3892" y="8780"/>
                  </a:cubicBezTo>
                  <a:cubicBezTo>
                    <a:pt x="3864" y="8767"/>
                    <a:pt x="3836" y="8753"/>
                    <a:pt x="3808" y="8740"/>
                  </a:cubicBezTo>
                  <a:lnTo>
                    <a:pt x="3787" y="8659"/>
                  </a:lnTo>
                  <a:cubicBezTo>
                    <a:pt x="3794" y="8605"/>
                    <a:pt x="3801" y="8550"/>
                    <a:pt x="3808" y="8496"/>
                  </a:cubicBezTo>
                  <a:lnTo>
                    <a:pt x="3766" y="8415"/>
                  </a:lnTo>
                  <a:lnTo>
                    <a:pt x="3703" y="8415"/>
                  </a:lnTo>
                  <a:cubicBezTo>
                    <a:pt x="3689" y="8388"/>
                    <a:pt x="3676" y="8360"/>
                    <a:pt x="3662" y="8333"/>
                  </a:cubicBezTo>
                  <a:cubicBezTo>
                    <a:pt x="3641" y="8320"/>
                    <a:pt x="3620" y="8306"/>
                    <a:pt x="3599" y="8293"/>
                  </a:cubicBezTo>
                  <a:lnTo>
                    <a:pt x="3599" y="8171"/>
                  </a:lnTo>
                  <a:lnTo>
                    <a:pt x="3599" y="8049"/>
                  </a:lnTo>
                  <a:cubicBezTo>
                    <a:pt x="3592" y="7995"/>
                    <a:pt x="3585" y="7940"/>
                    <a:pt x="3578" y="7886"/>
                  </a:cubicBezTo>
                  <a:lnTo>
                    <a:pt x="3662" y="7805"/>
                  </a:lnTo>
                  <a:cubicBezTo>
                    <a:pt x="3669" y="7751"/>
                    <a:pt x="3675" y="7696"/>
                    <a:pt x="3682" y="7642"/>
                  </a:cubicBezTo>
                  <a:lnTo>
                    <a:pt x="3578" y="7642"/>
                  </a:lnTo>
                  <a:lnTo>
                    <a:pt x="3452" y="7805"/>
                  </a:lnTo>
                  <a:lnTo>
                    <a:pt x="3348" y="7805"/>
                  </a:lnTo>
                  <a:cubicBezTo>
                    <a:pt x="3327" y="7819"/>
                    <a:pt x="3306" y="7832"/>
                    <a:pt x="3285" y="7846"/>
                  </a:cubicBezTo>
                  <a:lnTo>
                    <a:pt x="3243" y="7927"/>
                  </a:lnTo>
                  <a:lnTo>
                    <a:pt x="3139" y="8008"/>
                  </a:lnTo>
                  <a:lnTo>
                    <a:pt x="3076" y="8089"/>
                  </a:lnTo>
                  <a:lnTo>
                    <a:pt x="3013" y="8008"/>
                  </a:lnTo>
                  <a:lnTo>
                    <a:pt x="2971" y="8008"/>
                  </a:lnTo>
                  <a:lnTo>
                    <a:pt x="2888" y="7967"/>
                  </a:lnTo>
                  <a:cubicBezTo>
                    <a:pt x="2867" y="7981"/>
                    <a:pt x="2846" y="7994"/>
                    <a:pt x="2825" y="8008"/>
                  </a:cubicBezTo>
                  <a:lnTo>
                    <a:pt x="2783" y="8008"/>
                  </a:lnTo>
                  <a:cubicBezTo>
                    <a:pt x="2762" y="7994"/>
                    <a:pt x="2741" y="7981"/>
                    <a:pt x="2720" y="7967"/>
                  </a:cubicBezTo>
                  <a:cubicBezTo>
                    <a:pt x="2699" y="8008"/>
                    <a:pt x="2678" y="8048"/>
                    <a:pt x="2657" y="8089"/>
                  </a:cubicBezTo>
                  <a:cubicBezTo>
                    <a:pt x="2629" y="8076"/>
                    <a:pt x="2602" y="8062"/>
                    <a:pt x="2574" y="8049"/>
                  </a:cubicBezTo>
                  <a:lnTo>
                    <a:pt x="2532" y="8049"/>
                  </a:lnTo>
                  <a:lnTo>
                    <a:pt x="2427" y="8089"/>
                  </a:lnTo>
                  <a:lnTo>
                    <a:pt x="2344" y="8130"/>
                  </a:lnTo>
                  <a:lnTo>
                    <a:pt x="2218" y="8333"/>
                  </a:lnTo>
                  <a:cubicBezTo>
                    <a:pt x="2211" y="8387"/>
                    <a:pt x="2204" y="8442"/>
                    <a:pt x="2197" y="8496"/>
                  </a:cubicBezTo>
                  <a:cubicBezTo>
                    <a:pt x="2183" y="8537"/>
                    <a:pt x="2169" y="8577"/>
                    <a:pt x="2155" y="8618"/>
                  </a:cubicBezTo>
                  <a:cubicBezTo>
                    <a:pt x="2148" y="8659"/>
                    <a:pt x="2141" y="8699"/>
                    <a:pt x="2134" y="8740"/>
                  </a:cubicBezTo>
                  <a:cubicBezTo>
                    <a:pt x="2120" y="8781"/>
                    <a:pt x="2107" y="8821"/>
                    <a:pt x="2093" y="8862"/>
                  </a:cubicBezTo>
                  <a:lnTo>
                    <a:pt x="2009" y="8862"/>
                  </a:lnTo>
                  <a:cubicBezTo>
                    <a:pt x="1988" y="8875"/>
                    <a:pt x="1967" y="8889"/>
                    <a:pt x="1946" y="8902"/>
                  </a:cubicBezTo>
                  <a:lnTo>
                    <a:pt x="1883" y="8821"/>
                  </a:lnTo>
                  <a:cubicBezTo>
                    <a:pt x="1869" y="8835"/>
                    <a:pt x="1855" y="8848"/>
                    <a:pt x="1841" y="8862"/>
                  </a:cubicBezTo>
                  <a:lnTo>
                    <a:pt x="1779" y="8821"/>
                  </a:lnTo>
                  <a:lnTo>
                    <a:pt x="1737" y="8821"/>
                  </a:lnTo>
                  <a:cubicBezTo>
                    <a:pt x="1744" y="8780"/>
                    <a:pt x="1751" y="8740"/>
                    <a:pt x="1758" y="8699"/>
                  </a:cubicBezTo>
                  <a:lnTo>
                    <a:pt x="1653" y="8537"/>
                  </a:lnTo>
                  <a:lnTo>
                    <a:pt x="1465" y="8618"/>
                  </a:lnTo>
                  <a:cubicBezTo>
                    <a:pt x="1451" y="8604"/>
                    <a:pt x="1437" y="8591"/>
                    <a:pt x="1423" y="8577"/>
                  </a:cubicBezTo>
                  <a:cubicBezTo>
                    <a:pt x="1402" y="8536"/>
                    <a:pt x="1381" y="8496"/>
                    <a:pt x="1360" y="8455"/>
                  </a:cubicBezTo>
                  <a:cubicBezTo>
                    <a:pt x="1367" y="8414"/>
                    <a:pt x="1374" y="8374"/>
                    <a:pt x="1381" y="8333"/>
                  </a:cubicBezTo>
                  <a:lnTo>
                    <a:pt x="1318" y="8171"/>
                  </a:lnTo>
                  <a:cubicBezTo>
                    <a:pt x="1304" y="8130"/>
                    <a:pt x="1291" y="8090"/>
                    <a:pt x="1277" y="8049"/>
                  </a:cubicBezTo>
                  <a:cubicBezTo>
                    <a:pt x="1256" y="8062"/>
                    <a:pt x="1235" y="8076"/>
                    <a:pt x="1214" y="8089"/>
                  </a:cubicBezTo>
                  <a:cubicBezTo>
                    <a:pt x="1200" y="8143"/>
                    <a:pt x="1186" y="8198"/>
                    <a:pt x="1172" y="8252"/>
                  </a:cubicBezTo>
                  <a:cubicBezTo>
                    <a:pt x="1151" y="8266"/>
                    <a:pt x="1130" y="8279"/>
                    <a:pt x="1109" y="8293"/>
                  </a:cubicBezTo>
                  <a:cubicBezTo>
                    <a:pt x="1088" y="8334"/>
                    <a:pt x="1068" y="8374"/>
                    <a:pt x="1047" y="8415"/>
                  </a:cubicBezTo>
                  <a:lnTo>
                    <a:pt x="984" y="8577"/>
                  </a:lnTo>
                  <a:lnTo>
                    <a:pt x="921" y="8577"/>
                  </a:lnTo>
                  <a:cubicBezTo>
                    <a:pt x="900" y="8564"/>
                    <a:pt x="879" y="8550"/>
                    <a:pt x="858" y="8537"/>
                  </a:cubicBezTo>
                  <a:lnTo>
                    <a:pt x="754" y="8415"/>
                  </a:lnTo>
                  <a:lnTo>
                    <a:pt x="628" y="8333"/>
                  </a:lnTo>
                  <a:lnTo>
                    <a:pt x="565" y="8252"/>
                  </a:lnTo>
                  <a:lnTo>
                    <a:pt x="565" y="8089"/>
                  </a:lnTo>
                  <a:lnTo>
                    <a:pt x="565" y="7967"/>
                  </a:lnTo>
                  <a:lnTo>
                    <a:pt x="314" y="7805"/>
                  </a:lnTo>
                  <a:lnTo>
                    <a:pt x="231" y="7805"/>
                  </a:lnTo>
                  <a:cubicBezTo>
                    <a:pt x="238" y="7737"/>
                    <a:pt x="140" y="7872"/>
                    <a:pt x="147" y="7804"/>
                  </a:cubicBezTo>
                  <a:cubicBezTo>
                    <a:pt x="133" y="7750"/>
                    <a:pt x="77" y="7654"/>
                    <a:pt x="63" y="7600"/>
                  </a:cubicBezTo>
                  <a:cubicBezTo>
                    <a:pt x="42" y="7533"/>
                    <a:pt x="21" y="7465"/>
                    <a:pt x="0" y="7398"/>
                  </a:cubicBezTo>
                  <a:lnTo>
                    <a:pt x="42" y="7074"/>
                  </a:lnTo>
                  <a:cubicBezTo>
                    <a:pt x="35" y="7033"/>
                    <a:pt x="133" y="7114"/>
                    <a:pt x="126" y="7073"/>
                  </a:cubicBezTo>
                  <a:lnTo>
                    <a:pt x="168" y="6911"/>
                  </a:lnTo>
                  <a:lnTo>
                    <a:pt x="210" y="6707"/>
                  </a:lnTo>
                  <a:cubicBezTo>
                    <a:pt x="231" y="6639"/>
                    <a:pt x="251" y="6572"/>
                    <a:pt x="272" y="6504"/>
                  </a:cubicBezTo>
                  <a:cubicBezTo>
                    <a:pt x="279" y="6436"/>
                    <a:pt x="286" y="6369"/>
                    <a:pt x="293" y="6301"/>
                  </a:cubicBezTo>
                  <a:lnTo>
                    <a:pt x="210" y="6179"/>
                  </a:lnTo>
                  <a:cubicBezTo>
                    <a:pt x="196" y="6138"/>
                    <a:pt x="182" y="6098"/>
                    <a:pt x="168" y="6057"/>
                  </a:cubicBezTo>
                  <a:cubicBezTo>
                    <a:pt x="196" y="6043"/>
                    <a:pt x="224" y="6030"/>
                    <a:pt x="252" y="6016"/>
                  </a:cubicBezTo>
                  <a:lnTo>
                    <a:pt x="335" y="6016"/>
                  </a:lnTo>
                  <a:lnTo>
                    <a:pt x="377" y="5935"/>
                  </a:lnTo>
                  <a:cubicBezTo>
                    <a:pt x="391" y="5894"/>
                    <a:pt x="405" y="5854"/>
                    <a:pt x="419" y="5813"/>
                  </a:cubicBezTo>
                  <a:lnTo>
                    <a:pt x="482" y="5813"/>
                  </a:lnTo>
                  <a:cubicBezTo>
                    <a:pt x="489" y="5854"/>
                    <a:pt x="496" y="5894"/>
                    <a:pt x="503" y="5935"/>
                  </a:cubicBezTo>
                  <a:lnTo>
                    <a:pt x="565" y="5976"/>
                  </a:lnTo>
                  <a:lnTo>
                    <a:pt x="649" y="5976"/>
                  </a:lnTo>
                  <a:lnTo>
                    <a:pt x="691" y="6057"/>
                  </a:lnTo>
                  <a:cubicBezTo>
                    <a:pt x="705" y="6098"/>
                    <a:pt x="719" y="6138"/>
                    <a:pt x="733" y="6179"/>
                  </a:cubicBezTo>
                  <a:cubicBezTo>
                    <a:pt x="747" y="6165"/>
                    <a:pt x="761" y="6152"/>
                    <a:pt x="775" y="6138"/>
                  </a:cubicBezTo>
                  <a:cubicBezTo>
                    <a:pt x="803" y="6206"/>
                    <a:pt x="830" y="6273"/>
                    <a:pt x="858" y="6341"/>
                  </a:cubicBezTo>
                  <a:cubicBezTo>
                    <a:pt x="851" y="6382"/>
                    <a:pt x="844" y="6422"/>
                    <a:pt x="837" y="6463"/>
                  </a:cubicBezTo>
                  <a:cubicBezTo>
                    <a:pt x="844" y="6504"/>
                    <a:pt x="851" y="6544"/>
                    <a:pt x="858" y="6585"/>
                  </a:cubicBezTo>
                  <a:cubicBezTo>
                    <a:pt x="879" y="6599"/>
                    <a:pt x="900" y="6612"/>
                    <a:pt x="921" y="6626"/>
                  </a:cubicBezTo>
                  <a:cubicBezTo>
                    <a:pt x="935" y="6612"/>
                    <a:pt x="949" y="6599"/>
                    <a:pt x="963" y="6585"/>
                  </a:cubicBezTo>
                  <a:cubicBezTo>
                    <a:pt x="984" y="6572"/>
                    <a:pt x="1005" y="6558"/>
                    <a:pt x="1026" y="6545"/>
                  </a:cubicBezTo>
                  <a:lnTo>
                    <a:pt x="1026" y="6789"/>
                  </a:lnTo>
                  <a:cubicBezTo>
                    <a:pt x="1012" y="6857"/>
                    <a:pt x="998" y="6924"/>
                    <a:pt x="984" y="6992"/>
                  </a:cubicBezTo>
                  <a:lnTo>
                    <a:pt x="1088" y="6992"/>
                  </a:lnTo>
                  <a:lnTo>
                    <a:pt x="1172" y="6911"/>
                  </a:lnTo>
                  <a:cubicBezTo>
                    <a:pt x="1186" y="6857"/>
                    <a:pt x="1200" y="6802"/>
                    <a:pt x="1214" y="6748"/>
                  </a:cubicBezTo>
                  <a:cubicBezTo>
                    <a:pt x="1228" y="6707"/>
                    <a:pt x="1242" y="6667"/>
                    <a:pt x="1256" y="6626"/>
                  </a:cubicBezTo>
                  <a:cubicBezTo>
                    <a:pt x="1270" y="6612"/>
                    <a:pt x="1284" y="6599"/>
                    <a:pt x="1298" y="6585"/>
                  </a:cubicBezTo>
                  <a:cubicBezTo>
                    <a:pt x="1319" y="6531"/>
                    <a:pt x="1339" y="6477"/>
                    <a:pt x="1360" y="6423"/>
                  </a:cubicBezTo>
                  <a:lnTo>
                    <a:pt x="1360" y="6260"/>
                  </a:lnTo>
                  <a:cubicBezTo>
                    <a:pt x="1346" y="6219"/>
                    <a:pt x="1332" y="6179"/>
                    <a:pt x="1318" y="6138"/>
                  </a:cubicBezTo>
                  <a:lnTo>
                    <a:pt x="1339" y="5976"/>
                  </a:lnTo>
                  <a:cubicBezTo>
                    <a:pt x="1332" y="5935"/>
                    <a:pt x="1325" y="5895"/>
                    <a:pt x="1318" y="5854"/>
                  </a:cubicBezTo>
                  <a:cubicBezTo>
                    <a:pt x="1332" y="5840"/>
                    <a:pt x="1346" y="5827"/>
                    <a:pt x="1360" y="5813"/>
                  </a:cubicBezTo>
                  <a:lnTo>
                    <a:pt x="1360" y="5935"/>
                  </a:lnTo>
                  <a:lnTo>
                    <a:pt x="1465" y="6016"/>
                  </a:lnTo>
                  <a:cubicBezTo>
                    <a:pt x="1479" y="5975"/>
                    <a:pt x="1493" y="5935"/>
                    <a:pt x="1507" y="5894"/>
                  </a:cubicBezTo>
                  <a:lnTo>
                    <a:pt x="1570" y="5894"/>
                  </a:lnTo>
                  <a:lnTo>
                    <a:pt x="1737" y="6016"/>
                  </a:lnTo>
                  <a:cubicBezTo>
                    <a:pt x="1758" y="6030"/>
                    <a:pt x="1779" y="6043"/>
                    <a:pt x="1800" y="6057"/>
                  </a:cubicBezTo>
                  <a:cubicBezTo>
                    <a:pt x="1821" y="6030"/>
                    <a:pt x="1841" y="6003"/>
                    <a:pt x="1862" y="5976"/>
                  </a:cubicBezTo>
                  <a:cubicBezTo>
                    <a:pt x="1876" y="5989"/>
                    <a:pt x="1890" y="6003"/>
                    <a:pt x="1904" y="6016"/>
                  </a:cubicBezTo>
                  <a:cubicBezTo>
                    <a:pt x="1897" y="6057"/>
                    <a:pt x="1890" y="6097"/>
                    <a:pt x="1883" y="6138"/>
                  </a:cubicBezTo>
                  <a:cubicBezTo>
                    <a:pt x="1911" y="6165"/>
                    <a:pt x="1939" y="6193"/>
                    <a:pt x="1967" y="6220"/>
                  </a:cubicBezTo>
                  <a:cubicBezTo>
                    <a:pt x="1988" y="6260"/>
                    <a:pt x="2009" y="6301"/>
                    <a:pt x="2030" y="6341"/>
                  </a:cubicBezTo>
                  <a:lnTo>
                    <a:pt x="2030" y="6504"/>
                  </a:lnTo>
                  <a:lnTo>
                    <a:pt x="2197" y="6504"/>
                  </a:lnTo>
                  <a:lnTo>
                    <a:pt x="2302" y="6382"/>
                  </a:lnTo>
                  <a:lnTo>
                    <a:pt x="2385" y="6382"/>
                  </a:lnTo>
                  <a:lnTo>
                    <a:pt x="2406" y="6463"/>
                  </a:lnTo>
                  <a:cubicBezTo>
                    <a:pt x="2420" y="6450"/>
                    <a:pt x="2434" y="6436"/>
                    <a:pt x="2448" y="6423"/>
                  </a:cubicBezTo>
                  <a:cubicBezTo>
                    <a:pt x="2476" y="6382"/>
                    <a:pt x="2504" y="6342"/>
                    <a:pt x="2532" y="6301"/>
                  </a:cubicBezTo>
                  <a:lnTo>
                    <a:pt x="2574" y="6301"/>
                  </a:lnTo>
                  <a:lnTo>
                    <a:pt x="2574" y="6179"/>
                  </a:lnTo>
                  <a:cubicBezTo>
                    <a:pt x="2595" y="6138"/>
                    <a:pt x="2615" y="6098"/>
                    <a:pt x="2636" y="6057"/>
                  </a:cubicBezTo>
                  <a:lnTo>
                    <a:pt x="2699" y="6057"/>
                  </a:lnTo>
                  <a:lnTo>
                    <a:pt x="2783" y="6057"/>
                  </a:lnTo>
                  <a:lnTo>
                    <a:pt x="2846" y="5976"/>
                  </a:lnTo>
                  <a:lnTo>
                    <a:pt x="2846" y="5854"/>
                  </a:lnTo>
                  <a:cubicBezTo>
                    <a:pt x="2867" y="5813"/>
                    <a:pt x="2887" y="5773"/>
                    <a:pt x="2908" y="5732"/>
                  </a:cubicBezTo>
                  <a:cubicBezTo>
                    <a:pt x="2936" y="5745"/>
                    <a:pt x="2964" y="5759"/>
                    <a:pt x="2992" y="5772"/>
                  </a:cubicBezTo>
                  <a:lnTo>
                    <a:pt x="3097" y="5732"/>
                  </a:lnTo>
                  <a:cubicBezTo>
                    <a:pt x="3118" y="5745"/>
                    <a:pt x="3138" y="5759"/>
                    <a:pt x="3159" y="5772"/>
                  </a:cubicBezTo>
                  <a:lnTo>
                    <a:pt x="3306" y="5650"/>
                  </a:lnTo>
                  <a:lnTo>
                    <a:pt x="3620" y="5650"/>
                  </a:lnTo>
                  <a:cubicBezTo>
                    <a:pt x="3634" y="5609"/>
                    <a:pt x="3648" y="5569"/>
                    <a:pt x="3662" y="5528"/>
                  </a:cubicBezTo>
                  <a:lnTo>
                    <a:pt x="3662" y="5407"/>
                  </a:lnTo>
                  <a:cubicBezTo>
                    <a:pt x="3648" y="5353"/>
                    <a:pt x="3634" y="5298"/>
                    <a:pt x="3620" y="5244"/>
                  </a:cubicBezTo>
                  <a:lnTo>
                    <a:pt x="3682" y="5203"/>
                  </a:lnTo>
                  <a:lnTo>
                    <a:pt x="3682" y="5325"/>
                  </a:lnTo>
                  <a:lnTo>
                    <a:pt x="3745" y="5325"/>
                  </a:lnTo>
                  <a:lnTo>
                    <a:pt x="3871" y="5325"/>
                  </a:lnTo>
                  <a:cubicBezTo>
                    <a:pt x="3892" y="5312"/>
                    <a:pt x="3913" y="5298"/>
                    <a:pt x="3934" y="5285"/>
                  </a:cubicBezTo>
                  <a:cubicBezTo>
                    <a:pt x="3955" y="5326"/>
                    <a:pt x="3975" y="5366"/>
                    <a:pt x="3996" y="5407"/>
                  </a:cubicBezTo>
                  <a:cubicBezTo>
                    <a:pt x="4010" y="5447"/>
                    <a:pt x="4024" y="5488"/>
                    <a:pt x="4038" y="5528"/>
                  </a:cubicBezTo>
                  <a:lnTo>
                    <a:pt x="4122" y="5528"/>
                  </a:lnTo>
                  <a:cubicBezTo>
                    <a:pt x="4143" y="5488"/>
                    <a:pt x="4164" y="5447"/>
                    <a:pt x="4185" y="5407"/>
                  </a:cubicBezTo>
                  <a:cubicBezTo>
                    <a:pt x="4213" y="5380"/>
                    <a:pt x="4240" y="5352"/>
                    <a:pt x="4268" y="5325"/>
                  </a:cubicBezTo>
                  <a:lnTo>
                    <a:pt x="4310" y="5325"/>
                  </a:lnTo>
                  <a:cubicBezTo>
                    <a:pt x="4338" y="5339"/>
                    <a:pt x="4366" y="5352"/>
                    <a:pt x="4394" y="5366"/>
                  </a:cubicBezTo>
                  <a:cubicBezTo>
                    <a:pt x="4401" y="5407"/>
                    <a:pt x="4408" y="5447"/>
                    <a:pt x="4415" y="5488"/>
                  </a:cubicBezTo>
                  <a:cubicBezTo>
                    <a:pt x="4436" y="5515"/>
                    <a:pt x="4456" y="5542"/>
                    <a:pt x="4477" y="5569"/>
                  </a:cubicBezTo>
                  <a:cubicBezTo>
                    <a:pt x="4463" y="5610"/>
                    <a:pt x="4450" y="5650"/>
                    <a:pt x="4436" y="5691"/>
                  </a:cubicBezTo>
                  <a:cubicBezTo>
                    <a:pt x="4450" y="5732"/>
                    <a:pt x="4463" y="5772"/>
                    <a:pt x="4477" y="5813"/>
                  </a:cubicBezTo>
                  <a:lnTo>
                    <a:pt x="4582" y="5976"/>
                  </a:lnTo>
                  <a:lnTo>
                    <a:pt x="4645" y="6057"/>
                  </a:lnTo>
                  <a:lnTo>
                    <a:pt x="4687" y="6057"/>
                  </a:lnTo>
                  <a:lnTo>
                    <a:pt x="4749" y="6057"/>
                  </a:lnTo>
                  <a:cubicBezTo>
                    <a:pt x="4756" y="6016"/>
                    <a:pt x="4763" y="5976"/>
                    <a:pt x="4770" y="5935"/>
                  </a:cubicBezTo>
                  <a:lnTo>
                    <a:pt x="4770" y="5813"/>
                  </a:lnTo>
                  <a:lnTo>
                    <a:pt x="4770" y="5650"/>
                  </a:lnTo>
                  <a:lnTo>
                    <a:pt x="4812" y="5488"/>
                  </a:lnTo>
                  <a:lnTo>
                    <a:pt x="4812" y="5366"/>
                  </a:lnTo>
                  <a:cubicBezTo>
                    <a:pt x="4798" y="5312"/>
                    <a:pt x="4784" y="5257"/>
                    <a:pt x="4770" y="5203"/>
                  </a:cubicBezTo>
                  <a:cubicBezTo>
                    <a:pt x="4749" y="5190"/>
                    <a:pt x="4729" y="5176"/>
                    <a:pt x="4708" y="5163"/>
                  </a:cubicBezTo>
                  <a:cubicBezTo>
                    <a:pt x="4694" y="5176"/>
                    <a:pt x="4680" y="5190"/>
                    <a:pt x="4666" y="5203"/>
                  </a:cubicBezTo>
                  <a:cubicBezTo>
                    <a:pt x="4645" y="5190"/>
                    <a:pt x="4624" y="5176"/>
                    <a:pt x="4603" y="5163"/>
                  </a:cubicBezTo>
                  <a:lnTo>
                    <a:pt x="4603" y="5081"/>
                  </a:lnTo>
                  <a:lnTo>
                    <a:pt x="4603" y="4919"/>
                  </a:lnTo>
                  <a:cubicBezTo>
                    <a:pt x="4617" y="4810"/>
                    <a:pt x="4631" y="4702"/>
                    <a:pt x="4645" y="4593"/>
                  </a:cubicBezTo>
                  <a:cubicBezTo>
                    <a:pt x="4631" y="4525"/>
                    <a:pt x="4617" y="4458"/>
                    <a:pt x="4603" y="4390"/>
                  </a:cubicBezTo>
                  <a:cubicBezTo>
                    <a:pt x="4582" y="4349"/>
                    <a:pt x="4561" y="4309"/>
                    <a:pt x="4540" y="4268"/>
                  </a:cubicBezTo>
                  <a:lnTo>
                    <a:pt x="4498" y="4187"/>
                  </a:lnTo>
                  <a:cubicBezTo>
                    <a:pt x="4491" y="4133"/>
                    <a:pt x="4484" y="4078"/>
                    <a:pt x="4477" y="4024"/>
                  </a:cubicBezTo>
                  <a:lnTo>
                    <a:pt x="4373" y="3821"/>
                  </a:lnTo>
                  <a:cubicBezTo>
                    <a:pt x="4366" y="3780"/>
                    <a:pt x="4359" y="3740"/>
                    <a:pt x="4352" y="3699"/>
                  </a:cubicBezTo>
                  <a:lnTo>
                    <a:pt x="4394" y="3537"/>
                  </a:lnTo>
                  <a:cubicBezTo>
                    <a:pt x="4415" y="3510"/>
                    <a:pt x="4436" y="3482"/>
                    <a:pt x="4457" y="3455"/>
                  </a:cubicBezTo>
                  <a:cubicBezTo>
                    <a:pt x="4464" y="3428"/>
                    <a:pt x="4470" y="3401"/>
                    <a:pt x="4477" y="3374"/>
                  </a:cubicBezTo>
                  <a:lnTo>
                    <a:pt x="4582" y="3293"/>
                  </a:lnTo>
                  <a:cubicBezTo>
                    <a:pt x="4603" y="3252"/>
                    <a:pt x="4624" y="3212"/>
                    <a:pt x="4645" y="3171"/>
                  </a:cubicBezTo>
                  <a:cubicBezTo>
                    <a:pt x="4659" y="3144"/>
                    <a:pt x="4673" y="3116"/>
                    <a:pt x="4687" y="3089"/>
                  </a:cubicBezTo>
                  <a:lnTo>
                    <a:pt x="4833" y="2967"/>
                  </a:lnTo>
                  <a:lnTo>
                    <a:pt x="5021" y="2886"/>
                  </a:lnTo>
                  <a:lnTo>
                    <a:pt x="5189" y="2602"/>
                  </a:lnTo>
                  <a:cubicBezTo>
                    <a:pt x="5196" y="2561"/>
                    <a:pt x="5203" y="2521"/>
                    <a:pt x="5210" y="2480"/>
                  </a:cubicBezTo>
                  <a:lnTo>
                    <a:pt x="5210" y="2236"/>
                  </a:lnTo>
                  <a:cubicBezTo>
                    <a:pt x="5217" y="2195"/>
                    <a:pt x="5224" y="2155"/>
                    <a:pt x="5231" y="2114"/>
                  </a:cubicBezTo>
                  <a:lnTo>
                    <a:pt x="5231" y="1992"/>
                  </a:lnTo>
                  <a:cubicBezTo>
                    <a:pt x="5224" y="1951"/>
                    <a:pt x="5217" y="1911"/>
                    <a:pt x="5210" y="1870"/>
                  </a:cubicBezTo>
                  <a:lnTo>
                    <a:pt x="5272" y="1829"/>
                  </a:lnTo>
                  <a:lnTo>
                    <a:pt x="5461" y="1870"/>
                  </a:lnTo>
                  <a:cubicBezTo>
                    <a:pt x="5482" y="1911"/>
                    <a:pt x="5502" y="1951"/>
                    <a:pt x="5523" y="1992"/>
                  </a:cubicBezTo>
                  <a:cubicBezTo>
                    <a:pt x="5544" y="2006"/>
                    <a:pt x="5565" y="2019"/>
                    <a:pt x="5586" y="2033"/>
                  </a:cubicBezTo>
                  <a:cubicBezTo>
                    <a:pt x="5593" y="1979"/>
                    <a:pt x="5600" y="1924"/>
                    <a:pt x="5607" y="1870"/>
                  </a:cubicBezTo>
                  <a:cubicBezTo>
                    <a:pt x="5621" y="1856"/>
                    <a:pt x="5635" y="1843"/>
                    <a:pt x="5649" y="1829"/>
                  </a:cubicBezTo>
                  <a:cubicBezTo>
                    <a:pt x="5663" y="1788"/>
                    <a:pt x="5677" y="1748"/>
                    <a:pt x="5691" y="1707"/>
                  </a:cubicBezTo>
                  <a:lnTo>
                    <a:pt x="5691" y="1545"/>
                  </a:lnTo>
                  <a:cubicBezTo>
                    <a:pt x="5684" y="1504"/>
                    <a:pt x="5677" y="1464"/>
                    <a:pt x="5670" y="1423"/>
                  </a:cubicBezTo>
                  <a:lnTo>
                    <a:pt x="5670" y="1301"/>
                  </a:lnTo>
                  <a:cubicBezTo>
                    <a:pt x="5677" y="1220"/>
                    <a:pt x="5684" y="1138"/>
                    <a:pt x="5691" y="1057"/>
                  </a:cubicBezTo>
                  <a:cubicBezTo>
                    <a:pt x="5705" y="1071"/>
                    <a:pt x="5719" y="1084"/>
                    <a:pt x="5733" y="1098"/>
                  </a:cubicBezTo>
                  <a:cubicBezTo>
                    <a:pt x="5754" y="1111"/>
                    <a:pt x="5774" y="1125"/>
                    <a:pt x="5795" y="1138"/>
                  </a:cubicBezTo>
                  <a:lnTo>
                    <a:pt x="5900" y="1301"/>
                  </a:lnTo>
                  <a:cubicBezTo>
                    <a:pt x="5914" y="1342"/>
                    <a:pt x="5928" y="1382"/>
                    <a:pt x="5942" y="1423"/>
                  </a:cubicBezTo>
                  <a:cubicBezTo>
                    <a:pt x="5949" y="1464"/>
                    <a:pt x="5956" y="1504"/>
                    <a:pt x="5963" y="1545"/>
                  </a:cubicBezTo>
                  <a:cubicBezTo>
                    <a:pt x="5970" y="1586"/>
                    <a:pt x="5977" y="1626"/>
                    <a:pt x="5984" y="1667"/>
                  </a:cubicBezTo>
                  <a:cubicBezTo>
                    <a:pt x="6005" y="1680"/>
                    <a:pt x="6026" y="1694"/>
                    <a:pt x="6047" y="1707"/>
                  </a:cubicBezTo>
                  <a:lnTo>
                    <a:pt x="6214" y="1748"/>
                  </a:lnTo>
                  <a:lnTo>
                    <a:pt x="6339" y="1789"/>
                  </a:lnTo>
                  <a:cubicBezTo>
                    <a:pt x="6360" y="1775"/>
                    <a:pt x="6381" y="1762"/>
                    <a:pt x="6402" y="1748"/>
                  </a:cubicBezTo>
                  <a:cubicBezTo>
                    <a:pt x="6423" y="1734"/>
                    <a:pt x="6444" y="1721"/>
                    <a:pt x="6465" y="1707"/>
                  </a:cubicBezTo>
                  <a:cubicBezTo>
                    <a:pt x="6479" y="1639"/>
                    <a:pt x="6493" y="1572"/>
                    <a:pt x="6507" y="1504"/>
                  </a:cubicBezTo>
                  <a:cubicBezTo>
                    <a:pt x="6521" y="1518"/>
                    <a:pt x="6535" y="1531"/>
                    <a:pt x="6549" y="1545"/>
                  </a:cubicBezTo>
                  <a:cubicBezTo>
                    <a:pt x="6570" y="1558"/>
                    <a:pt x="6590" y="1572"/>
                    <a:pt x="6611" y="1585"/>
                  </a:cubicBezTo>
                  <a:cubicBezTo>
                    <a:pt x="6632" y="1572"/>
                    <a:pt x="6653" y="1558"/>
                    <a:pt x="6674" y="1545"/>
                  </a:cubicBezTo>
                  <a:cubicBezTo>
                    <a:pt x="6695" y="1558"/>
                    <a:pt x="6716" y="1572"/>
                    <a:pt x="6737" y="1585"/>
                  </a:cubicBezTo>
                  <a:cubicBezTo>
                    <a:pt x="6758" y="1612"/>
                    <a:pt x="6779" y="1640"/>
                    <a:pt x="6800" y="1667"/>
                  </a:cubicBezTo>
                  <a:cubicBezTo>
                    <a:pt x="6814" y="1626"/>
                    <a:pt x="6827" y="1586"/>
                    <a:pt x="6841" y="1545"/>
                  </a:cubicBezTo>
                  <a:cubicBezTo>
                    <a:pt x="6834" y="1504"/>
                    <a:pt x="6828" y="1464"/>
                    <a:pt x="6821" y="1423"/>
                  </a:cubicBezTo>
                  <a:cubicBezTo>
                    <a:pt x="6828" y="1342"/>
                    <a:pt x="6834" y="1260"/>
                    <a:pt x="6841" y="1179"/>
                  </a:cubicBezTo>
                  <a:cubicBezTo>
                    <a:pt x="6869" y="1138"/>
                    <a:pt x="6897" y="1098"/>
                    <a:pt x="6925" y="1057"/>
                  </a:cubicBezTo>
                  <a:lnTo>
                    <a:pt x="6946" y="976"/>
                  </a:lnTo>
                  <a:lnTo>
                    <a:pt x="7051" y="854"/>
                  </a:lnTo>
                  <a:cubicBezTo>
                    <a:pt x="7072" y="867"/>
                    <a:pt x="7092" y="881"/>
                    <a:pt x="7113" y="894"/>
                  </a:cubicBezTo>
                  <a:cubicBezTo>
                    <a:pt x="7120" y="853"/>
                    <a:pt x="7127" y="813"/>
                    <a:pt x="7134" y="772"/>
                  </a:cubicBezTo>
                  <a:cubicBezTo>
                    <a:pt x="7141" y="664"/>
                    <a:pt x="7148" y="555"/>
                    <a:pt x="7155" y="447"/>
                  </a:cubicBezTo>
                  <a:lnTo>
                    <a:pt x="7155" y="244"/>
                  </a:lnTo>
                  <a:cubicBezTo>
                    <a:pt x="7148" y="203"/>
                    <a:pt x="7141" y="163"/>
                    <a:pt x="7134" y="122"/>
                  </a:cubicBezTo>
                  <a:cubicBezTo>
                    <a:pt x="7141" y="81"/>
                    <a:pt x="7148" y="41"/>
                    <a:pt x="7155" y="0"/>
                  </a:cubicBezTo>
                  <a:close/>
                </a:path>
              </a:pathLst>
            </a:custGeom>
            <a:solidFill>
              <a:srgbClr val="AB5905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285" name="BY">
              <a:extLst>
                <a:ext uri="{FF2B5EF4-FFF2-40B4-BE49-F238E27FC236}">
                  <a16:creationId xmlns:a16="http://schemas.microsoft.com/office/drawing/2014/main" id="{2D933205-B91E-031E-7CED-7B8CBEF56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388" y="3287636"/>
              <a:ext cx="967930" cy="846507"/>
            </a:xfrm>
            <a:custGeom>
              <a:avLst/>
              <a:gdLst>
                <a:gd name="T0" fmla="*/ 266 w 508"/>
                <a:gd name="T1" fmla="*/ 16 h 478"/>
                <a:gd name="T2" fmla="*/ 291 w 508"/>
                <a:gd name="T3" fmla="*/ 8 h 478"/>
                <a:gd name="T4" fmla="*/ 329 w 508"/>
                <a:gd name="T5" fmla="*/ 5 h 478"/>
                <a:gd name="T6" fmla="*/ 350 w 508"/>
                <a:gd name="T7" fmla="*/ 14 h 478"/>
                <a:gd name="T8" fmla="*/ 354 w 508"/>
                <a:gd name="T9" fmla="*/ 42 h 478"/>
                <a:gd name="T10" fmla="*/ 367 w 508"/>
                <a:gd name="T11" fmla="*/ 63 h 478"/>
                <a:gd name="T12" fmla="*/ 369 w 508"/>
                <a:gd name="T13" fmla="*/ 87 h 478"/>
                <a:gd name="T14" fmla="*/ 394 w 508"/>
                <a:gd name="T15" fmla="*/ 109 h 478"/>
                <a:gd name="T16" fmla="*/ 426 w 508"/>
                <a:gd name="T17" fmla="*/ 134 h 478"/>
                <a:gd name="T18" fmla="*/ 443 w 508"/>
                <a:gd name="T19" fmla="*/ 158 h 478"/>
                <a:gd name="T20" fmla="*/ 485 w 508"/>
                <a:gd name="T21" fmla="*/ 159 h 478"/>
                <a:gd name="T22" fmla="*/ 500 w 508"/>
                <a:gd name="T23" fmla="*/ 175 h 478"/>
                <a:gd name="T24" fmla="*/ 495 w 508"/>
                <a:gd name="T25" fmla="*/ 202 h 478"/>
                <a:gd name="T26" fmla="*/ 471 w 508"/>
                <a:gd name="T27" fmla="*/ 221 h 478"/>
                <a:gd name="T28" fmla="*/ 442 w 508"/>
                <a:gd name="T29" fmla="*/ 219 h 478"/>
                <a:gd name="T30" fmla="*/ 452 w 508"/>
                <a:gd name="T31" fmla="*/ 249 h 478"/>
                <a:gd name="T32" fmla="*/ 470 w 508"/>
                <a:gd name="T33" fmla="*/ 274 h 478"/>
                <a:gd name="T34" fmla="*/ 477 w 508"/>
                <a:gd name="T35" fmla="*/ 299 h 478"/>
                <a:gd name="T36" fmla="*/ 485 w 508"/>
                <a:gd name="T37" fmla="*/ 314 h 478"/>
                <a:gd name="T38" fmla="*/ 448 w 508"/>
                <a:gd name="T39" fmla="*/ 328 h 478"/>
                <a:gd name="T40" fmla="*/ 440 w 508"/>
                <a:gd name="T41" fmla="*/ 351 h 478"/>
                <a:gd name="T42" fmla="*/ 437 w 508"/>
                <a:gd name="T43" fmla="*/ 374 h 478"/>
                <a:gd name="T44" fmla="*/ 448 w 508"/>
                <a:gd name="T45" fmla="*/ 395 h 478"/>
                <a:gd name="T46" fmla="*/ 437 w 508"/>
                <a:gd name="T47" fmla="*/ 408 h 478"/>
                <a:gd name="T48" fmla="*/ 407 w 508"/>
                <a:gd name="T49" fmla="*/ 401 h 478"/>
                <a:gd name="T50" fmla="*/ 385 w 508"/>
                <a:gd name="T51" fmla="*/ 409 h 478"/>
                <a:gd name="T52" fmla="*/ 366 w 508"/>
                <a:gd name="T53" fmla="*/ 405 h 478"/>
                <a:gd name="T54" fmla="*/ 343 w 508"/>
                <a:gd name="T55" fmla="*/ 409 h 478"/>
                <a:gd name="T56" fmla="*/ 330 w 508"/>
                <a:gd name="T57" fmla="*/ 412 h 478"/>
                <a:gd name="T58" fmla="*/ 306 w 508"/>
                <a:gd name="T59" fmla="*/ 409 h 478"/>
                <a:gd name="T60" fmla="*/ 285 w 508"/>
                <a:gd name="T61" fmla="*/ 423 h 478"/>
                <a:gd name="T62" fmla="*/ 267 w 508"/>
                <a:gd name="T63" fmla="*/ 421 h 478"/>
                <a:gd name="T64" fmla="*/ 242 w 508"/>
                <a:gd name="T65" fmla="*/ 414 h 478"/>
                <a:gd name="T66" fmla="*/ 181 w 508"/>
                <a:gd name="T67" fmla="*/ 415 h 478"/>
                <a:gd name="T68" fmla="*/ 120 w 508"/>
                <a:gd name="T69" fmla="*/ 427 h 478"/>
                <a:gd name="T70" fmla="*/ 69 w 508"/>
                <a:gd name="T71" fmla="*/ 469 h 478"/>
                <a:gd name="T72" fmla="*/ 44 w 508"/>
                <a:gd name="T73" fmla="*/ 474 h 478"/>
                <a:gd name="T74" fmla="*/ 43 w 508"/>
                <a:gd name="T75" fmla="*/ 448 h 478"/>
                <a:gd name="T76" fmla="*/ 33 w 508"/>
                <a:gd name="T77" fmla="*/ 424 h 478"/>
                <a:gd name="T78" fmla="*/ 15 w 508"/>
                <a:gd name="T79" fmla="*/ 402 h 478"/>
                <a:gd name="T80" fmla="*/ 41 w 508"/>
                <a:gd name="T81" fmla="*/ 349 h 478"/>
                <a:gd name="T82" fmla="*/ 33 w 508"/>
                <a:gd name="T83" fmla="*/ 323 h 478"/>
                <a:gd name="T84" fmla="*/ 9 w 508"/>
                <a:gd name="T85" fmla="*/ 281 h 478"/>
                <a:gd name="T86" fmla="*/ 15 w 508"/>
                <a:gd name="T87" fmla="*/ 256 h 478"/>
                <a:gd name="T88" fmla="*/ 48 w 508"/>
                <a:gd name="T89" fmla="*/ 253 h 478"/>
                <a:gd name="T90" fmla="*/ 67 w 508"/>
                <a:gd name="T91" fmla="*/ 229 h 478"/>
                <a:gd name="T92" fmla="*/ 91 w 508"/>
                <a:gd name="T93" fmla="*/ 210 h 478"/>
                <a:gd name="T94" fmla="*/ 113 w 508"/>
                <a:gd name="T95" fmla="*/ 215 h 478"/>
                <a:gd name="T96" fmla="*/ 104 w 508"/>
                <a:gd name="T97" fmla="*/ 202 h 478"/>
                <a:gd name="T98" fmla="*/ 105 w 508"/>
                <a:gd name="T99" fmla="*/ 168 h 478"/>
                <a:gd name="T100" fmla="*/ 107 w 508"/>
                <a:gd name="T101" fmla="*/ 140 h 478"/>
                <a:gd name="T102" fmla="*/ 131 w 508"/>
                <a:gd name="T103" fmla="*/ 115 h 478"/>
                <a:gd name="T104" fmla="*/ 135 w 508"/>
                <a:gd name="T105" fmla="*/ 98 h 478"/>
                <a:gd name="T106" fmla="*/ 131 w 508"/>
                <a:gd name="T107" fmla="*/ 74 h 478"/>
                <a:gd name="T108" fmla="*/ 152 w 508"/>
                <a:gd name="T109" fmla="*/ 42 h 478"/>
                <a:gd name="T110" fmla="*/ 177 w 508"/>
                <a:gd name="T111" fmla="*/ 28 h 478"/>
                <a:gd name="T112" fmla="*/ 197 w 508"/>
                <a:gd name="T113" fmla="*/ 2 h 478"/>
                <a:gd name="T114" fmla="*/ 226 w 508"/>
                <a:gd name="T115" fmla="*/ 4 h 478"/>
                <a:gd name="T116" fmla="*/ 247 w 508"/>
                <a:gd name="T117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8" h="478">
                  <a:moveTo>
                    <a:pt x="247" y="0"/>
                  </a:moveTo>
                  <a:lnTo>
                    <a:pt x="250" y="0"/>
                  </a:lnTo>
                  <a:lnTo>
                    <a:pt x="253" y="2"/>
                  </a:lnTo>
                  <a:lnTo>
                    <a:pt x="263" y="2"/>
                  </a:lnTo>
                  <a:lnTo>
                    <a:pt x="265" y="3"/>
                  </a:lnTo>
                  <a:lnTo>
                    <a:pt x="268" y="6"/>
                  </a:lnTo>
                  <a:lnTo>
                    <a:pt x="266" y="12"/>
                  </a:lnTo>
                  <a:lnTo>
                    <a:pt x="266" y="16"/>
                  </a:lnTo>
                  <a:lnTo>
                    <a:pt x="267" y="19"/>
                  </a:lnTo>
                  <a:lnTo>
                    <a:pt x="271" y="22"/>
                  </a:lnTo>
                  <a:lnTo>
                    <a:pt x="274" y="25"/>
                  </a:lnTo>
                  <a:lnTo>
                    <a:pt x="276" y="24"/>
                  </a:lnTo>
                  <a:lnTo>
                    <a:pt x="280" y="19"/>
                  </a:lnTo>
                  <a:lnTo>
                    <a:pt x="284" y="14"/>
                  </a:lnTo>
                  <a:lnTo>
                    <a:pt x="289" y="14"/>
                  </a:lnTo>
                  <a:lnTo>
                    <a:pt x="291" y="8"/>
                  </a:lnTo>
                  <a:lnTo>
                    <a:pt x="293" y="5"/>
                  </a:lnTo>
                  <a:lnTo>
                    <a:pt x="297" y="3"/>
                  </a:lnTo>
                  <a:lnTo>
                    <a:pt x="304" y="4"/>
                  </a:lnTo>
                  <a:lnTo>
                    <a:pt x="306" y="0"/>
                  </a:lnTo>
                  <a:lnTo>
                    <a:pt x="312" y="1"/>
                  </a:lnTo>
                  <a:lnTo>
                    <a:pt x="322" y="1"/>
                  </a:lnTo>
                  <a:lnTo>
                    <a:pt x="323" y="4"/>
                  </a:lnTo>
                  <a:lnTo>
                    <a:pt x="329" y="5"/>
                  </a:lnTo>
                  <a:lnTo>
                    <a:pt x="331" y="8"/>
                  </a:lnTo>
                  <a:lnTo>
                    <a:pt x="332" y="11"/>
                  </a:lnTo>
                  <a:lnTo>
                    <a:pt x="335" y="11"/>
                  </a:lnTo>
                  <a:lnTo>
                    <a:pt x="339" y="12"/>
                  </a:lnTo>
                  <a:lnTo>
                    <a:pt x="341" y="15"/>
                  </a:lnTo>
                  <a:lnTo>
                    <a:pt x="344" y="13"/>
                  </a:lnTo>
                  <a:lnTo>
                    <a:pt x="348" y="12"/>
                  </a:lnTo>
                  <a:lnTo>
                    <a:pt x="350" y="14"/>
                  </a:lnTo>
                  <a:lnTo>
                    <a:pt x="353" y="17"/>
                  </a:lnTo>
                  <a:lnTo>
                    <a:pt x="353" y="21"/>
                  </a:lnTo>
                  <a:lnTo>
                    <a:pt x="353" y="24"/>
                  </a:lnTo>
                  <a:lnTo>
                    <a:pt x="354" y="27"/>
                  </a:lnTo>
                  <a:lnTo>
                    <a:pt x="357" y="30"/>
                  </a:lnTo>
                  <a:lnTo>
                    <a:pt x="354" y="35"/>
                  </a:lnTo>
                  <a:lnTo>
                    <a:pt x="353" y="40"/>
                  </a:lnTo>
                  <a:lnTo>
                    <a:pt x="354" y="42"/>
                  </a:lnTo>
                  <a:lnTo>
                    <a:pt x="357" y="43"/>
                  </a:lnTo>
                  <a:lnTo>
                    <a:pt x="360" y="47"/>
                  </a:lnTo>
                  <a:lnTo>
                    <a:pt x="364" y="49"/>
                  </a:lnTo>
                  <a:lnTo>
                    <a:pt x="365" y="51"/>
                  </a:lnTo>
                  <a:lnTo>
                    <a:pt x="367" y="54"/>
                  </a:lnTo>
                  <a:lnTo>
                    <a:pt x="369" y="59"/>
                  </a:lnTo>
                  <a:lnTo>
                    <a:pt x="371" y="62"/>
                  </a:lnTo>
                  <a:lnTo>
                    <a:pt x="367" y="63"/>
                  </a:lnTo>
                  <a:lnTo>
                    <a:pt x="367" y="66"/>
                  </a:lnTo>
                  <a:lnTo>
                    <a:pt x="368" y="70"/>
                  </a:lnTo>
                  <a:lnTo>
                    <a:pt x="365" y="72"/>
                  </a:lnTo>
                  <a:lnTo>
                    <a:pt x="365" y="76"/>
                  </a:lnTo>
                  <a:lnTo>
                    <a:pt x="365" y="80"/>
                  </a:lnTo>
                  <a:lnTo>
                    <a:pt x="364" y="83"/>
                  </a:lnTo>
                  <a:lnTo>
                    <a:pt x="365" y="87"/>
                  </a:lnTo>
                  <a:lnTo>
                    <a:pt x="369" y="87"/>
                  </a:lnTo>
                  <a:lnTo>
                    <a:pt x="378" y="91"/>
                  </a:lnTo>
                  <a:lnTo>
                    <a:pt x="380" y="94"/>
                  </a:lnTo>
                  <a:lnTo>
                    <a:pt x="386" y="92"/>
                  </a:lnTo>
                  <a:lnTo>
                    <a:pt x="390" y="95"/>
                  </a:lnTo>
                  <a:lnTo>
                    <a:pt x="390" y="99"/>
                  </a:lnTo>
                  <a:lnTo>
                    <a:pt x="388" y="104"/>
                  </a:lnTo>
                  <a:lnTo>
                    <a:pt x="388" y="109"/>
                  </a:lnTo>
                  <a:lnTo>
                    <a:pt x="394" y="109"/>
                  </a:lnTo>
                  <a:lnTo>
                    <a:pt x="397" y="110"/>
                  </a:lnTo>
                  <a:lnTo>
                    <a:pt x="401" y="116"/>
                  </a:lnTo>
                  <a:lnTo>
                    <a:pt x="403" y="118"/>
                  </a:lnTo>
                  <a:lnTo>
                    <a:pt x="406" y="124"/>
                  </a:lnTo>
                  <a:lnTo>
                    <a:pt x="408" y="128"/>
                  </a:lnTo>
                  <a:lnTo>
                    <a:pt x="419" y="133"/>
                  </a:lnTo>
                  <a:lnTo>
                    <a:pt x="422" y="134"/>
                  </a:lnTo>
                  <a:lnTo>
                    <a:pt x="426" y="134"/>
                  </a:lnTo>
                  <a:lnTo>
                    <a:pt x="431" y="135"/>
                  </a:lnTo>
                  <a:lnTo>
                    <a:pt x="434" y="134"/>
                  </a:lnTo>
                  <a:lnTo>
                    <a:pt x="437" y="137"/>
                  </a:lnTo>
                  <a:lnTo>
                    <a:pt x="439" y="136"/>
                  </a:lnTo>
                  <a:lnTo>
                    <a:pt x="443" y="141"/>
                  </a:lnTo>
                  <a:lnTo>
                    <a:pt x="443" y="144"/>
                  </a:lnTo>
                  <a:lnTo>
                    <a:pt x="444" y="152"/>
                  </a:lnTo>
                  <a:lnTo>
                    <a:pt x="443" y="158"/>
                  </a:lnTo>
                  <a:lnTo>
                    <a:pt x="450" y="160"/>
                  </a:lnTo>
                  <a:lnTo>
                    <a:pt x="460" y="154"/>
                  </a:lnTo>
                  <a:lnTo>
                    <a:pt x="465" y="155"/>
                  </a:lnTo>
                  <a:lnTo>
                    <a:pt x="472" y="155"/>
                  </a:lnTo>
                  <a:lnTo>
                    <a:pt x="477" y="157"/>
                  </a:lnTo>
                  <a:lnTo>
                    <a:pt x="480" y="156"/>
                  </a:lnTo>
                  <a:lnTo>
                    <a:pt x="483" y="156"/>
                  </a:lnTo>
                  <a:lnTo>
                    <a:pt x="485" y="159"/>
                  </a:lnTo>
                  <a:lnTo>
                    <a:pt x="482" y="163"/>
                  </a:lnTo>
                  <a:lnTo>
                    <a:pt x="482" y="166"/>
                  </a:lnTo>
                  <a:lnTo>
                    <a:pt x="485" y="170"/>
                  </a:lnTo>
                  <a:lnTo>
                    <a:pt x="489" y="171"/>
                  </a:lnTo>
                  <a:lnTo>
                    <a:pt x="492" y="172"/>
                  </a:lnTo>
                  <a:lnTo>
                    <a:pt x="495" y="174"/>
                  </a:lnTo>
                  <a:lnTo>
                    <a:pt x="498" y="173"/>
                  </a:lnTo>
                  <a:lnTo>
                    <a:pt x="500" y="175"/>
                  </a:lnTo>
                  <a:lnTo>
                    <a:pt x="506" y="182"/>
                  </a:lnTo>
                  <a:lnTo>
                    <a:pt x="508" y="185"/>
                  </a:lnTo>
                  <a:lnTo>
                    <a:pt x="501" y="188"/>
                  </a:lnTo>
                  <a:lnTo>
                    <a:pt x="499" y="192"/>
                  </a:lnTo>
                  <a:lnTo>
                    <a:pt x="495" y="192"/>
                  </a:lnTo>
                  <a:lnTo>
                    <a:pt x="497" y="195"/>
                  </a:lnTo>
                  <a:lnTo>
                    <a:pt x="497" y="199"/>
                  </a:lnTo>
                  <a:lnTo>
                    <a:pt x="495" y="202"/>
                  </a:lnTo>
                  <a:lnTo>
                    <a:pt x="492" y="206"/>
                  </a:lnTo>
                  <a:lnTo>
                    <a:pt x="490" y="210"/>
                  </a:lnTo>
                  <a:lnTo>
                    <a:pt x="486" y="213"/>
                  </a:lnTo>
                  <a:lnTo>
                    <a:pt x="484" y="217"/>
                  </a:lnTo>
                  <a:lnTo>
                    <a:pt x="481" y="219"/>
                  </a:lnTo>
                  <a:lnTo>
                    <a:pt x="476" y="219"/>
                  </a:lnTo>
                  <a:lnTo>
                    <a:pt x="474" y="220"/>
                  </a:lnTo>
                  <a:lnTo>
                    <a:pt x="471" y="221"/>
                  </a:lnTo>
                  <a:lnTo>
                    <a:pt x="468" y="220"/>
                  </a:lnTo>
                  <a:lnTo>
                    <a:pt x="465" y="221"/>
                  </a:lnTo>
                  <a:lnTo>
                    <a:pt x="462" y="216"/>
                  </a:lnTo>
                  <a:lnTo>
                    <a:pt x="457" y="216"/>
                  </a:lnTo>
                  <a:lnTo>
                    <a:pt x="453" y="215"/>
                  </a:lnTo>
                  <a:lnTo>
                    <a:pt x="449" y="218"/>
                  </a:lnTo>
                  <a:lnTo>
                    <a:pt x="445" y="219"/>
                  </a:lnTo>
                  <a:lnTo>
                    <a:pt x="442" y="219"/>
                  </a:lnTo>
                  <a:lnTo>
                    <a:pt x="441" y="222"/>
                  </a:lnTo>
                  <a:lnTo>
                    <a:pt x="441" y="226"/>
                  </a:lnTo>
                  <a:lnTo>
                    <a:pt x="443" y="229"/>
                  </a:lnTo>
                  <a:lnTo>
                    <a:pt x="441" y="232"/>
                  </a:lnTo>
                  <a:lnTo>
                    <a:pt x="439" y="237"/>
                  </a:lnTo>
                  <a:lnTo>
                    <a:pt x="444" y="241"/>
                  </a:lnTo>
                  <a:lnTo>
                    <a:pt x="448" y="246"/>
                  </a:lnTo>
                  <a:lnTo>
                    <a:pt x="452" y="249"/>
                  </a:lnTo>
                  <a:lnTo>
                    <a:pt x="455" y="249"/>
                  </a:lnTo>
                  <a:lnTo>
                    <a:pt x="459" y="252"/>
                  </a:lnTo>
                  <a:lnTo>
                    <a:pt x="461" y="254"/>
                  </a:lnTo>
                  <a:lnTo>
                    <a:pt x="464" y="259"/>
                  </a:lnTo>
                  <a:lnTo>
                    <a:pt x="460" y="265"/>
                  </a:lnTo>
                  <a:lnTo>
                    <a:pt x="464" y="269"/>
                  </a:lnTo>
                  <a:lnTo>
                    <a:pt x="467" y="272"/>
                  </a:lnTo>
                  <a:lnTo>
                    <a:pt x="470" y="274"/>
                  </a:lnTo>
                  <a:lnTo>
                    <a:pt x="469" y="276"/>
                  </a:lnTo>
                  <a:lnTo>
                    <a:pt x="468" y="279"/>
                  </a:lnTo>
                  <a:lnTo>
                    <a:pt x="471" y="281"/>
                  </a:lnTo>
                  <a:lnTo>
                    <a:pt x="472" y="286"/>
                  </a:lnTo>
                  <a:lnTo>
                    <a:pt x="474" y="289"/>
                  </a:lnTo>
                  <a:lnTo>
                    <a:pt x="476" y="292"/>
                  </a:lnTo>
                  <a:lnTo>
                    <a:pt x="475" y="296"/>
                  </a:lnTo>
                  <a:lnTo>
                    <a:pt x="477" y="299"/>
                  </a:lnTo>
                  <a:lnTo>
                    <a:pt x="480" y="300"/>
                  </a:lnTo>
                  <a:lnTo>
                    <a:pt x="483" y="300"/>
                  </a:lnTo>
                  <a:lnTo>
                    <a:pt x="483" y="303"/>
                  </a:lnTo>
                  <a:lnTo>
                    <a:pt x="485" y="306"/>
                  </a:lnTo>
                  <a:lnTo>
                    <a:pt x="488" y="307"/>
                  </a:lnTo>
                  <a:lnTo>
                    <a:pt x="490" y="309"/>
                  </a:lnTo>
                  <a:lnTo>
                    <a:pt x="491" y="312"/>
                  </a:lnTo>
                  <a:lnTo>
                    <a:pt x="485" y="314"/>
                  </a:lnTo>
                  <a:lnTo>
                    <a:pt x="475" y="315"/>
                  </a:lnTo>
                  <a:lnTo>
                    <a:pt x="470" y="317"/>
                  </a:lnTo>
                  <a:lnTo>
                    <a:pt x="466" y="320"/>
                  </a:lnTo>
                  <a:lnTo>
                    <a:pt x="465" y="324"/>
                  </a:lnTo>
                  <a:lnTo>
                    <a:pt x="464" y="326"/>
                  </a:lnTo>
                  <a:lnTo>
                    <a:pt x="459" y="325"/>
                  </a:lnTo>
                  <a:lnTo>
                    <a:pt x="455" y="325"/>
                  </a:lnTo>
                  <a:lnTo>
                    <a:pt x="448" y="328"/>
                  </a:lnTo>
                  <a:lnTo>
                    <a:pt x="447" y="334"/>
                  </a:lnTo>
                  <a:lnTo>
                    <a:pt x="449" y="336"/>
                  </a:lnTo>
                  <a:lnTo>
                    <a:pt x="447" y="336"/>
                  </a:lnTo>
                  <a:lnTo>
                    <a:pt x="446" y="340"/>
                  </a:lnTo>
                  <a:lnTo>
                    <a:pt x="445" y="342"/>
                  </a:lnTo>
                  <a:lnTo>
                    <a:pt x="444" y="346"/>
                  </a:lnTo>
                  <a:lnTo>
                    <a:pt x="441" y="348"/>
                  </a:lnTo>
                  <a:lnTo>
                    <a:pt x="440" y="351"/>
                  </a:lnTo>
                  <a:lnTo>
                    <a:pt x="439" y="355"/>
                  </a:lnTo>
                  <a:lnTo>
                    <a:pt x="440" y="359"/>
                  </a:lnTo>
                  <a:lnTo>
                    <a:pt x="438" y="361"/>
                  </a:lnTo>
                  <a:lnTo>
                    <a:pt x="439" y="364"/>
                  </a:lnTo>
                  <a:lnTo>
                    <a:pt x="440" y="367"/>
                  </a:lnTo>
                  <a:lnTo>
                    <a:pt x="437" y="368"/>
                  </a:lnTo>
                  <a:lnTo>
                    <a:pt x="437" y="371"/>
                  </a:lnTo>
                  <a:lnTo>
                    <a:pt x="437" y="374"/>
                  </a:lnTo>
                  <a:lnTo>
                    <a:pt x="436" y="378"/>
                  </a:lnTo>
                  <a:lnTo>
                    <a:pt x="438" y="380"/>
                  </a:lnTo>
                  <a:lnTo>
                    <a:pt x="442" y="382"/>
                  </a:lnTo>
                  <a:lnTo>
                    <a:pt x="443" y="385"/>
                  </a:lnTo>
                  <a:lnTo>
                    <a:pt x="444" y="388"/>
                  </a:lnTo>
                  <a:lnTo>
                    <a:pt x="444" y="391"/>
                  </a:lnTo>
                  <a:lnTo>
                    <a:pt x="447" y="393"/>
                  </a:lnTo>
                  <a:lnTo>
                    <a:pt x="448" y="395"/>
                  </a:lnTo>
                  <a:lnTo>
                    <a:pt x="450" y="400"/>
                  </a:lnTo>
                  <a:lnTo>
                    <a:pt x="448" y="404"/>
                  </a:lnTo>
                  <a:lnTo>
                    <a:pt x="447" y="408"/>
                  </a:lnTo>
                  <a:lnTo>
                    <a:pt x="448" y="411"/>
                  </a:lnTo>
                  <a:lnTo>
                    <a:pt x="445" y="410"/>
                  </a:lnTo>
                  <a:lnTo>
                    <a:pt x="442" y="410"/>
                  </a:lnTo>
                  <a:lnTo>
                    <a:pt x="439" y="408"/>
                  </a:lnTo>
                  <a:lnTo>
                    <a:pt x="437" y="408"/>
                  </a:lnTo>
                  <a:lnTo>
                    <a:pt x="433" y="406"/>
                  </a:lnTo>
                  <a:lnTo>
                    <a:pt x="432" y="403"/>
                  </a:lnTo>
                  <a:lnTo>
                    <a:pt x="431" y="400"/>
                  </a:lnTo>
                  <a:lnTo>
                    <a:pt x="427" y="399"/>
                  </a:lnTo>
                  <a:lnTo>
                    <a:pt x="422" y="395"/>
                  </a:lnTo>
                  <a:lnTo>
                    <a:pt x="418" y="394"/>
                  </a:lnTo>
                  <a:lnTo>
                    <a:pt x="411" y="396"/>
                  </a:lnTo>
                  <a:lnTo>
                    <a:pt x="407" y="401"/>
                  </a:lnTo>
                  <a:lnTo>
                    <a:pt x="404" y="401"/>
                  </a:lnTo>
                  <a:lnTo>
                    <a:pt x="403" y="404"/>
                  </a:lnTo>
                  <a:lnTo>
                    <a:pt x="397" y="405"/>
                  </a:lnTo>
                  <a:lnTo>
                    <a:pt x="394" y="402"/>
                  </a:lnTo>
                  <a:lnTo>
                    <a:pt x="391" y="402"/>
                  </a:lnTo>
                  <a:lnTo>
                    <a:pt x="389" y="403"/>
                  </a:lnTo>
                  <a:lnTo>
                    <a:pt x="387" y="407"/>
                  </a:lnTo>
                  <a:lnTo>
                    <a:pt x="385" y="409"/>
                  </a:lnTo>
                  <a:lnTo>
                    <a:pt x="383" y="413"/>
                  </a:lnTo>
                  <a:lnTo>
                    <a:pt x="379" y="414"/>
                  </a:lnTo>
                  <a:lnTo>
                    <a:pt x="376" y="418"/>
                  </a:lnTo>
                  <a:lnTo>
                    <a:pt x="374" y="418"/>
                  </a:lnTo>
                  <a:lnTo>
                    <a:pt x="372" y="415"/>
                  </a:lnTo>
                  <a:lnTo>
                    <a:pt x="369" y="412"/>
                  </a:lnTo>
                  <a:lnTo>
                    <a:pt x="367" y="408"/>
                  </a:lnTo>
                  <a:lnTo>
                    <a:pt x="366" y="405"/>
                  </a:lnTo>
                  <a:lnTo>
                    <a:pt x="363" y="402"/>
                  </a:lnTo>
                  <a:lnTo>
                    <a:pt x="361" y="400"/>
                  </a:lnTo>
                  <a:lnTo>
                    <a:pt x="358" y="397"/>
                  </a:lnTo>
                  <a:lnTo>
                    <a:pt x="356" y="397"/>
                  </a:lnTo>
                  <a:lnTo>
                    <a:pt x="353" y="404"/>
                  </a:lnTo>
                  <a:lnTo>
                    <a:pt x="350" y="406"/>
                  </a:lnTo>
                  <a:lnTo>
                    <a:pt x="346" y="407"/>
                  </a:lnTo>
                  <a:lnTo>
                    <a:pt x="343" y="409"/>
                  </a:lnTo>
                  <a:lnTo>
                    <a:pt x="341" y="414"/>
                  </a:lnTo>
                  <a:lnTo>
                    <a:pt x="340" y="418"/>
                  </a:lnTo>
                  <a:lnTo>
                    <a:pt x="341" y="421"/>
                  </a:lnTo>
                  <a:lnTo>
                    <a:pt x="339" y="422"/>
                  </a:lnTo>
                  <a:lnTo>
                    <a:pt x="336" y="422"/>
                  </a:lnTo>
                  <a:lnTo>
                    <a:pt x="334" y="420"/>
                  </a:lnTo>
                  <a:lnTo>
                    <a:pt x="332" y="415"/>
                  </a:lnTo>
                  <a:lnTo>
                    <a:pt x="330" y="412"/>
                  </a:lnTo>
                  <a:lnTo>
                    <a:pt x="324" y="412"/>
                  </a:lnTo>
                  <a:lnTo>
                    <a:pt x="321" y="414"/>
                  </a:lnTo>
                  <a:lnTo>
                    <a:pt x="319" y="416"/>
                  </a:lnTo>
                  <a:lnTo>
                    <a:pt x="317" y="418"/>
                  </a:lnTo>
                  <a:lnTo>
                    <a:pt x="314" y="415"/>
                  </a:lnTo>
                  <a:lnTo>
                    <a:pt x="311" y="413"/>
                  </a:lnTo>
                  <a:lnTo>
                    <a:pt x="309" y="410"/>
                  </a:lnTo>
                  <a:lnTo>
                    <a:pt x="306" y="409"/>
                  </a:lnTo>
                  <a:lnTo>
                    <a:pt x="304" y="411"/>
                  </a:lnTo>
                  <a:lnTo>
                    <a:pt x="303" y="417"/>
                  </a:lnTo>
                  <a:lnTo>
                    <a:pt x="301" y="419"/>
                  </a:lnTo>
                  <a:lnTo>
                    <a:pt x="295" y="421"/>
                  </a:lnTo>
                  <a:lnTo>
                    <a:pt x="293" y="421"/>
                  </a:lnTo>
                  <a:lnTo>
                    <a:pt x="289" y="418"/>
                  </a:lnTo>
                  <a:lnTo>
                    <a:pt x="286" y="418"/>
                  </a:lnTo>
                  <a:lnTo>
                    <a:pt x="285" y="423"/>
                  </a:lnTo>
                  <a:lnTo>
                    <a:pt x="286" y="426"/>
                  </a:lnTo>
                  <a:lnTo>
                    <a:pt x="284" y="432"/>
                  </a:lnTo>
                  <a:lnTo>
                    <a:pt x="282" y="433"/>
                  </a:lnTo>
                  <a:lnTo>
                    <a:pt x="280" y="431"/>
                  </a:lnTo>
                  <a:lnTo>
                    <a:pt x="280" y="426"/>
                  </a:lnTo>
                  <a:lnTo>
                    <a:pt x="278" y="422"/>
                  </a:lnTo>
                  <a:lnTo>
                    <a:pt x="274" y="422"/>
                  </a:lnTo>
                  <a:lnTo>
                    <a:pt x="267" y="421"/>
                  </a:lnTo>
                  <a:lnTo>
                    <a:pt x="265" y="423"/>
                  </a:lnTo>
                  <a:lnTo>
                    <a:pt x="262" y="426"/>
                  </a:lnTo>
                  <a:lnTo>
                    <a:pt x="258" y="426"/>
                  </a:lnTo>
                  <a:lnTo>
                    <a:pt x="254" y="424"/>
                  </a:lnTo>
                  <a:lnTo>
                    <a:pt x="251" y="422"/>
                  </a:lnTo>
                  <a:lnTo>
                    <a:pt x="248" y="420"/>
                  </a:lnTo>
                  <a:lnTo>
                    <a:pt x="247" y="416"/>
                  </a:lnTo>
                  <a:lnTo>
                    <a:pt x="242" y="414"/>
                  </a:lnTo>
                  <a:lnTo>
                    <a:pt x="237" y="415"/>
                  </a:lnTo>
                  <a:lnTo>
                    <a:pt x="232" y="419"/>
                  </a:lnTo>
                  <a:lnTo>
                    <a:pt x="228" y="419"/>
                  </a:lnTo>
                  <a:lnTo>
                    <a:pt x="217" y="417"/>
                  </a:lnTo>
                  <a:lnTo>
                    <a:pt x="203" y="419"/>
                  </a:lnTo>
                  <a:lnTo>
                    <a:pt x="201" y="416"/>
                  </a:lnTo>
                  <a:lnTo>
                    <a:pt x="187" y="418"/>
                  </a:lnTo>
                  <a:lnTo>
                    <a:pt x="181" y="415"/>
                  </a:lnTo>
                  <a:lnTo>
                    <a:pt x="176" y="416"/>
                  </a:lnTo>
                  <a:lnTo>
                    <a:pt x="163" y="416"/>
                  </a:lnTo>
                  <a:lnTo>
                    <a:pt x="159" y="418"/>
                  </a:lnTo>
                  <a:lnTo>
                    <a:pt x="140" y="422"/>
                  </a:lnTo>
                  <a:lnTo>
                    <a:pt x="130" y="422"/>
                  </a:lnTo>
                  <a:lnTo>
                    <a:pt x="127" y="422"/>
                  </a:lnTo>
                  <a:lnTo>
                    <a:pt x="125" y="423"/>
                  </a:lnTo>
                  <a:lnTo>
                    <a:pt x="120" y="427"/>
                  </a:lnTo>
                  <a:lnTo>
                    <a:pt x="105" y="433"/>
                  </a:lnTo>
                  <a:lnTo>
                    <a:pt x="100" y="433"/>
                  </a:lnTo>
                  <a:lnTo>
                    <a:pt x="87" y="437"/>
                  </a:lnTo>
                  <a:lnTo>
                    <a:pt x="85" y="439"/>
                  </a:lnTo>
                  <a:lnTo>
                    <a:pt x="83" y="443"/>
                  </a:lnTo>
                  <a:lnTo>
                    <a:pt x="83" y="451"/>
                  </a:lnTo>
                  <a:lnTo>
                    <a:pt x="76" y="459"/>
                  </a:lnTo>
                  <a:lnTo>
                    <a:pt x="69" y="469"/>
                  </a:lnTo>
                  <a:lnTo>
                    <a:pt x="67" y="470"/>
                  </a:lnTo>
                  <a:lnTo>
                    <a:pt x="63" y="466"/>
                  </a:lnTo>
                  <a:lnTo>
                    <a:pt x="60" y="466"/>
                  </a:lnTo>
                  <a:lnTo>
                    <a:pt x="54" y="465"/>
                  </a:lnTo>
                  <a:lnTo>
                    <a:pt x="48" y="469"/>
                  </a:lnTo>
                  <a:lnTo>
                    <a:pt x="46" y="472"/>
                  </a:lnTo>
                  <a:lnTo>
                    <a:pt x="46" y="478"/>
                  </a:lnTo>
                  <a:lnTo>
                    <a:pt x="44" y="474"/>
                  </a:lnTo>
                  <a:lnTo>
                    <a:pt x="43" y="472"/>
                  </a:lnTo>
                  <a:lnTo>
                    <a:pt x="43" y="469"/>
                  </a:lnTo>
                  <a:lnTo>
                    <a:pt x="42" y="464"/>
                  </a:lnTo>
                  <a:lnTo>
                    <a:pt x="42" y="461"/>
                  </a:lnTo>
                  <a:lnTo>
                    <a:pt x="41" y="459"/>
                  </a:lnTo>
                  <a:lnTo>
                    <a:pt x="42" y="456"/>
                  </a:lnTo>
                  <a:lnTo>
                    <a:pt x="45" y="452"/>
                  </a:lnTo>
                  <a:lnTo>
                    <a:pt x="43" y="448"/>
                  </a:lnTo>
                  <a:lnTo>
                    <a:pt x="43" y="444"/>
                  </a:lnTo>
                  <a:lnTo>
                    <a:pt x="42" y="441"/>
                  </a:lnTo>
                  <a:lnTo>
                    <a:pt x="43" y="437"/>
                  </a:lnTo>
                  <a:lnTo>
                    <a:pt x="43" y="433"/>
                  </a:lnTo>
                  <a:lnTo>
                    <a:pt x="42" y="430"/>
                  </a:lnTo>
                  <a:lnTo>
                    <a:pt x="40" y="427"/>
                  </a:lnTo>
                  <a:lnTo>
                    <a:pt x="36" y="424"/>
                  </a:lnTo>
                  <a:lnTo>
                    <a:pt x="33" y="424"/>
                  </a:lnTo>
                  <a:lnTo>
                    <a:pt x="31" y="421"/>
                  </a:lnTo>
                  <a:lnTo>
                    <a:pt x="28" y="420"/>
                  </a:lnTo>
                  <a:lnTo>
                    <a:pt x="25" y="420"/>
                  </a:lnTo>
                  <a:lnTo>
                    <a:pt x="20" y="418"/>
                  </a:lnTo>
                  <a:lnTo>
                    <a:pt x="13" y="415"/>
                  </a:lnTo>
                  <a:lnTo>
                    <a:pt x="11" y="413"/>
                  </a:lnTo>
                  <a:lnTo>
                    <a:pt x="13" y="405"/>
                  </a:lnTo>
                  <a:lnTo>
                    <a:pt x="15" y="402"/>
                  </a:lnTo>
                  <a:lnTo>
                    <a:pt x="19" y="390"/>
                  </a:lnTo>
                  <a:lnTo>
                    <a:pt x="24" y="385"/>
                  </a:lnTo>
                  <a:lnTo>
                    <a:pt x="28" y="381"/>
                  </a:lnTo>
                  <a:lnTo>
                    <a:pt x="37" y="376"/>
                  </a:lnTo>
                  <a:lnTo>
                    <a:pt x="43" y="370"/>
                  </a:lnTo>
                  <a:lnTo>
                    <a:pt x="45" y="367"/>
                  </a:lnTo>
                  <a:lnTo>
                    <a:pt x="45" y="363"/>
                  </a:lnTo>
                  <a:lnTo>
                    <a:pt x="41" y="349"/>
                  </a:lnTo>
                  <a:lnTo>
                    <a:pt x="40" y="347"/>
                  </a:lnTo>
                  <a:lnTo>
                    <a:pt x="40" y="343"/>
                  </a:lnTo>
                  <a:lnTo>
                    <a:pt x="39" y="340"/>
                  </a:lnTo>
                  <a:lnTo>
                    <a:pt x="38" y="337"/>
                  </a:lnTo>
                  <a:lnTo>
                    <a:pt x="35" y="334"/>
                  </a:lnTo>
                  <a:lnTo>
                    <a:pt x="36" y="328"/>
                  </a:lnTo>
                  <a:lnTo>
                    <a:pt x="36" y="325"/>
                  </a:lnTo>
                  <a:lnTo>
                    <a:pt x="33" y="323"/>
                  </a:lnTo>
                  <a:lnTo>
                    <a:pt x="31" y="320"/>
                  </a:lnTo>
                  <a:lnTo>
                    <a:pt x="29" y="318"/>
                  </a:lnTo>
                  <a:lnTo>
                    <a:pt x="28" y="316"/>
                  </a:lnTo>
                  <a:lnTo>
                    <a:pt x="24" y="307"/>
                  </a:lnTo>
                  <a:lnTo>
                    <a:pt x="22" y="305"/>
                  </a:lnTo>
                  <a:lnTo>
                    <a:pt x="19" y="300"/>
                  </a:lnTo>
                  <a:lnTo>
                    <a:pt x="11" y="287"/>
                  </a:lnTo>
                  <a:lnTo>
                    <a:pt x="9" y="281"/>
                  </a:lnTo>
                  <a:lnTo>
                    <a:pt x="8" y="275"/>
                  </a:lnTo>
                  <a:lnTo>
                    <a:pt x="5" y="272"/>
                  </a:lnTo>
                  <a:lnTo>
                    <a:pt x="3" y="265"/>
                  </a:lnTo>
                  <a:lnTo>
                    <a:pt x="2" y="263"/>
                  </a:lnTo>
                  <a:lnTo>
                    <a:pt x="0" y="257"/>
                  </a:lnTo>
                  <a:lnTo>
                    <a:pt x="7" y="259"/>
                  </a:lnTo>
                  <a:lnTo>
                    <a:pt x="11" y="257"/>
                  </a:lnTo>
                  <a:lnTo>
                    <a:pt x="15" y="256"/>
                  </a:lnTo>
                  <a:lnTo>
                    <a:pt x="22" y="252"/>
                  </a:lnTo>
                  <a:lnTo>
                    <a:pt x="26" y="253"/>
                  </a:lnTo>
                  <a:lnTo>
                    <a:pt x="30" y="252"/>
                  </a:lnTo>
                  <a:lnTo>
                    <a:pt x="34" y="249"/>
                  </a:lnTo>
                  <a:lnTo>
                    <a:pt x="38" y="248"/>
                  </a:lnTo>
                  <a:lnTo>
                    <a:pt x="41" y="252"/>
                  </a:lnTo>
                  <a:lnTo>
                    <a:pt x="45" y="253"/>
                  </a:lnTo>
                  <a:lnTo>
                    <a:pt x="48" y="253"/>
                  </a:lnTo>
                  <a:lnTo>
                    <a:pt x="55" y="244"/>
                  </a:lnTo>
                  <a:lnTo>
                    <a:pt x="57" y="242"/>
                  </a:lnTo>
                  <a:lnTo>
                    <a:pt x="62" y="241"/>
                  </a:lnTo>
                  <a:lnTo>
                    <a:pt x="64" y="241"/>
                  </a:lnTo>
                  <a:lnTo>
                    <a:pt x="70" y="241"/>
                  </a:lnTo>
                  <a:lnTo>
                    <a:pt x="70" y="236"/>
                  </a:lnTo>
                  <a:lnTo>
                    <a:pt x="69" y="233"/>
                  </a:lnTo>
                  <a:lnTo>
                    <a:pt x="67" y="229"/>
                  </a:lnTo>
                  <a:lnTo>
                    <a:pt x="70" y="224"/>
                  </a:lnTo>
                  <a:lnTo>
                    <a:pt x="72" y="223"/>
                  </a:lnTo>
                  <a:lnTo>
                    <a:pt x="75" y="223"/>
                  </a:lnTo>
                  <a:lnTo>
                    <a:pt x="79" y="224"/>
                  </a:lnTo>
                  <a:lnTo>
                    <a:pt x="82" y="223"/>
                  </a:lnTo>
                  <a:lnTo>
                    <a:pt x="85" y="218"/>
                  </a:lnTo>
                  <a:lnTo>
                    <a:pt x="86" y="211"/>
                  </a:lnTo>
                  <a:lnTo>
                    <a:pt x="91" y="210"/>
                  </a:lnTo>
                  <a:lnTo>
                    <a:pt x="95" y="209"/>
                  </a:lnTo>
                  <a:lnTo>
                    <a:pt x="97" y="204"/>
                  </a:lnTo>
                  <a:lnTo>
                    <a:pt x="105" y="208"/>
                  </a:lnTo>
                  <a:lnTo>
                    <a:pt x="102" y="210"/>
                  </a:lnTo>
                  <a:lnTo>
                    <a:pt x="104" y="213"/>
                  </a:lnTo>
                  <a:lnTo>
                    <a:pt x="105" y="217"/>
                  </a:lnTo>
                  <a:lnTo>
                    <a:pt x="111" y="217"/>
                  </a:lnTo>
                  <a:lnTo>
                    <a:pt x="113" y="215"/>
                  </a:lnTo>
                  <a:lnTo>
                    <a:pt x="116" y="214"/>
                  </a:lnTo>
                  <a:lnTo>
                    <a:pt x="118" y="211"/>
                  </a:lnTo>
                  <a:lnTo>
                    <a:pt x="117" y="207"/>
                  </a:lnTo>
                  <a:lnTo>
                    <a:pt x="116" y="204"/>
                  </a:lnTo>
                  <a:lnTo>
                    <a:pt x="114" y="202"/>
                  </a:lnTo>
                  <a:lnTo>
                    <a:pt x="111" y="199"/>
                  </a:lnTo>
                  <a:lnTo>
                    <a:pt x="106" y="201"/>
                  </a:lnTo>
                  <a:lnTo>
                    <a:pt x="104" y="202"/>
                  </a:lnTo>
                  <a:lnTo>
                    <a:pt x="101" y="198"/>
                  </a:lnTo>
                  <a:lnTo>
                    <a:pt x="104" y="192"/>
                  </a:lnTo>
                  <a:lnTo>
                    <a:pt x="104" y="188"/>
                  </a:lnTo>
                  <a:lnTo>
                    <a:pt x="103" y="183"/>
                  </a:lnTo>
                  <a:lnTo>
                    <a:pt x="104" y="180"/>
                  </a:lnTo>
                  <a:lnTo>
                    <a:pt x="107" y="178"/>
                  </a:lnTo>
                  <a:lnTo>
                    <a:pt x="108" y="173"/>
                  </a:lnTo>
                  <a:lnTo>
                    <a:pt x="105" y="168"/>
                  </a:lnTo>
                  <a:lnTo>
                    <a:pt x="104" y="165"/>
                  </a:lnTo>
                  <a:lnTo>
                    <a:pt x="104" y="163"/>
                  </a:lnTo>
                  <a:lnTo>
                    <a:pt x="103" y="157"/>
                  </a:lnTo>
                  <a:lnTo>
                    <a:pt x="104" y="154"/>
                  </a:lnTo>
                  <a:lnTo>
                    <a:pt x="104" y="150"/>
                  </a:lnTo>
                  <a:lnTo>
                    <a:pt x="105" y="146"/>
                  </a:lnTo>
                  <a:lnTo>
                    <a:pt x="107" y="143"/>
                  </a:lnTo>
                  <a:lnTo>
                    <a:pt x="107" y="140"/>
                  </a:lnTo>
                  <a:lnTo>
                    <a:pt x="112" y="138"/>
                  </a:lnTo>
                  <a:lnTo>
                    <a:pt x="119" y="136"/>
                  </a:lnTo>
                  <a:lnTo>
                    <a:pt x="122" y="130"/>
                  </a:lnTo>
                  <a:lnTo>
                    <a:pt x="123" y="124"/>
                  </a:lnTo>
                  <a:lnTo>
                    <a:pt x="122" y="120"/>
                  </a:lnTo>
                  <a:lnTo>
                    <a:pt x="123" y="116"/>
                  </a:lnTo>
                  <a:lnTo>
                    <a:pt x="125" y="115"/>
                  </a:lnTo>
                  <a:lnTo>
                    <a:pt x="131" y="115"/>
                  </a:lnTo>
                  <a:lnTo>
                    <a:pt x="141" y="114"/>
                  </a:lnTo>
                  <a:lnTo>
                    <a:pt x="142" y="110"/>
                  </a:lnTo>
                  <a:lnTo>
                    <a:pt x="142" y="106"/>
                  </a:lnTo>
                  <a:lnTo>
                    <a:pt x="144" y="103"/>
                  </a:lnTo>
                  <a:lnTo>
                    <a:pt x="147" y="101"/>
                  </a:lnTo>
                  <a:lnTo>
                    <a:pt x="148" y="96"/>
                  </a:lnTo>
                  <a:lnTo>
                    <a:pt x="138" y="96"/>
                  </a:lnTo>
                  <a:lnTo>
                    <a:pt x="135" y="98"/>
                  </a:lnTo>
                  <a:lnTo>
                    <a:pt x="130" y="98"/>
                  </a:lnTo>
                  <a:lnTo>
                    <a:pt x="128" y="94"/>
                  </a:lnTo>
                  <a:lnTo>
                    <a:pt x="129" y="91"/>
                  </a:lnTo>
                  <a:lnTo>
                    <a:pt x="129" y="87"/>
                  </a:lnTo>
                  <a:lnTo>
                    <a:pt x="131" y="84"/>
                  </a:lnTo>
                  <a:lnTo>
                    <a:pt x="129" y="81"/>
                  </a:lnTo>
                  <a:lnTo>
                    <a:pt x="129" y="77"/>
                  </a:lnTo>
                  <a:lnTo>
                    <a:pt x="131" y="74"/>
                  </a:lnTo>
                  <a:lnTo>
                    <a:pt x="130" y="69"/>
                  </a:lnTo>
                  <a:lnTo>
                    <a:pt x="129" y="65"/>
                  </a:lnTo>
                  <a:lnTo>
                    <a:pt x="130" y="62"/>
                  </a:lnTo>
                  <a:lnTo>
                    <a:pt x="136" y="62"/>
                  </a:lnTo>
                  <a:lnTo>
                    <a:pt x="140" y="59"/>
                  </a:lnTo>
                  <a:lnTo>
                    <a:pt x="143" y="50"/>
                  </a:lnTo>
                  <a:lnTo>
                    <a:pt x="145" y="46"/>
                  </a:lnTo>
                  <a:lnTo>
                    <a:pt x="152" y="42"/>
                  </a:lnTo>
                  <a:lnTo>
                    <a:pt x="159" y="45"/>
                  </a:lnTo>
                  <a:lnTo>
                    <a:pt x="162" y="44"/>
                  </a:lnTo>
                  <a:lnTo>
                    <a:pt x="163" y="41"/>
                  </a:lnTo>
                  <a:lnTo>
                    <a:pt x="166" y="41"/>
                  </a:lnTo>
                  <a:lnTo>
                    <a:pt x="169" y="42"/>
                  </a:lnTo>
                  <a:lnTo>
                    <a:pt x="176" y="41"/>
                  </a:lnTo>
                  <a:lnTo>
                    <a:pt x="176" y="32"/>
                  </a:lnTo>
                  <a:lnTo>
                    <a:pt x="177" y="28"/>
                  </a:lnTo>
                  <a:lnTo>
                    <a:pt x="181" y="23"/>
                  </a:lnTo>
                  <a:lnTo>
                    <a:pt x="182" y="20"/>
                  </a:lnTo>
                  <a:lnTo>
                    <a:pt x="182" y="16"/>
                  </a:lnTo>
                  <a:lnTo>
                    <a:pt x="185" y="12"/>
                  </a:lnTo>
                  <a:lnTo>
                    <a:pt x="186" y="9"/>
                  </a:lnTo>
                  <a:lnTo>
                    <a:pt x="189" y="6"/>
                  </a:lnTo>
                  <a:lnTo>
                    <a:pt x="193" y="3"/>
                  </a:lnTo>
                  <a:lnTo>
                    <a:pt x="197" y="2"/>
                  </a:lnTo>
                  <a:lnTo>
                    <a:pt x="203" y="6"/>
                  </a:lnTo>
                  <a:lnTo>
                    <a:pt x="207" y="9"/>
                  </a:lnTo>
                  <a:lnTo>
                    <a:pt x="209" y="8"/>
                  </a:lnTo>
                  <a:lnTo>
                    <a:pt x="210" y="5"/>
                  </a:lnTo>
                  <a:lnTo>
                    <a:pt x="218" y="1"/>
                  </a:lnTo>
                  <a:lnTo>
                    <a:pt x="221" y="1"/>
                  </a:lnTo>
                  <a:lnTo>
                    <a:pt x="224" y="2"/>
                  </a:lnTo>
                  <a:lnTo>
                    <a:pt x="226" y="4"/>
                  </a:lnTo>
                  <a:lnTo>
                    <a:pt x="228" y="7"/>
                  </a:lnTo>
                  <a:lnTo>
                    <a:pt x="230" y="11"/>
                  </a:lnTo>
                  <a:lnTo>
                    <a:pt x="235" y="12"/>
                  </a:lnTo>
                  <a:lnTo>
                    <a:pt x="237" y="7"/>
                  </a:lnTo>
                  <a:lnTo>
                    <a:pt x="240" y="5"/>
                  </a:lnTo>
                  <a:lnTo>
                    <a:pt x="242" y="2"/>
                  </a:lnTo>
                  <a:lnTo>
                    <a:pt x="244" y="1"/>
                  </a:lnTo>
                  <a:lnTo>
                    <a:pt x="247" y="0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286" name="BE">
              <a:extLst>
                <a:ext uri="{FF2B5EF4-FFF2-40B4-BE49-F238E27FC236}">
                  <a16:creationId xmlns:a16="http://schemas.microsoft.com/office/drawing/2014/main" id="{BD98D118-561E-811E-BB69-0D2F2AC8F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241" y="4254677"/>
              <a:ext cx="419287" cy="333891"/>
            </a:xfrm>
            <a:custGeom>
              <a:avLst/>
              <a:gdLst>
                <a:gd name="T0" fmla="*/ 136 w 221"/>
                <a:gd name="T1" fmla="*/ 6 h 189"/>
                <a:gd name="T2" fmla="*/ 144 w 221"/>
                <a:gd name="T3" fmla="*/ 9 h 189"/>
                <a:gd name="T4" fmla="*/ 151 w 221"/>
                <a:gd name="T5" fmla="*/ 10 h 189"/>
                <a:gd name="T6" fmla="*/ 157 w 221"/>
                <a:gd name="T7" fmla="*/ 19 h 189"/>
                <a:gd name="T8" fmla="*/ 172 w 221"/>
                <a:gd name="T9" fmla="*/ 22 h 189"/>
                <a:gd name="T10" fmla="*/ 182 w 221"/>
                <a:gd name="T11" fmla="*/ 31 h 189"/>
                <a:gd name="T12" fmla="*/ 193 w 221"/>
                <a:gd name="T13" fmla="*/ 35 h 189"/>
                <a:gd name="T14" fmla="*/ 190 w 221"/>
                <a:gd name="T15" fmla="*/ 47 h 189"/>
                <a:gd name="T16" fmla="*/ 184 w 221"/>
                <a:gd name="T17" fmla="*/ 58 h 189"/>
                <a:gd name="T18" fmla="*/ 183 w 221"/>
                <a:gd name="T19" fmla="*/ 72 h 189"/>
                <a:gd name="T20" fmla="*/ 200 w 221"/>
                <a:gd name="T21" fmla="*/ 74 h 189"/>
                <a:gd name="T22" fmla="*/ 215 w 221"/>
                <a:gd name="T23" fmla="*/ 87 h 189"/>
                <a:gd name="T24" fmla="*/ 212 w 221"/>
                <a:gd name="T25" fmla="*/ 99 h 189"/>
                <a:gd name="T26" fmla="*/ 220 w 221"/>
                <a:gd name="T27" fmla="*/ 106 h 189"/>
                <a:gd name="T28" fmla="*/ 215 w 221"/>
                <a:gd name="T29" fmla="*/ 119 h 189"/>
                <a:gd name="T30" fmla="*/ 206 w 221"/>
                <a:gd name="T31" fmla="*/ 129 h 189"/>
                <a:gd name="T32" fmla="*/ 198 w 221"/>
                <a:gd name="T33" fmla="*/ 127 h 189"/>
                <a:gd name="T34" fmla="*/ 190 w 221"/>
                <a:gd name="T35" fmla="*/ 137 h 189"/>
                <a:gd name="T36" fmla="*/ 183 w 221"/>
                <a:gd name="T37" fmla="*/ 148 h 189"/>
                <a:gd name="T38" fmla="*/ 181 w 221"/>
                <a:gd name="T39" fmla="*/ 163 h 189"/>
                <a:gd name="T40" fmla="*/ 187 w 221"/>
                <a:gd name="T41" fmla="*/ 173 h 189"/>
                <a:gd name="T42" fmla="*/ 183 w 221"/>
                <a:gd name="T43" fmla="*/ 186 h 189"/>
                <a:gd name="T44" fmla="*/ 173 w 221"/>
                <a:gd name="T45" fmla="*/ 185 h 189"/>
                <a:gd name="T46" fmla="*/ 163 w 221"/>
                <a:gd name="T47" fmla="*/ 186 h 189"/>
                <a:gd name="T48" fmla="*/ 154 w 221"/>
                <a:gd name="T49" fmla="*/ 175 h 189"/>
                <a:gd name="T50" fmla="*/ 145 w 221"/>
                <a:gd name="T51" fmla="*/ 169 h 189"/>
                <a:gd name="T52" fmla="*/ 133 w 221"/>
                <a:gd name="T53" fmla="*/ 159 h 189"/>
                <a:gd name="T54" fmla="*/ 127 w 221"/>
                <a:gd name="T55" fmla="*/ 152 h 189"/>
                <a:gd name="T56" fmla="*/ 125 w 221"/>
                <a:gd name="T57" fmla="*/ 142 h 189"/>
                <a:gd name="T58" fmla="*/ 128 w 221"/>
                <a:gd name="T59" fmla="*/ 126 h 189"/>
                <a:gd name="T60" fmla="*/ 118 w 221"/>
                <a:gd name="T61" fmla="*/ 138 h 189"/>
                <a:gd name="T62" fmla="*/ 103 w 221"/>
                <a:gd name="T63" fmla="*/ 144 h 189"/>
                <a:gd name="T64" fmla="*/ 86 w 221"/>
                <a:gd name="T65" fmla="*/ 136 h 189"/>
                <a:gd name="T66" fmla="*/ 87 w 221"/>
                <a:gd name="T67" fmla="*/ 124 h 189"/>
                <a:gd name="T68" fmla="*/ 90 w 221"/>
                <a:gd name="T69" fmla="*/ 111 h 189"/>
                <a:gd name="T70" fmla="*/ 81 w 221"/>
                <a:gd name="T71" fmla="*/ 103 h 189"/>
                <a:gd name="T72" fmla="*/ 65 w 221"/>
                <a:gd name="T73" fmla="*/ 102 h 189"/>
                <a:gd name="T74" fmla="*/ 60 w 221"/>
                <a:gd name="T75" fmla="*/ 96 h 189"/>
                <a:gd name="T76" fmla="*/ 52 w 221"/>
                <a:gd name="T77" fmla="*/ 88 h 189"/>
                <a:gd name="T78" fmla="*/ 43 w 221"/>
                <a:gd name="T79" fmla="*/ 86 h 189"/>
                <a:gd name="T80" fmla="*/ 37 w 221"/>
                <a:gd name="T81" fmla="*/ 74 h 189"/>
                <a:gd name="T82" fmla="*/ 34 w 221"/>
                <a:gd name="T83" fmla="*/ 62 h 189"/>
                <a:gd name="T84" fmla="*/ 21 w 221"/>
                <a:gd name="T85" fmla="*/ 62 h 189"/>
                <a:gd name="T86" fmla="*/ 8 w 221"/>
                <a:gd name="T87" fmla="*/ 55 h 189"/>
                <a:gd name="T88" fmla="*/ 1 w 221"/>
                <a:gd name="T89" fmla="*/ 43 h 189"/>
                <a:gd name="T90" fmla="*/ 0 w 221"/>
                <a:gd name="T91" fmla="*/ 29 h 189"/>
                <a:gd name="T92" fmla="*/ 25 w 221"/>
                <a:gd name="T93" fmla="*/ 14 h 189"/>
                <a:gd name="T94" fmla="*/ 50 w 221"/>
                <a:gd name="T95" fmla="*/ 13 h 189"/>
                <a:gd name="T96" fmla="*/ 58 w 221"/>
                <a:gd name="T97" fmla="*/ 15 h 189"/>
                <a:gd name="T98" fmla="*/ 73 w 221"/>
                <a:gd name="T99" fmla="*/ 17 h 189"/>
                <a:gd name="T100" fmla="*/ 95 w 221"/>
                <a:gd name="T101" fmla="*/ 18 h 189"/>
                <a:gd name="T102" fmla="*/ 103 w 221"/>
                <a:gd name="T103" fmla="*/ 13 h 189"/>
                <a:gd name="T104" fmla="*/ 105 w 221"/>
                <a:gd name="T105" fmla="*/ 15 h 189"/>
                <a:gd name="T106" fmla="*/ 111 w 221"/>
                <a:gd name="T107" fmla="*/ 12 h 189"/>
                <a:gd name="T108" fmla="*/ 117 w 221"/>
                <a:gd name="T109" fmla="*/ 1 h 189"/>
                <a:gd name="T110" fmla="*/ 125 w 221"/>
                <a:gd name="T111" fmla="*/ 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1" h="189">
                  <a:moveTo>
                    <a:pt x="134" y="0"/>
                  </a:moveTo>
                  <a:lnTo>
                    <a:pt x="137" y="2"/>
                  </a:lnTo>
                  <a:lnTo>
                    <a:pt x="136" y="5"/>
                  </a:lnTo>
                  <a:lnTo>
                    <a:pt x="136" y="6"/>
                  </a:lnTo>
                  <a:lnTo>
                    <a:pt x="134" y="7"/>
                  </a:lnTo>
                  <a:lnTo>
                    <a:pt x="138" y="9"/>
                  </a:lnTo>
                  <a:lnTo>
                    <a:pt x="141" y="10"/>
                  </a:lnTo>
                  <a:lnTo>
                    <a:pt x="144" y="9"/>
                  </a:lnTo>
                  <a:lnTo>
                    <a:pt x="146" y="6"/>
                  </a:lnTo>
                  <a:lnTo>
                    <a:pt x="148" y="3"/>
                  </a:lnTo>
                  <a:lnTo>
                    <a:pt x="152" y="7"/>
                  </a:lnTo>
                  <a:lnTo>
                    <a:pt x="151" y="10"/>
                  </a:lnTo>
                  <a:lnTo>
                    <a:pt x="151" y="13"/>
                  </a:lnTo>
                  <a:lnTo>
                    <a:pt x="153" y="16"/>
                  </a:lnTo>
                  <a:lnTo>
                    <a:pt x="154" y="18"/>
                  </a:lnTo>
                  <a:lnTo>
                    <a:pt x="157" y="19"/>
                  </a:lnTo>
                  <a:lnTo>
                    <a:pt x="159" y="24"/>
                  </a:lnTo>
                  <a:lnTo>
                    <a:pt x="162" y="24"/>
                  </a:lnTo>
                  <a:lnTo>
                    <a:pt x="169" y="24"/>
                  </a:lnTo>
                  <a:lnTo>
                    <a:pt x="172" y="22"/>
                  </a:lnTo>
                  <a:lnTo>
                    <a:pt x="175" y="22"/>
                  </a:lnTo>
                  <a:lnTo>
                    <a:pt x="177" y="25"/>
                  </a:lnTo>
                  <a:lnTo>
                    <a:pt x="177" y="29"/>
                  </a:lnTo>
                  <a:lnTo>
                    <a:pt x="182" y="31"/>
                  </a:lnTo>
                  <a:lnTo>
                    <a:pt x="185" y="33"/>
                  </a:lnTo>
                  <a:lnTo>
                    <a:pt x="187" y="32"/>
                  </a:lnTo>
                  <a:lnTo>
                    <a:pt x="190" y="35"/>
                  </a:lnTo>
                  <a:lnTo>
                    <a:pt x="193" y="35"/>
                  </a:lnTo>
                  <a:lnTo>
                    <a:pt x="193" y="39"/>
                  </a:lnTo>
                  <a:lnTo>
                    <a:pt x="192" y="41"/>
                  </a:lnTo>
                  <a:lnTo>
                    <a:pt x="191" y="44"/>
                  </a:lnTo>
                  <a:lnTo>
                    <a:pt x="190" y="47"/>
                  </a:lnTo>
                  <a:lnTo>
                    <a:pt x="186" y="53"/>
                  </a:lnTo>
                  <a:lnTo>
                    <a:pt x="189" y="53"/>
                  </a:lnTo>
                  <a:lnTo>
                    <a:pt x="187" y="56"/>
                  </a:lnTo>
                  <a:lnTo>
                    <a:pt x="184" y="58"/>
                  </a:lnTo>
                  <a:lnTo>
                    <a:pt x="180" y="64"/>
                  </a:lnTo>
                  <a:lnTo>
                    <a:pt x="181" y="67"/>
                  </a:lnTo>
                  <a:lnTo>
                    <a:pt x="183" y="69"/>
                  </a:lnTo>
                  <a:lnTo>
                    <a:pt x="183" y="72"/>
                  </a:lnTo>
                  <a:lnTo>
                    <a:pt x="185" y="73"/>
                  </a:lnTo>
                  <a:lnTo>
                    <a:pt x="189" y="73"/>
                  </a:lnTo>
                  <a:lnTo>
                    <a:pt x="194" y="73"/>
                  </a:lnTo>
                  <a:lnTo>
                    <a:pt x="200" y="74"/>
                  </a:lnTo>
                  <a:lnTo>
                    <a:pt x="202" y="78"/>
                  </a:lnTo>
                  <a:lnTo>
                    <a:pt x="205" y="78"/>
                  </a:lnTo>
                  <a:lnTo>
                    <a:pt x="210" y="85"/>
                  </a:lnTo>
                  <a:lnTo>
                    <a:pt x="215" y="87"/>
                  </a:lnTo>
                  <a:lnTo>
                    <a:pt x="213" y="91"/>
                  </a:lnTo>
                  <a:lnTo>
                    <a:pt x="210" y="94"/>
                  </a:lnTo>
                  <a:lnTo>
                    <a:pt x="211" y="96"/>
                  </a:lnTo>
                  <a:lnTo>
                    <a:pt x="212" y="99"/>
                  </a:lnTo>
                  <a:lnTo>
                    <a:pt x="215" y="99"/>
                  </a:lnTo>
                  <a:lnTo>
                    <a:pt x="219" y="100"/>
                  </a:lnTo>
                  <a:lnTo>
                    <a:pt x="219" y="103"/>
                  </a:lnTo>
                  <a:lnTo>
                    <a:pt x="220" y="106"/>
                  </a:lnTo>
                  <a:lnTo>
                    <a:pt x="219" y="109"/>
                  </a:lnTo>
                  <a:lnTo>
                    <a:pt x="221" y="114"/>
                  </a:lnTo>
                  <a:lnTo>
                    <a:pt x="219" y="116"/>
                  </a:lnTo>
                  <a:lnTo>
                    <a:pt x="215" y="119"/>
                  </a:lnTo>
                  <a:lnTo>
                    <a:pt x="211" y="121"/>
                  </a:lnTo>
                  <a:lnTo>
                    <a:pt x="208" y="123"/>
                  </a:lnTo>
                  <a:lnTo>
                    <a:pt x="208" y="126"/>
                  </a:lnTo>
                  <a:lnTo>
                    <a:pt x="206" y="129"/>
                  </a:lnTo>
                  <a:lnTo>
                    <a:pt x="206" y="132"/>
                  </a:lnTo>
                  <a:lnTo>
                    <a:pt x="203" y="130"/>
                  </a:lnTo>
                  <a:lnTo>
                    <a:pt x="201" y="131"/>
                  </a:lnTo>
                  <a:lnTo>
                    <a:pt x="198" y="127"/>
                  </a:lnTo>
                  <a:lnTo>
                    <a:pt x="196" y="129"/>
                  </a:lnTo>
                  <a:lnTo>
                    <a:pt x="195" y="132"/>
                  </a:lnTo>
                  <a:lnTo>
                    <a:pt x="192" y="134"/>
                  </a:lnTo>
                  <a:lnTo>
                    <a:pt x="190" y="137"/>
                  </a:lnTo>
                  <a:lnTo>
                    <a:pt x="188" y="140"/>
                  </a:lnTo>
                  <a:lnTo>
                    <a:pt x="186" y="143"/>
                  </a:lnTo>
                  <a:lnTo>
                    <a:pt x="186" y="147"/>
                  </a:lnTo>
                  <a:lnTo>
                    <a:pt x="183" y="148"/>
                  </a:lnTo>
                  <a:lnTo>
                    <a:pt x="180" y="153"/>
                  </a:lnTo>
                  <a:lnTo>
                    <a:pt x="183" y="156"/>
                  </a:lnTo>
                  <a:lnTo>
                    <a:pt x="180" y="159"/>
                  </a:lnTo>
                  <a:lnTo>
                    <a:pt x="181" y="163"/>
                  </a:lnTo>
                  <a:lnTo>
                    <a:pt x="183" y="164"/>
                  </a:lnTo>
                  <a:lnTo>
                    <a:pt x="185" y="167"/>
                  </a:lnTo>
                  <a:lnTo>
                    <a:pt x="186" y="170"/>
                  </a:lnTo>
                  <a:lnTo>
                    <a:pt x="187" y="173"/>
                  </a:lnTo>
                  <a:lnTo>
                    <a:pt x="189" y="176"/>
                  </a:lnTo>
                  <a:lnTo>
                    <a:pt x="187" y="180"/>
                  </a:lnTo>
                  <a:lnTo>
                    <a:pt x="186" y="184"/>
                  </a:lnTo>
                  <a:lnTo>
                    <a:pt x="183" y="186"/>
                  </a:lnTo>
                  <a:lnTo>
                    <a:pt x="180" y="185"/>
                  </a:lnTo>
                  <a:lnTo>
                    <a:pt x="178" y="186"/>
                  </a:lnTo>
                  <a:lnTo>
                    <a:pt x="175" y="185"/>
                  </a:lnTo>
                  <a:lnTo>
                    <a:pt x="173" y="185"/>
                  </a:lnTo>
                  <a:lnTo>
                    <a:pt x="170" y="187"/>
                  </a:lnTo>
                  <a:lnTo>
                    <a:pt x="167" y="187"/>
                  </a:lnTo>
                  <a:lnTo>
                    <a:pt x="164" y="189"/>
                  </a:lnTo>
                  <a:lnTo>
                    <a:pt x="163" y="186"/>
                  </a:lnTo>
                  <a:lnTo>
                    <a:pt x="160" y="179"/>
                  </a:lnTo>
                  <a:lnTo>
                    <a:pt x="157" y="177"/>
                  </a:lnTo>
                  <a:lnTo>
                    <a:pt x="155" y="177"/>
                  </a:lnTo>
                  <a:lnTo>
                    <a:pt x="154" y="175"/>
                  </a:lnTo>
                  <a:lnTo>
                    <a:pt x="153" y="171"/>
                  </a:lnTo>
                  <a:lnTo>
                    <a:pt x="151" y="170"/>
                  </a:lnTo>
                  <a:lnTo>
                    <a:pt x="147" y="170"/>
                  </a:lnTo>
                  <a:lnTo>
                    <a:pt x="145" y="169"/>
                  </a:lnTo>
                  <a:lnTo>
                    <a:pt x="141" y="164"/>
                  </a:lnTo>
                  <a:lnTo>
                    <a:pt x="139" y="163"/>
                  </a:lnTo>
                  <a:lnTo>
                    <a:pt x="135" y="160"/>
                  </a:lnTo>
                  <a:lnTo>
                    <a:pt x="133" y="159"/>
                  </a:lnTo>
                  <a:lnTo>
                    <a:pt x="131" y="160"/>
                  </a:lnTo>
                  <a:lnTo>
                    <a:pt x="128" y="159"/>
                  </a:lnTo>
                  <a:lnTo>
                    <a:pt x="127" y="155"/>
                  </a:lnTo>
                  <a:lnTo>
                    <a:pt x="127" y="152"/>
                  </a:lnTo>
                  <a:lnTo>
                    <a:pt x="129" y="149"/>
                  </a:lnTo>
                  <a:lnTo>
                    <a:pt x="128" y="146"/>
                  </a:lnTo>
                  <a:lnTo>
                    <a:pt x="125" y="145"/>
                  </a:lnTo>
                  <a:lnTo>
                    <a:pt x="125" y="142"/>
                  </a:lnTo>
                  <a:lnTo>
                    <a:pt x="127" y="136"/>
                  </a:lnTo>
                  <a:lnTo>
                    <a:pt x="129" y="132"/>
                  </a:lnTo>
                  <a:lnTo>
                    <a:pt x="131" y="129"/>
                  </a:lnTo>
                  <a:lnTo>
                    <a:pt x="128" y="126"/>
                  </a:lnTo>
                  <a:lnTo>
                    <a:pt x="126" y="125"/>
                  </a:lnTo>
                  <a:lnTo>
                    <a:pt x="119" y="131"/>
                  </a:lnTo>
                  <a:lnTo>
                    <a:pt x="119" y="134"/>
                  </a:lnTo>
                  <a:lnTo>
                    <a:pt x="118" y="138"/>
                  </a:lnTo>
                  <a:lnTo>
                    <a:pt x="116" y="140"/>
                  </a:lnTo>
                  <a:lnTo>
                    <a:pt x="114" y="141"/>
                  </a:lnTo>
                  <a:lnTo>
                    <a:pt x="105" y="144"/>
                  </a:lnTo>
                  <a:lnTo>
                    <a:pt x="103" y="144"/>
                  </a:lnTo>
                  <a:lnTo>
                    <a:pt x="94" y="141"/>
                  </a:lnTo>
                  <a:lnTo>
                    <a:pt x="90" y="141"/>
                  </a:lnTo>
                  <a:lnTo>
                    <a:pt x="86" y="139"/>
                  </a:lnTo>
                  <a:lnTo>
                    <a:pt x="86" y="136"/>
                  </a:lnTo>
                  <a:lnTo>
                    <a:pt x="88" y="133"/>
                  </a:lnTo>
                  <a:lnTo>
                    <a:pt x="91" y="132"/>
                  </a:lnTo>
                  <a:lnTo>
                    <a:pt x="90" y="124"/>
                  </a:lnTo>
                  <a:lnTo>
                    <a:pt x="87" y="124"/>
                  </a:lnTo>
                  <a:lnTo>
                    <a:pt x="88" y="119"/>
                  </a:lnTo>
                  <a:lnTo>
                    <a:pt x="90" y="115"/>
                  </a:lnTo>
                  <a:lnTo>
                    <a:pt x="92" y="113"/>
                  </a:lnTo>
                  <a:lnTo>
                    <a:pt x="90" y="111"/>
                  </a:lnTo>
                  <a:lnTo>
                    <a:pt x="88" y="112"/>
                  </a:lnTo>
                  <a:lnTo>
                    <a:pt x="86" y="108"/>
                  </a:lnTo>
                  <a:lnTo>
                    <a:pt x="84" y="106"/>
                  </a:lnTo>
                  <a:lnTo>
                    <a:pt x="81" y="103"/>
                  </a:lnTo>
                  <a:lnTo>
                    <a:pt x="75" y="105"/>
                  </a:lnTo>
                  <a:lnTo>
                    <a:pt x="73" y="104"/>
                  </a:lnTo>
                  <a:lnTo>
                    <a:pt x="68" y="102"/>
                  </a:lnTo>
                  <a:lnTo>
                    <a:pt x="65" y="102"/>
                  </a:lnTo>
                  <a:lnTo>
                    <a:pt x="63" y="104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58" y="89"/>
                  </a:lnTo>
                  <a:lnTo>
                    <a:pt x="55" y="88"/>
                  </a:lnTo>
                  <a:lnTo>
                    <a:pt x="52" y="88"/>
                  </a:lnTo>
                  <a:lnTo>
                    <a:pt x="51" y="85"/>
                  </a:lnTo>
                  <a:lnTo>
                    <a:pt x="49" y="85"/>
                  </a:lnTo>
                  <a:lnTo>
                    <a:pt x="45" y="87"/>
                  </a:lnTo>
                  <a:lnTo>
                    <a:pt x="43" y="86"/>
                  </a:lnTo>
                  <a:lnTo>
                    <a:pt x="40" y="85"/>
                  </a:lnTo>
                  <a:lnTo>
                    <a:pt x="38" y="82"/>
                  </a:lnTo>
                  <a:lnTo>
                    <a:pt x="39" y="79"/>
                  </a:lnTo>
                  <a:lnTo>
                    <a:pt x="37" y="74"/>
                  </a:lnTo>
                  <a:lnTo>
                    <a:pt x="37" y="71"/>
                  </a:lnTo>
                  <a:lnTo>
                    <a:pt x="38" y="67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2" y="58"/>
                  </a:lnTo>
                  <a:lnTo>
                    <a:pt x="26" y="58"/>
                  </a:lnTo>
                  <a:lnTo>
                    <a:pt x="23" y="60"/>
                  </a:lnTo>
                  <a:lnTo>
                    <a:pt x="21" y="62"/>
                  </a:lnTo>
                  <a:lnTo>
                    <a:pt x="18" y="65"/>
                  </a:lnTo>
                  <a:lnTo>
                    <a:pt x="12" y="62"/>
                  </a:lnTo>
                  <a:lnTo>
                    <a:pt x="10" y="58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52"/>
                  </a:lnTo>
                  <a:lnTo>
                    <a:pt x="1" y="49"/>
                  </a:lnTo>
                  <a:lnTo>
                    <a:pt x="1" y="43"/>
                  </a:lnTo>
                  <a:lnTo>
                    <a:pt x="3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3" y="25"/>
                  </a:lnTo>
                  <a:lnTo>
                    <a:pt x="12" y="20"/>
                  </a:lnTo>
                  <a:lnTo>
                    <a:pt x="25" y="14"/>
                  </a:lnTo>
                  <a:lnTo>
                    <a:pt x="37" y="8"/>
                  </a:lnTo>
                  <a:lnTo>
                    <a:pt x="50" y="5"/>
                  </a:lnTo>
                  <a:lnTo>
                    <a:pt x="50" y="8"/>
                  </a:lnTo>
                  <a:lnTo>
                    <a:pt x="50" y="13"/>
                  </a:lnTo>
                  <a:lnTo>
                    <a:pt x="52" y="17"/>
                  </a:lnTo>
                  <a:lnTo>
                    <a:pt x="55" y="18"/>
                  </a:lnTo>
                  <a:lnTo>
                    <a:pt x="58" y="18"/>
                  </a:lnTo>
                  <a:lnTo>
                    <a:pt x="58" y="15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6" y="14"/>
                  </a:lnTo>
                  <a:lnTo>
                    <a:pt x="73" y="17"/>
                  </a:lnTo>
                  <a:lnTo>
                    <a:pt x="74" y="20"/>
                  </a:lnTo>
                  <a:lnTo>
                    <a:pt x="83" y="23"/>
                  </a:lnTo>
                  <a:lnTo>
                    <a:pt x="87" y="21"/>
                  </a:lnTo>
                  <a:lnTo>
                    <a:pt x="95" y="18"/>
                  </a:lnTo>
                  <a:lnTo>
                    <a:pt x="98" y="16"/>
                  </a:lnTo>
                  <a:lnTo>
                    <a:pt x="100" y="13"/>
                  </a:lnTo>
                  <a:lnTo>
                    <a:pt x="101" y="10"/>
                  </a:lnTo>
                  <a:lnTo>
                    <a:pt x="103" y="13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7" y="17"/>
                  </a:lnTo>
                  <a:lnTo>
                    <a:pt x="105" y="15"/>
                  </a:lnTo>
                  <a:lnTo>
                    <a:pt x="105" y="12"/>
                  </a:lnTo>
                  <a:lnTo>
                    <a:pt x="103" y="10"/>
                  </a:lnTo>
                  <a:lnTo>
                    <a:pt x="107" y="11"/>
                  </a:lnTo>
                  <a:lnTo>
                    <a:pt x="111" y="12"/>
                  </a:lnTo>
                  <a:lnTo>
                    <a:pt x="112" y="9"/>
                  </a:lnTo>
                  <a:lnTo>
                    <a:pt x="111" y="6"/>
                  </a:lnTo>
                  <a:lnTo>
                    <a:pt x="114" y="2"/>
                  </a:lnTo>
                  <a:lnTo>
                    <a:pt x="117" y="1"/>
                  </a:lnTo>
                  <a:lnTo>
                    <a:pt x="119" y="1"/>
                  </a:lnTo>
                  <a:lnTo>
                    <a:pt x="119" y="4"/>
                  </a:lnTo>
                  <a:lnTo>
                    <a:pt x="122" y="6"/>
                  </a:lnTo>
                  <a:lnTo>
                    <a:pt x="125" y="7"/>
                  </a:lnTo>
                  <a:lnTo>
                    <a:pt x="131" y="1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287" name="BA">
              <a:extLst>
                <a:ext uri="{FF2B5EF4-FFF2-40B4-BE49-F238E27FC236}">
                  <a16:creationId xmlns:a16="http://schemas.microsoft.com/office/drawing/2014/main" id="{9F30E951-7B4F-CFC9-2AF7-547BE5D0A3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5471" y="5264667"/>
              <a:ext cx="511471" cy="433645"/>
            </a:xfrm>
            <a:custGeom>
              <a:avLst/>
              <a:gdLst>
                <a:gd name="T0" fmla="*/ 139 w 266"/>
                <a:gd name="T1" fmla="*/ 214 h 241"/>
                <a:gd name="T2" fmla="*/ 166 w 266"/>
                <a:gd name="T3" fmla="*/ 13 h 241"/>
                <a:gd name="T4" fmla="*/ 180 w 266"/>
                <a:gd name="T5" fmla="*/ 10 h 241"/>
                <a:gd name="T6" fmla="*/ 81 w 266"/>
                <a:gd name="T7" fmla="*/ 4 h 241"/>
                <a:gd name="T8" fmla="*/ 98 w 266"/>
                <a:gd name="T9" fmla="*/ 10 h 241"/>
                <a:gd name="T10" fmla="*/ 108 w 266"/>
                <a:gd name="T11" fmla="*/ 10 h 241"/>
                <a:gd name="T12" fmla="*/ 121 w 266"/>
                <a:gd name="T13" fmla="*/ 10 h 241"/>
                <a:gd name="T14" fmla="*/ 136 w 266"/>
                <a:gd name="T15" fmla="*/ 13 h 241"/>
                <a:gd name="T16" fmla="*/ 148 w 266"/>
                <a:gd name="T17" fmla="*/ 6 h 241"/>
                <a:gd name="T18" fmla="*/ 160 w 266"/>
                <a:gd name="T19" fmla="*/ 9 h 241"/>
                <a:gd name="T20" fmla="*/ 165 w 266"/>
                <a:gd name="T21" fmla="*/ 3 h 241"/>
                <a:gd name="T22" fmla="*/ 179 w 266"/>
                <a:gd name="T23" fmla="*/ 9 h 241"/>
                <a:gd name="T24" fmla="*/ 189 w 266"/>
                <a:gd name="T25" fmla="*/ 6 h 241"/>
                <a:gd name="T26" fmla="*/ 200 w 266"/>
                <a:gd name="T27" fmla="*/ 12 h 241"/>
                <a:gd name="T28" fmla="*/ 208 w 266"/>
                <a:gd name="T29" fmla="*/ 25 h 241"/>
                <a:gd name="T30" fmla="*/ 228 w 266"/>
                <a:gd name="T31" fmla="*/ 17 h 241"/>
                <a:gd name="T32" fmla="*/ 241 w 266"/>
                <a:gd name="T33" fmla="*/ 19 h 241"/>
                <a:gd name="T34" fmla="*/ 237 w 266"/>
                <a:gd name="T35" fmla="*/ 40 h 241"/>
                <a:gd name="T36" fmla="*/ 229 w 266"/>
                <a:gd name="T37" fmla="*/ 55 h 241"/>
                <a:gd name="T38" fmla="*/ 230 w 266"/>
                <a:gd name="T39" fmla="*/ 71 h 241"/>
                <a:gd name="T40" fmla="*/ 240 w 266"/>
                <a:gd name="T41" fmla="*/ 77 h 241"/>
                <a:gd name="T42" fmla="*/ 252 w 266"/>
                <a:gd name="T43" fmla="*/ 86 h 241"/>
                <a:gd name="T44" fmla="*/ 263 w 266"/>
                <a:gd name="T45" fmla="*/ 94 h 241"/>
                <a:gd name="T46" fmla="*/ 259 w 266"/>
                <a:gd name="T47" fmla="*/ 102 h 241"/>
                <a:gd name="T48" fmla="*/ 246 w 266"/>
                <a:gd name="T49" fmla="*/ 100 h 241"/>
                <a:gd name="T50" fmla="*/ 247 w 266"/>
                <a:gd name="T51" fmla="*/ 111 h 241"/>
                <a:gd name="T52" fmla="*/ 263 w 266"/>
                <a:gd name="T53" fmla="*/ 130 h 241"/>
                <a:gd name="T54" fmla="*/ 258 w 266"/>
                <a:gd name="T55" fmla="*/ 143 h 241"/>
                <a:gd name="T56" fmla="*/ 247 w 266"/>
                <a:gd name="T57" fmla="*/ 140 h 241"/>
                <a:gd name="T58" fmla="*/ 235 w 266"/>
                <a:gd name="T59" fmla="*/ 149 h 241"/>
                <a:gd name="T60" fmla="*/ 225 w 266"/>
                <a:gd name="T61" fmla="*/ 152 h 241"/>
                <a:gd name="T62" fmla="*/ 238 w 266"/>
                <a:gd name="T63" fmla="*/ 167 h 241"/>
                <a:gd name="T64" fmla="*/ 230 w 266"/>
                <a:gd name="T65" fmla="*/ 166 h 241"/>
                <a:gd name="T66" fmla="*/ 213 w 266"/>
                <a:gd name="T67" fmla="*/ 179 h 241"/>
                <a:gd name="T68" fmla="*/ 209 w 266"/>
                <a:gd name="T69" fmla="*/ 198 h 241"/>
                <a:gd name="T70" fmla="*/ 199 w 266"/>
                <a:gd name="T71" fmla="*/ 209 h 241"/>
                <a:gd name="T72" fmla="*/ 202 w 266"/>
                <a:gd name="T73" fmla="*/ 222 h 241"/>
                <a:gd name="T74" fmla="*/ 208 w 266"/>
                <a:gd name="T75" fmla="*/ 237 h 241"/>
                <a:gd name="T76" fmla="*/ 198 w 266"/>
                <a:gd name="T77" fmla="*/ 241 h 241"/>
                <a:gd name="T78" fmla="*/ 174 w 266"/>
                <a:gd name="T79" fmla="*/ 230 h 241"/>
                <a:gd name="T80" fmla="*/ 158 w 266"/>
                <a:gd name="T81" fmla="*/ 219 h 241"/>
                <a:gd name="T82" fmla="*/ 147 w 266"/>
                <a:gd name="T83" fmla="*/ 214 h 241"/>
                <a:gd name="T84" fmla="*/ 140 w 266"/>
                <a:gd name="T85" fmla="*/ 200 h 241"/>
                <a:gd name="T86" fmla="*/ 120 w 266"/>
                <a:gd name="T87" fmla="*/ 185 h 241"/>
                <a:gd name="T88" fmla="*/ 112 w 266"/>
                <a:gd name="T89" fmla="*/ 165 h 241"/>
                <a:gd name="T90" fmla="*/ 94 w 266"/>
                <a:gd name="T91" fmla="*/ 157 h 241"/>
                <a:gd name="T92" fmla="*/ 72 w 266"/>
                <a:gd name="T93" fmla="*/ 135 h 241"/>
                <a:gd name="T94" fmla="*/ 60 w 266"/>
                <a:gd name="T95" fmla="*/ 124 h 241"/>
                <a:gd name="T96" fmla="*/ 46 w 266"/>
                <a:gd name="T97" fmla="*/ 115 h 241"/>
                <a:gd name="T98" fmla="*/ 35 w 266"/>
                <a:gd name="T99" fmla="*/ 97 h 241"/>
                <a:gd name="T100" fmla="*/ 32 w 266"/>
                <a:gd name="T101" fmla="*/ 85 h 241"/>
                <a:gd name="T102" fmla="*/ 21 w 266"/>
                <a:gd name="T103" fmla="*/ 74 h 241"/>
                <a:gd name="T104" fmla="*/ 17 w 266"/>
                <a:gd name="T105" fmla="*/ 64 h 241"/>
                <a:gd name="T106" fmla="*/ 8 w 266"/>
                <a:gd name="T107" fmla="*/ 61 h 241"/>
                <a:gd name="T108" fmla="*/ 4 w 266"/>
                <a:gd name="T109" fmla="*/ 49 h 241"/>
                <a:gd name="T110" fmla="*/ 2 w 266"/>
                <a:gd name="T111" fmla="*/ 35 h 241"/>
                <a:gd name="T112" fmla="*/ 3 w 266"/>
                <a:gd name="T113" fmla="*/ 15 h 241"/>
                <a:gd name="T114" fmla="*/ 18 w 266"/>
                <a:gd name="T115" fmla="*/ 14 h 241"/>
                <a:gd name="T116" fmla="*/ 36 w 266"/>
                <a:gd name="T117" fmla="*/ 29 h 241"/>
                <a:gd name="T118" fmla="*/ 42 w 266"/>
                <a:gd name="T119" fmla="*/ 18 h 241"/>
                <a:gd name="T120" fmla="*/ 54 w 266"/>
                <a:gd name="T121" fmla="*/ 8 h 241"/>
                <a:gd name="T122" fmla="*/ 74 w 266"/>
                <a:gd name="T123" fmla="*/ 3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6" h="241">
                  <a:moveTo>
                    <a:pt x="139" y="214"/>
                  </a:moveTo>
                  <a:lnTo>
                    <a:pt x="142" y="214"/>
                  </a:lnTo>
                  <a:lnTo>
                    <a:pt x="142" y="214"/>
                  </a:lnTo>
                  <a:lnTo>
                    <a:pt x="139" y="214"/>
                  </a:lnTo>
                  <a:close/>
                  <a:moveTo>
                    <a:pt x="166" y="13"/>
                  </a:moveTo>
                  <a:lnTo>
                    <a:pt x="170" y="16"/>
                  </a:lnTo>
                  <a:lnTo>
                    <a:pt x="167" y="13"/>
                  </a:lnTo>
                  <a:lnTo>
                    <a:pt x="166" y="13"/>
                  </a:lnTo>
                  <a:close/>
                  <a:moveTo>
                    <a:pt x="180" y="10"/>
                  </a:moveTo>
                  <a:lnTo>
                    <a:pt x="187" y="14"/>
                  </a:lnTo>
                  <a:lnTo>
                    <a:pt x="187" y="14"/>
                  </a:lnTo>
                  <a:lnTo>
                    <a:pt x="180" y="10"/>
                  </a:lnTo>
                  <a:close/>
                  <a:moveTo>
                    <a:pt x="76" y="0"/>
                  </a:moveTo>
                  <a:lnTo>
                    <a:pt x="78" y="3"/>
                  </a:lnTo>
                  <a:lnTo>
                    <a:pt x="78" y="4"/>
                  </a:lnTo>
                  <a:lnTo>
                    <a:pt x="81" y="4"/>
                  </a:lnTo>
                  <a:lnTo>
                    <a:pt x="84" y="5"/>
                  </a:lnTo>
                  <a:lnTo>
                    <a:pt x="89" y="9"/>
                  </a:lnTo>
                  <a:lnTo>
                    <a:pt x="95" y="11"/>
                  </a:lnTo>
                  <a:lnTo>
                    <a:pt x="98" y="10"/>
                  </a:lnTo>
                  <a:lnTo>
                    <a:pt x="100" y="7"/>
                  </a:lnTo>
                  <a:lnTo>
                    <a:pt x="102" y="8"/>
                  </a:lnTo>
                  <a:lnTo>
                    <a:pt x="106" y="9"/>
                  </a:lnTo>
                  <a:lnTo>
                    <a:pt x="108" y="10"/>
                  </a:lnTo>
                  <a:lnTo>
                    <a:pt x="111" y="8"/>
                  </a:lnTo>
                  <a:lnTo>
                    <a:pt x="115" y="9"/>
                  </a:lnTo>
                  <a:lnTo>
                    <a:pt x="118" y="11"/>
                  </a:lnTo>
                  <a:lnTo>
                    <a:pt x="121" y="10"/>
                  </a:lnTo>
                  <a:lnTo>
                    <a:pt x="123" y="7"/>
                  </a:lnTo>
                  <a:lnTo>
                    <a:pt x="127" y="6"/>
                  </a:lnTo>
                  <a:lnTo>
                    <a:pt x="132" y="9"/>
                  </a:lnTo>
                  <a:lnTo>
                    <a:pt x="136" y="13"/>
                  </a:lnTo>
                  <a:lnTo>
                    <a:pt x="138" y="14"/>
                  </a:lnTo>
                  <a:lnTo>
                    <a:pt x="141" y="13"/>
                  </a:lnTo>
                  <a:lnTo>
                    <a:pt x="143" y="12"/>
                  </a:lnTo>
                  <a:lnTo>
                    <a:pt x="148" y="6"/>
                  </a:lnTo>
                  <a:lnTo>
                    <a:pt x="151" y="6"/>
                  </a:lnTo>
                  <a:lnTo>
                    <a:pt x="154" y="8"/>
                  </a:lnTo>
                  <a:lnTo>
                    <a:pt x="157" y="9"/>
                  </a:lnTo>
                  <a:lnTo>
                    <a:pt x="160" y="9"/>
                  </a:lnTo>
                  <a:lnTo>
                    <a:pt x="162" y="10"/>
                  </a:lnTo>
                  <a:lnTo>
                    <a:pt x="161" y="7"/>
                  </a:lnTo>
                  <a:lnTo>
                    <a:pt x="162" y="3"/>
                  </a:lnTo>
                  <a:lnTo>
                    <a:pt x="165" y="3"/>
                  </a:lnTo>
                  <a:lnTo>
                    <a:pt x="168" y="5"/>
                  </a:lnTo>
                  <a:lnTo>
                    <a:pt x="174" y="5"/>
                  </a:lnTo>
                  <a:lnTo>
                    <a:pt x="177" y="7"/>
                  </a:lnTo>
                  <a:lnTo>
                    <a:pt x="179" y="9"/>
                  </a:lnTo>
                  <a:lnTo>
                    <a:pt x="183" y="10"/>
                  </a:lnTo>
                  <a:lnTo>
                    <a:pt x="183" y="7"/>
                  </a:lnTo>
                  <a:lnTo>
                    <a:pt x="186" y="6"/>
                  </a:lnTo>
                  <a:lnTo>
                    <a:pt x="189" y="6"/>
                  </a:lnTo>
                  <a:lnTo>
                    <a:pt x="191" y="8"/>
                  </a:lnTo>
                  <a:lnTo>
                    <a:pt x="193" y="6"/>
                  </a:lnTo>
                  <a:lnTo>
                    <a:pt x="197" y="11"/>
                  </a:lnTo>
                  <a:lnTo>
                    <a:pt x="200" y="12"/>
                  </a:lnTo>
                  <a:lnTo>
                    <a:pt x="202" y="15"/>
                  </a:lnTo>
                  <a:lnTo>
                    <a:pt x="201" y="18"/>
                  </a:lnTo>
                  <a:lnTo>
                    <a:pt x="201" y="21"/>
                  </a:lnTo>
                  <a:lnTo>
                    <a:pt x="208" y="25"/>
                  </a:lnTo>
                  <a:lnTo>
                    <a:pt x="217" y="24"/>
                  </a:lnTo>
                  <a:lnTo>
                    <a:pt x="220" y="23"/>
                  </a:lnTo>
                  <a:lnTo>
                    <a:pt x="222" y="22"/>
                  </a:lnTo>
                  <a:lnTo>
                    <a:pt x="228" y="17"/>
                  </a:lnTo>
                  <a:lnTo>
                    <a:pt x="230" y="18"/>
                  </a:lnTo>
                  <a:lnTo>
                    <a:pt x="235" y="18"/>
                  </a:lnTo>
                  <a:lnTo>
                    <a:pt x="238" y="18"/>
                  </a:lnTo>
                  <a:lnTo>
                    <a:pt x="241" y="19"/>
                  </a:lnTo>
                  <a:lnTo>
                    <a:pt x="241" y="22"/>
                  </a:lnTo>
                  <a:lnTo>
                    <a:pt x="240" y="33"/>
                  </a:lnTo>
                  <a:lnTo>
                    <a:pt x="239" y="36"/>
                  </a:lnTo>
                  <a:lnTo>
                    <a:pt x="237" y="40"/>
                  </a:lnTo>
                  <a:lnTo>
                    <a:pt x="236" y="43"/>
                  </a:lnTo>
                  <a:lnTo>
                    <a:pt x="233" y="48"/>
                  </a:lnTo>
                  <a:lnTo>
                    <a:pt x="232" y="52"/>
                  </a:lnTo>
                  <a:lnTo>
                    <a:pt x="229" y="55"/>
                  </a:lnTo>
                  <a:lnTo>
                    <a:pt x="231" y="61"/>
                  </a:lnTo>
                  <a:lnTo>
                    <a:pt x="230" y="65"/>
                  </a:lnTo>
                  <a:lnTo>
                    <a:pt x="229" y="68"/>
                  </a:lnTo>
                  <a:lnTo>
                    <a:pt x="230" y="71"/>
                  </a:lnTo>
                  <a:lnTo>
                    <a:pt x="232" y="74"/>
                  </a:lnTo>
                  <a:lnTo>
                    <a:pt x="235" y="76"/>
                  </a:lnTo>
                  <a:lnTo>
                    <a:pt x="238" y="76"/>
                  </a:lnTo>
                  <a:lnTo>
                    <a:pt x="240" y="77"/>
                  </a:lnTo>
                  <a:lnTo>
                    <a:pt x="243" y="76"/>
                  </a:lnTo>
                  <a:lnTo>
                    <a:pt x="246" y="79"/>
                  </a:lnTo>
                  <a:lnTo>
                    <a:pt x="247" y="82"/>
                  </a:lnTo>
                  <a:lnTo>
                    <a:pt x="252" y="86"/>
                  </a:lnTo>
                  <a:lnTo>
                    <a:pt x="255" y="86"/>
                  </a:lnTo>
                  <a:lnTo>
                    <a:pt x="257" y="89"/>
                  </a:lnTo>
                  <a:lnTo>
                    <a:pt x="259" y="92"/>
                  </a:lnTo>
                  <a:lnTo>
                    <a:pt x="263" y="94"/>
                  </a:lnTo>
                  <a:lnTo>
                    <a:pt x="266" y="94"/>
                  </a:lnTo>
                  <a:lnTo>
                    <a:pt x="266" y="97"/>
                  </a:lnTo>
                  <a:lnTo>
                    <a:pt x="263" y="101"/>
                  </a:lnTo>
                  <a:lnTo>
                    <a:pt x="259" y="102"/>
                  </a:lnTo>
                  <a:lnTo>
                    <a:pt x="256" y="102"/>
                  </a:lnTo>
                  <a:lnTo>
                    <a:pt x="252" y="103"/>
                  </a:lnTo>
                  <a:lnTo>
                    <a:pt x="249" y="103"/>
                  </a:lnTo>
                  <a:lnTo>
                    <a:pt x="246" y="100"/>
                  </a:lnTo>
                  <a:lnTo>
                    <a:pt x="243" y="101"/>
                  </a:lnTo>
                  <a:lnTo>
                    <a:pt x="242" y="104"/>
                  </a:lnTo>
                  <a:lnTo>
                    <a:pt x="245" y="109"/>
                  </a:lnTo>
                  <a:lnTo>
                    <a:pt x="247" y="111"/>
                  </a:lnTo>
                  <a:lnTo>
                    <a:pt x="251" y="116"/>
                  </a:lnTo>
                  <a:lnTo>
                    <a:pt x="259" y="123"/>
                  </a:lnTo>
                  <a:lnTo>
                    <a:pt x="261" y="125"/>
                  </a:lnTo>
                  <a:lnTo>
                    <a:pt x="263" y="130"/>
                  </a:lnTo>
                  <a:lnTo>
                    <a:pt x="262" y="135"/>
                  </a:lnTo>
                  <a:lnTo>
                    <a:pt x="262" y="138"/>
                  </a:lnTo>
                  <a:lnTo>
                    <a:pt x="259" y="140"/>
                  </a:lnTo>
                  <a:lnTo>
                    <a:pt x="258" y="143"/>
                  </a:lnTo>
                  <a:lnTo>
                    <a:pt x="256" y="139"/>
                  </a:lnTo>
                  <a:lnTo>
                    <a:pt x="252" y="138"/>
                  </a:lnTo>
                  <a:lnTo>
                    <a:pt x="249" y="140"/>
                  </a:lnTo>
                  <a:lnTo>
                    <a:pt x="247" y="140"/>
                  </a:lnTo>
                  <a:lnTo>
                    <a:pt x="245" y="146"/>
                  </a:lnTo>
                  <a:lnTo>
                    <a:pt x="241" y="146"/>
                  </a:lnTo>
                  <a:lnTo>
                    <a:pt x="237" y="148"/>
                  </a:lnTo>
                  <a:lnTo>
                    <a:pt x="235" y="149"/>
                  </a:lnTo>
                  <a:lnTo>
                    <a:pt x="232" y="147"/>
                  </a:lnTo>
                  <a:lnTo>
                    <a:pt x="229" y="146"/>
                  </a:lnTo>
                  <a:lnTo>
                    <a:pt x="227" y="149"/>
                  </a:lnTo>
                  <a:lnTo>
                    <a:pt x="225" y="152"/>
                  </a:lnTo>
                  <a:lnTo>
                    <a:pt x="228" y="154"/>
                  </a:lnTo>
                  <a:lnTo>
                    <a:pt x="233" y="158"/>
                  </a:lnTo>
                  <a:lnTo>
                    <a:pt x="235" y="164"/>
                  </a:lnTo>
                  <a:lnTo>
                    <a:pt x="238" y="167"/>
                  </a:lnTo>
                  <a:lnTo>
                    <a:pt x="235" y="168"/>
                  </a:lnTo>
                  <a:lnTo>
                    <a:pt x="233" y="172"/>
                  </a:lnTo>
                  <a:lnTo>
                    <a:pt x="231" y="169"/>
                  </a:lnTo>
                  <a:lnTo>
                    <a:pt x="230" y="166"/>
                  </a:lnTo>
                  <a:lnTo>
                    <a:pt x="226" y="165"/>
                  </a:lnTo>
                  <a:lnTo>
                    <a:pt x="222" y="165"/>
                  </a:lnTo>
                  <a:lnTo>
                    <a:pt x="220" y="168"/>
                  </a:lnTo>
                  <a:lnTo>
                    <a:pt x="213" y="179"/>
                  </a:lnTo>
                  <a:lnTo>
                    <a:pt x="211" y="183"/>
                  </a:lnTo>
                  <a:lnTo>
                    <a:pt x="210" y="189"/>
                  </a:lnTo>
                  <a:lnTo>
                    <a:pt x="212" y="198"/>
                  </a:lnTo>
                  <a:lnTo>
                    <a:pt x="209" y="198"/>
                  </a:lnTo>
                  <a:lnTo>
                    <a:pt x="205" y="198"/>
                  </a:lnTo>
                  <a:lnTo>
                    <a:pt x="200" y="200"/>
                  </a:lnTo>
                  <a:lnTo>
                    <a:pt x="198" y="205"/>
                  </a:lnTo>
                  <a:lnTo>
                    <a:pt x="199" y="209"/>
                  </a:lnTo>
                  <a:lnTo>
                    <a:pt x="201" y="212"/>
                  </a:lnTo>
                  <a:lnTo>
                    <a:pt x="201" y="214"/>
                  </a:lnTo>
                  <a:lnTo>
                    <a:pt x="200" y="218"/>
                  </a:lnTo>
                  <a:lnTo>
                    <a:pt x="202" y="222"/>
                  </a:lnTo>
                  <a:lnTo>
                    <a:pt x="206" y="226"/>
                  </a:lnTo>
                  <a:lnTo>
                    <a:pt x="208" y="228"/>
                  </a:lnTo>
                  <a:lnTo>
                    <a:pt x="210" y="233"/>
                  </a:lnTo>
                  <a:lnTo>
                    <a:pt x="208" y="237"/>
                  </a:lnTo>
                  <a:lnTo>
                    <a:pt x="207" y="240"/>
                  </a:lnTo>
                  <a:lnTo>
                    <a:pt x="204" y="240"/>
                  </a:lnTo>
                  <a:lnTo>
                    <a:pt x="201" y="241"/>
                  </a:lnTo>
                  <a:lnTo>
                    <a:pt x="198" y="241"/>
                  </a:lnTo>
                  <a:lnTo>
                    <a:pt x="195" y="239"/>
                  </a:lnTo>
                  <a:lnTo>
                    <a:pt x="193" y="239"/>
                  </a:lnTo>
                  <a:lnTo>
                    <a:pt x="189" y="238"/>
                  </a:lnTo>
                  <a:lnTo>
                    <a:pt x="174" y="230"/>
                  </a:lnTo>
                  <a:lnTo>
                    <a:pt x="170" y="228"/>
                  </a:lnTo>
                  <a:lnTo>
                    <a:pt x="165" y="224"/>
                  </a:lnTo>
                  <a:lnTo>
                    <a:pt x="161" y="223"/>
                  </a:lnTo>
                  <a:lnTo>
                    <a:pt x="158" y="219"/>
                  </a:lnTo>
                  <a:lnTo>
                    <a:pt x="157" y="216"/>
                  </a:lnTo>
                  <a:lnTo>
                    <a:pt x="155" y="215"/>
                  </a:lnTo>
                  <a:lnTo>
                    <a:pt x="150" y="214"/>
                  </a:lnTo>
                  <a:lnTo>
                    <a:pt x="147" y="214"/>
                  </a:lnTo>
                  <a:lnTo>
                    <a:pt x="142" y="214"/>
                  </a:lnTo>
                  <a:lnTo>
                    <a:pt x="146" y="210"/>
                  </a:lnTo>
                  <a:lnTo>
                    <a:pt x="143" y="203"/>
                  </a:lnTo>
                  <a:lnTo>
                    <a:pt x="140" y="200"/>
                  </a:lnTo>
                  <a:lnTo>
                    <a:pt x="128" y="194"/>
                  </a:lnTo>
                  <a:lnTo>
                    <a:pt x="126" y="192"/>
                  </a:lnTo>
                  <a:lnTo>
                    <a:pt x="125" y="189"/>
                  </a:lnTo>
                  <a:lnTo>
                    <a:pt x="120" y="185"/>
                  </a:lnTo>
                  <a:lnTo>
                    <a:pt x="117" y="182"/>
                  </a:lnTo>
                  <a:lnTo>
                    <a:pt x="115" y="177"/>
                  </a:lnTo>
                  <a:lnTo>
                    <a:pt x="115" y="168"/>
                  </a:lnTo>
                  <a:lnTo>
                    <a:pt x="112" y="165"/>
                  </a:lnTo>
                  <a:lnTo>
                    <a:pt x="105" y="165"/>
                  </a:lnTo>
                  <a:lnTo>
                    <a:pt x="101" y="163"/>
                  </a:lnTo>
                  <a:lnTo>
                    <a:pt x="97" y="160"/>
                  </a:lnTo>
                  <a:lnTo>
                    <a:pt x="94" y="157"/>
                  </a:lnTo>
                  <a:lnTo>
                    <a:pt x="82" y="147"/>
                  </a:lnTo>
                  <a:lnTo>
                    <a:pt x="75" y="142"/>
                  </a:lnTo>
                  <a:lnTo>
                    <a:pt x="73" y="138"/>
                  </a:lnTo>
                  <a:lnTo>
                    <a:pt x="72" y="135"/>
                  </a:lnTo>
                  <a:lnTo>
                    <a:pt x="69" y="133"/>
                  </a:lnTo>
                  <a:lnTo>
                    <a:pt x="66" y="130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4" y="121"/>
                  </a:lnTo>
                  <a:lnTo>
                    <a:pt x="52" y="117"/>
                  </a:lnTo>
                  <a:lnTo>
                    <a:pt x="49" y="117"/>
                  </a:lnTo>
                  <a:lnTo>
                    <a:pt x="46" y="115"/>
                  </a:lnTo>
                  <a:lnTo>
                    <a:pt x="43" y="110"/>
                  </a:lnTo>
                  <a:lnTo>
                    <a:pt x="39" y="106"/>
                  </a:lnTo>
                  <a:lnTo>
                    <a:pt x="36" y="100"/>
                  </a:lnTo>
                  <a:lnTo>
                    <a:pt x="35" y="97"/>
                  </a:lnTo>
                  <a:lnTo>
                    <a:pt x="35" y="93"/>
                  </a:lnTo>
                  <a:lnTo>
                    <a:pt x="35" y="90"/>
                  </a:lnTo>
                  <a:lnTo>
                    <a:pt x="32" y="88"/>
                  </a:lnTo>
                  <a:lnTo>
                    <a:pt x="32" y="85"/>
                  </a:lnTo>
                  <a:lnTo>
                    <a:pt x="30" y="79"/>
                  </a:lnTo>
                  <a:lnTo>
                    <a:pt x="29" y="75"/>
                  </a:lnTo>
                  <a:lnTo>
                    <a:pt x="24" y="76"/>
                  </a:lnTo>
                  <a:lnTo>
                    <a:pt x="21" y="74"/>
                  </a:lnTo>
                  <a:lnTo>
                    <a:pt x="23" y="71"/>
                  </a:lnTo>
                  <a:lnTo>
                    <a:pt x="23" y="68"/>
                  </a:lnTo>
                  <a:lnTo>
                    <a:pt x="20" y="66"/>
                  </a:lnTo>
                  <a:lnTo>
                    <a:pt x="17" y="64"/>
                  </a:lnTo>
                  <a:lnTo>
                    <a:pt x="16" y="61"/>
                  </a:lnTo>
                  <a:lnTo>
                    <a:pt x="13" y="59"/>
                  </a:lnTo>
                  <a:lnTo>
                    <a:pt x="10" y="60"/>
                  </a:lnTo>
                  <a:lnTo>
                    <a:pt x="8" y="61"/>
                  </a:lnTo>
                  <a:lnTo>
                    <a:pt x="5" y="59"/>
                  </a:lnTo>
                  <a:lnTo>
                    <a:pt x="1" y="55"/>
                  </a:lnTo>
                  <a:lnTo>
                    <a:pt x="0" y="52"/>
                  </a:lnTo>
                  <a:lnTo>
                    <a:pt x="4" y="49"/>
                  </a:lnTo>
                  <a:lnTo>
                    <a:pt x="3" y="46"/>
                  </a:lnTo>
                  <a:lnTo>
                    <a:pt x="1" y="43"/>
                  </a:lnTo>
                  <a:lnTo>
                    <a:pt x="1" y="39"/>
                  </a:lnTo>
                  <a:lnTo>
                    <a:pt x="2" y="35"/>
                  </a:lnTo>
                  <a:lnTo>
                    <a:pt x="1" y="30"/>
                  </a:lnTo>
                  <a:lnTo>
                    <a:pt x="3" y="25"/>
                  </a:lnTo>
                  <a:lnTo>
                    <a:pt x="2" y="18"/>
                  </a:lnTo>
                  <a:lnTo>
                    <a:pt x="3" y="15"/>
                  </a:lnTo>
                  <a:lnTo>
                    <a:pt x="8" y="12"/>
                  </a:lnTo>
                  <a:lnTo>
                    <a:pt x="14" y="12"/>
                  </a:lnTo>
                  <a:lnTo>
                    <a:pt x="17" y="11"/>
                  </a:lnTo>
                  <a:lnTo>
                    <a:pt x="18" y="14"/>
                  </a:lnTo>
                  <a:lnTo>
                    <a:pt x="21" y="15"/>
                  </a:lnTo>
                  <a:lnTo>
                    <a:pt x="24" y="20"/>
                  </a:lnTo>
                  <a:lnTo>
                    <a:pt x="31" y="27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40" y="25"/>
                  </a:lnTo>
                  <a:lnTo>
                    <a:pt x="42" y="21"/>
                  </a:lnTo>
                  <a:lnTo>
                    <a:pt x="42" y="18"/>
                  </a:lnTo>
                  <a:lnTo>
                    <a:pt x="45" y="17"/>
                  </a:lnTo>
                  <a:lnTo>
                    <a:pt x="47" y="10"/>
                  </a:lnTo>
                  <a:lnTo>
                    <a:pt x="50" y="8"/>
                  </a:lnTo>
                  <a:lnTo>
                    <a:pt x="54" y="8"/>
                  </a:lnTo>
                  <a:lnTo>
                    <a:pt x="68" y="10"/>
                  </a:lnTo>
                  <a:lnTo>
                    <a:pt x="71" y="9"/>
                  </a:lnTo>
                  <a:lnTo>
                    <a:pt x="71" y="6"/>
                  </a:lnTo>
                  <a:lnTo>
                    <a:pt x="74" y="3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52" name="BG">
              <a:extLst>
                <a:ext uri="{FF2B5EF4-FFF2-40B4-BE49-F238E27FC236}">
                  <a16:creationId xmlns:a16="http://schemas.microsoft.com/office/drawing/2014/main" id="{82A5ADC2-B5D6-9493-D31A-7F7FC9AE6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7834" y="5257741"/>
              <a:ext cx="801404" cy="561105"/>
            </a:xfrm>
            <a:custGeom>
              <a:avLst/>
              <a:gdLst>
                <a:gd name="T0" fmla="*/ 325 w 419"/>
                <a:gd name="T1" fmla="*/ 5 h 315"/>
                <a:gd name="T2" fmla="*/ 356 w 419"/>
                <a:gd name="T3" fmla="*/ 6 h 315"/>
                <a:gd name="T4" fmla="*/ 404 w 419"/>
                <a:gd name="T5" fmla="*/ 16 h 315"/>
                <a:gd name="T6" fmla="*/ 417 w 419"/>
                <a:gd name="T7" fmla="*/ 40 h 315"/>
                <a:gd name="T8" fmla="*/ 398 w 419"/>
                <a:gd name="T9" fmla="*/ 49 h 315"/>
                <a:gd name="T10" fmla="*/ 383 w 419"/>
                <a:gd name="T11" fmla="*/ 81 h 315"/>
                <a:gd name="T12" fmla="*/ 388 w 419"/>
                <a:gd name="T13" fmla="*/ 112 h 315"/>
                <a:gd name="T14" fmla="*/ 375 w 419"/>
                <a:gd name="T15" fmla="*/ 128 h 315"/>
                <a:gd name="T16" fmla="*/ 366 w 419"/>
                <a:gd name="T17" fmla="*/ 149 h 315"/>
                <a:gd name="T18" fmla="*/ 381 w 419"/>
                <a:gd name="T19" fmla="*/ 147 h 315"/>
                <a:gd name="T20" fmla="*/ 393 w 419"/>
                <a:gd name="T21" fmla="*/ 164 h 315"/>
                <a:gd name="T22" fmla="*/ 411 w 419"/>
                <a:gd name="T23" fmla="*/ 179 h 315"/>
                <a:gd name="T24" fmla="*/ 398 w 419"/>
                <a:gd name="T25" fmla="*/ 188 h 315"/>
                <a:gd name="T26" fmla="*/ 379 w 419"/>
                <a:gd name="T27" fmla="*/ 196 h 315"/>
                <a:gd name="T28" fmla="*/ 354 w 419"/>
                <a:gd name="T29" fmla="*/ 189 h 315"/>
                <a:gd name="T30" fmla="*/ 338 w 419"/>
                <a:gd name="T31" fmla="*/ 199 h 315"/>
                <a:gd name="T32" fmla="*/ 314 w 419"/>
                <a:gd name="T33" fmla="*/ 210 h 315"/>
                <a:gd name="T34" fmla="*/ 302 w 419"/>
                <a:gd name="T35" fmla="*/ 227 h 315"/>
                <a:gd name="T36" fmla="*/ 289 w 419"/>
                <a:gd name="T37" fmla="*/ 234 h 315"/>
                <a:gd name="T38" fmla="*/ 292 w 419"/>
                <a:gd name="T39" fmla="*/ 252 h 315"/>
                <a:gd name="T40" fmla="*/ 289 w 419"/>
                <a:gd name="T41" fmla="*/ 272 h 315"/>
                <a:gd name="T42" fmla="*/ 269 w 419"/>
                <a:gd name="T43" fmla="*/ 279 h 315"/>
                <a:gd name="T44" fmla="*/ 240 w 419"/>
                <a:gd name="T45" fmla="*/ 292 h 315"/>
                <a:gd name="T46" fmla="*/ 209 w 419"/>
                <a:gd name="T47" fmla="*/ 283 h 315"/>
                <a:gd name="T48" fmla="*/ 193 w 419"/>
                <a:gd name="T49" fmla="*/ 285 h 315"/>
                <a:gd name="T50" fmla="*/ 176 w 419"/>
                <a:gd name="T51" fmla="*/ 278 h 315"/>
                <a:gd name="T52" fmla="*/ 158 w 419"/>
                <a:gd name="T53" fmla="*/ 281 h 315"/>
                <a:gd name="T54" fmla="*/ 145 w 419"/>
                <a:gd name="T55" fmla="*/ 292 h 315"/>
                <a:gd name="T56" fmla="*/ 125 w 419"/>
                <a:gd name="T57" fmla="*/ 300 h 315"/>
                <a:gd name="T58" fmla="*/ 99 w 419"/>
                <a:gd name="T59" fmla="*/ 304 h 315"/>
                <a:gd name="T60" fmla="*/ 74 w 419"/>
                <a:gd name="T61" fmla="*/ 315 h 315"/>
                <a:gd name="T62" fmla="*/ 72 w 419"/>
                <a:gd name="T63" fmla="*/ 290 h 315"/>
                <a:gd name="T64" fmla="*/ 68 w 419"/>
                <a:gd name="T65" fmla="*/ 271 h 315"/>
                <a:gd name="T66" fmla="*/ 57 w 419"/>
                <a:gd name="T67" fmla="*/ 253 h 315"/>
                <a:gd name="T68" fmla="*/ 32 w 419"/>
                <a:gd name="T69" fmla="*/ 240 h 315"/>
                <a:gd name="T70" fmla="*/ 31 w 419"/>
                <a:gd name="T71" fmla="*/ 216 h 315"/>
                <a:gd name="T72" fmla="*/ 23 w 419"/>
                <a:gd name="T73" fmla="*/ 193 h 315"/>
                <a:gd name="T74" fmla="*/ 29 w 419"/>
                <a:gd name="T75" fmla="*/ 175 h 315"/>
                <a:gd name="T76" fmla="*/ 48 w 419"/>
                <a:gd name="T77" fmla="*/ 155 h 315"/>
                <a:gd name="T78" fmla="*/ 42 w 419"/>
                <a:gd name="T79" fmla="*/ 139 h 315"/>
                <a:gd name="T80" fmla="*/ 22 w 419"/>
                <a:gd name="T81" fmla="*/ 126 h 315"/>
                <a:gd name="T82" fmla="*/ 11 w 419"/>
                <a:gd name="T83" fmla="*/ 108 h 315"/>
                <a:gd name="T84" fmla="*/ 1 w 419"/>
                <a:gd name="T85" fmla="*/ 86 h 315"/>
                <a:gd name="T86" fmla="*/ 8 w 419"/>
                <a:gd name="T87" fmla="*/ 70 h 315"/>
                <a:gd name="T88" fmla="*/ 32 w 419"/>
                <a:gd name="T89" fmla="*/ 59 h 315"/>
                <a:gd name="T90" fmla="*/ 37 w 419"/>
                <a:gd name="T91" fmla="*/ 68 h 315"/>
                <a:gd name="T92" fmla="*/ 52 w 419"/>
                <a:gd name="T93" fmla="*/ 81 h 315"/>
                <a:gd name="T94" fmla="*/ 85 w 419"/>
                <a:gd name="T95" fmla="*/ 76 h 315"/>
                <a:gd name="T96" fmla="*/ 143 w 419"/>
                <a:gd name="T97" fmla="*/ 69 h 315"/>
                <a:gd name="T98" fmla="*/ 195 w 419"/>
                <a:gd name="T99" fmla="*/ 67 h 315"/>
                <a:gd name="T100" fmla="*/ 216 w 419"/>
                <a:gd name="T101" fmla="*/ 65 h 315"/>
                <a:gd name="T102" fmla="*/ 233 w 419"/>
                <a:gd name="T103" fmla="*/ 50 h 315"/>
                <a:gd name="T104" fmla="*/ 257 w 419"/>
                <a:gd name="T105" fmla="*/ 20 h 315"/>
                <a:gd name="T106" fmla="*/ 293 w 419"/>
                <a:gd name="T107" fmla="*/ 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315">
                  <a:moveTo>
                    <a:pt x="301" y="0"/>
                  </a:moveTo>
                  <a:lnTo>
                    <a:pt x="307" y="0"/>
                  </a:lnTo>
                  <a:lnTo>
                    <a:pt x="315" y="0"/>
                  </a:lnTo>
                  <a:lnTo>
                    <a:pt x="318" y="0"/>
                  </a:lnTo>
                  <a:lnTo>
                    <a:pt x="319" y="3"/>
                  </a:lnTo>
                  <a:lnTo>
                    <a:pt x="325" y="5"/>
                  </a:lnTo>
                  <a:lnTo>
                    <a:pt x="327" y="7"/>
                  </a:lnTo>
                  <a:lnTo>
                    <a:pt x="342" y="5"/>
                  </a:lnTo>
                  <a:lnTo>
                    <a:pt x="345" y="2"/>
                  </a:lnTo>
                  <a:lnTo>
                    <a:pt x="349" y="5"/>
                  </a:lnTo>
                  <a:lnTo>
                    <a:pt x="352" y="8"/>
                  </a:lnTo>
                  <a:lnTo>
                    <a:pt x="356" y="6"/>
                  </a:lnTo>
                  <a:lnTo>
                    <a:pt x="360" y="3"/>
                  </a:lnTo>
                  <a:lnTo>
                    <a:pt x="364" y="1"/>
                  </a:lnTo>
                  <a:lnTo>
                    <a:pt x="366" y="4"/>
                  </a:lnTo>
                  <a:lnTo>
                    <a:pt x="371" y="13"/>
                  </a:lnTo>
                  <a:lnTo>
                    <a:pt x="389" y="17"/>
                  </a:lnTo>
                  <a:lnTo>
                    <a:pt x="404" y="16"/>
                  </a:lnTo>
                  <a:lnTo>
                    <a:pt x="413" y="13"/>
                  </a:lnTo>
                  <a:lnTo>
                    <a:pt x="416" y="25"/>
                  </a:lnTo>
                  <a:lnTo>
                    <a:pt x="417" y="28"/>
                  </a:lnTo>
                  <a:lnTo>
                    <a:pt x="419" y="31"/>
                  </a:lnTo>
                  <a:lnTo>
                    <a:pt x="419" y="37"/>
                  </a:lnTo>
                  <a:lnTo>
                    <a:pt x="417" y="40"/>
                  </a:lnTo>
                  <a:lnTo>
                    <a:pt x="414" y="46"/>
                  </a:lnTo>
                  <a:lnTo>
                    <a:pt x="414" y="49"/>
                  </a:lnTo>
                  <a:lnTo>
                    <a:pt x="410" y="48"/>
                  </a:lnTo>
                  <a:lnTo>
                    <a:pt x="406" y="46"/>
                  </a:lnTo>
                  <a:lnTo>
                    <a:pt x="402" y="46"/>
                  </a:lnTo>
                  <a:lnTo>
                    <a:pt x="398" y="49"/>
                  </a:lnTo>
                  <a:lnTo>
                    <a:pt x="393" y="50"/>
                  </a:lnTo>
                  <a:lnTo>
                    <a:pt x="390" y="53"/>
                  </a:lnTo>
                  <a:lnTo>
                    <a:pt x="387" y="67"/>
                  </a:lnTo>
                  <a:lnTo>
                    <a:pt x="381" y="72"/>
                  </a:lnTo>
                  <a:lnTo>
                    <a:pt x="382" y="75"/>
                  </a:lnTo>
                  <a:lnTo>
                    <a:pt x="383" y="81"/>
                  </a:lnTo>
                  <a:lnTo>
                    <a:pt x="383" y="86"/>
                  </a:lnTo>
                  <a:lnTo>
                    <a:pt x="382" y="89"/>
                  </a:lnTo>
                  <a:lnTo>
                    <a:pt x="384" y="95"/>
                  </a:lnTo>
                  <a:lnTo>
                    <a:pt x="386" y="103"/>
                  </a:lnTo>
                  <a:lnTo>
                    <a:pt x="386" y="107"/>
                  </a:lnTo>
                  <a:lnTo>
                    <a:pt x="388" y="112"/>
                  </a:lnTo>
                  <a:lnTo>
                    <a:pt x="389" y="116"/>
                  </a:lnTo>
                  <a:lnTo>
                    <a:pt x="385" y="120"/>
                  </a:lnTo>
                  <a:lnTo>
                    <a:pt x="382" y="120"/>
                  </a:lnTo>
                  <a:lnTo>
                    <a:pt x="379" y="121"/>
                  </a:lnTo>
                  <a:lnTo>
                    <a:pt x="378" y="124"/>
                  </a:lnTo>
                  <a:lnTo>
                    <a:pt x="375" y="128"/>
                  </a:lnTo>
                  <a:lnTo>
                    <a:pt x="373" y="130"/>
                  </a:lnTo>
                  <a:lnTo>
                    <a:pt x="375" y="135"/>
                  </a:lnTo>
                  <a:lnTo>
                    <a:pt x="368" y="137"/>
                  </a:lnTo>
                  <a:lnTo>
                    <a:pt x="366" y="141"/>
                  </a:lnTo>
                  <a:lnTo>
                    <a:pt x="366" y="146"/>
                  </a:lnTo>
                  <a:lnTo>
                    <a:pt x="366" y="149"/>
                  </a:lnTo>
                  <a:lnTo>
                    <a:pt x="369" y="149"/>
                  </a:lnTo>
                  <a:lnTo>
                    <a:pt x="371" y="147"/>
                  </a:lnTo>
                  <a:lnTo>
                    <a:pt x="374" y="147"/>
                  </a:lnTo>
                  <a:lnTo>
                    <a:pt x="376" y="146"/>
                  </a:lnTo>
                  <a:lnTo>
                    <a:pt x="379" y="149"/>
                  </a:lnTo>
                  <a:lnTo>
                    <a:pt x="381" y="147"/>
                  </a:lnTo>
                  <a:lnTo>
                    <a:pt x="383" y="150"/>
                  </a:lnTo>
                  <a:lnTo>
                    <a:pt x="384" y="154"/>
                  </a:lnTo>
                  <a:lnTo>
                    <a:pt x="387" y="155"/>
                  </a:lnTo>
                  <a:lnTo>
                    <a:pt x="389" y="158"/>
                  </a:lnTo>
                  <a:lnTo>
                    <a:pt x="389" y="161"/>
                  </a:lnTo>
                  <a:lnTo>
                    <a:pt x="393" y="164"/>
                  </a:lnTo>
                  <a:lnTo>
                    <a:pt x="396" y="166"/>
                  </a:lnTo>
                  <a:lnTo>
                    <a:pt x="399" y="169"/>
                  </a:lnTo>
                  <a:lnTo>
                    <a:pt x="401" y="171"/>
                  </a:lnTo>
                  <a:lnTo>
                    <a:pt x="407" y="173"/>
                  </a:lnTo>
                  <a:lnTo>
                    <a:pt x="409" y="175"/>
                  </a:lnTo>
                  <a:lnTo>
                    <a:pt x="411" y="179"/>
                  </a:lnTo>
                  <a:lnTo>
                    <a:pt x="413" y="182"/>
                  </a:lnTo>
                  <a:lnTo>
                    <a:pt x="410" y="184"/>
                  </a:lnTo>
                  <a:lnTo>
                    <a:pt x="406" y="185"/>
                  </a:lnTo>
                  <a:lnTo>
                    <a:pt x="402" y="184"/>
                  </a:lnTo>
                  <a:lnTo>
                    <a:pt x="399" y="185"/>
                  </a:lnTo>
                  <a:lnTo>
                    <a:pt x="398" y="188"/>
                  </a:lnTo>
                  <a:lnTo>
                    <a:pt x="392" y="189"/>
                  </a:lnTo>
                  <a:lnTo>
                    <a:pt x="390" y="190"/>
                  </a:lnTo>
                  <a:lnTo>
                    <a:pt x="385" y="192"/>
                  </a:lnTo>
                  <a:lnTo>
                    <a:pt x="383" y="195"/>
                  </a:lnTo>
                  <a:lnTo>
                    <a:pt x="382" y="198"/>
                  </a:lnTo>
                  <a:lnTo>
                    <a:pt x="379" y="196"/>
                  </a:lnTo>
                  <a:lnTo>
                    <a:pt x="372" y="193"/>
                  </a:lnTo>
                  <a:lnTo>
                    <a:pt x="368" y="191"/>
                  </a:lnTo>
                  <a:lnTo>
                    <a:pt x="365" y="187"/>
                  </a:lnTo>
                  <a:lnTo>
                    <a:pt x="360" y="185"/>
                  </a:lnTo>
                  <a:lnTo>
                    <a:pt x="356" y="186"/>
                  </a:lnTo>
                  <a:lnTo>
                    <a:pt x="354" y="189"/>
                  </a:lnTo>
                  <a:lnTo>
                    <a:pt x="351" y="190"/>
                  </a:lnTo>
                  <a:lnTo>
                    <a:pt x="348" y="189"/>
                  </a:lnTo>
                  <a:lnTo>
                    <a:pt x="345" y="189"/>
                  </a:lnTo>
                  <a:lnTo>
                    <a:pt x="343" y="194"/>
                  </a:lnTo>
                  <a:lnTo>
                    <a:pt x="340" y="197"/>
                  </a:lnTo>
                  <a:lnTo>
                    <a:pt x="338" y="199"/>
                  </a:lnTo>
                  <a:lnTo>
                    <a:pt x="335" y="201"/>
                  </a:lnTo>
                  <a:lnTo>
                    <a:pt x="333" y="203"/>
                  </a:lnTo>
                  <a:lnTo>
                    <a:pt x="329" y="203"/>
                  </a:lnTo>
                  <a:lnTo>
                    <a:pt x="326" y="205"/>
                  </a:lnTo>
                  <a:lnTo>
                    <a:pt x="318" y="206"/>
                  </a:lnTo>
                  <a:lnTo>
                    <a:pt x="314" y="210"/>
                  </a:lnTo>
                  <a:lnTo>
                    <a:pt x="315" y="213"/>
                  </a:lnTo>
                  <a:lnTo>
                    <a:pt x="315" y="216"/>
                  </a:lnTo>
                  <a:lnTo>
                    <a:pt x="315" y="219"/>
                  </a:lnTo>
                  <a:lnTo>
                    <a:pt x="311" y="222"/>
                  </a:lnTo>
                  <a:lnTo>
                    <a:pt x="304" y="223"/>
                  </a:lnTo>
                  <a:lnTo>
                    <a:pt x="302" y="227"/>
                  </a:lnTo>
                  <a:lnTo>
                    <a:pt x="301" y="231"/>
                  </a:lnTo>
                  <a:lnTo>
                    <a:pt x="303" y="233"/>
                  </a:lnTo>
                  <a:lnTo>
                    <a:pt x="301" y="234"/>
                  </a:lnTo>
                  <a:lnTo>
                    <a:pt x="296" y="232"/>
                  </a:lnTo>
                  <a:lnTo>
                    <a:pt x="293" y="234"/>
                  </a:lnTo>
                  <a:lnTo>
                    <a:pt x="289" y="234"/>
                  </a:lnTo>
                  <a:lnTo>
                    <a:pt x="286" y="237"/>
                  </a:lnTo>
                  <a:lnTo>
                    <a:pt x="285" y="241"/>
                  </a:lnTo>
                  <a:lnTo>
                    <a:pt x="287" y="244"/>
                  </a:lnTo>
                  <a:lnTo>
                    <a:pt x="290" y="245"/>
                  </a:lnTo>
                  <a:lnTo>
                    <a:pt x="292" y="249"/>
                  </a:lnTo>
                  <a:lnTo>
                    <a:pt x="292" y="252"/>
                  </a:lnTo>
                  <a:lnTo>
                    <a:pt x="295" y="254"/>
                  </a:lnTo>
                  <a:lnTo>
                    <a:pt x="295" y="258"/>
                  </a:lnTo>
                  <a:lnTo>
                    <a:pt x="296" y="260"/>
                  </a:lnTo>
                  <a:lnTo>
                    <a:pt x="297" y="263"/>
                  </a:lnTo>
                  <a:lnTo>
                    <a:pt x="296" y="268"/>
                  </a:lnTo>
                  <a:lnTo>
                    <a:pt x="289" y="272"/>
                  </a:lnTo>
                  <a:lnTo>
                    <a:pt x="286" y="275"/>
                  </a:lnTo>
                  <a:lnTo>
                    <a:pt x="283" y="276"/>
                  </a:lnTo>
                  <a:lnTo>
                    <a:pt x="281" y="277"/>
                  </a:lnTo>
                  <a:lnTo>
                    <a:pt x="276" y="276"/>
                  </a:lnTo>
                  <a:lnTo>
                    <a:pt x="272" y="278"/>
                  </a:lnTo>
                  <a:lnTo>
                    <a:pt x="269" y="279"/>
                  </a:lnTo>
                  <a:lnTo>
                    <a:pt x="266" y="281"/>
                  </a:lnTo>
                  <a:lnTo>
                    <a:pt x="263" y="281"/>
                  </a:lnTo>
                  <a:lnTo>
                    <a:pt x="256" y="282"/>
                  </a:lnTo>
                  <a:lnTo>
                    <a:pt x="254" y="285"/>
                  </a:lnTo>
                  <a:lnTo>
                    <a:pt x="252" y="285"/>
                  </a:lnTo>
                  <a:lnTo>
                    <a:pt x="240" y="292"/>
                  </a:lnTo>
                  <a:lnTo>
                    <a:pt x="236" y="293"/>
                  </a:lnTo>
                  <a:lnTo>
                    <a:pt x="231" y="289"/>
                  </a:lnTo>
                  <a:lnTo>
                    <a:pt x="227" y="287"/>
                  </a:lnTo>
                  <a:lnTo>
                    <a:pt x="224" y="286"/>
                  </a:lnTo>
                  <a:lnTo>
                    <a:pt x="212" y="284"/>
                  </a:lnTo>
                  <a:lnTo>
                    <a:pt x="209" y="283"/>
                  </a:lnTo>
                  <a:lnTo>
                    <a:pt x="204" y="285"/>
                  </a:lnTo>
                  <a:lnTo>
                    <a:pt x="205" y="288"/>
                  </a:lnTo>
                  <a:lnTo>
                    <a:pt x="201" y="288"/>
                  </a:lnTo>
                  <a:lnTo>
                    <a:pt x="198" y="286"/>
                  </a:lnTo>
                  <a:lnTo>
                    <a:pt x="196" y="285"/>
                  </a:lnTo>
                  <a:lnTo>
                    <a:pt x="193" y="285"/>
                  </a:lnTo>
                  <a:lnTo>
                    <a:pt x="190" y="284"/>
                  </a:lnTo>
                  <a:lnTo>
                    <a:pt x="188" y="282"/>
                  </a:lnTo>
                  <a:lnTo>
                    <a:pt x="184" y="279"/>
                  </a:lnTo>
                  <a:lnTo>
                    <a:pt x="182" y="275"/>
                  </a:lnTo>
                  <a:lnTo>
                    <a:pt x="179" y="275"/>
                  </a:lnTo>
                  <a:lnTo>
                    <a:pt x="176" y="278"/>
                  </a:lnTo>
                  <a:lnTo>
                    <a:pt x="174" y="278"/>
                  </a:lnTo>
                  <a:lnTo>
                    <a:pt x="171" y="280"/>
                  </a:lnTo>
                  <a:lnTo>
                    <a:pt x="168" y="280"/>
                  </a:lnTo>
                  <a:lnTo>
                    <a:pt x="164" y="278"/>
                  </a:lnTo>
                  <a:lnTo>
                    <a:pt x="161" y="278"/>
                  </a:lnTo>
                  <a:lnTo>
                    <a:pt x="158" y="281"/>
                  </a:lnTo>
                  <a:lnTo>
                    <a:pt x="154" y="281"/>
                  </a:lnTo>
                  <a:lnTo>
                    <a:pt x="152" y="282"/>
                  </a:lnTo>
                  <a:lnTo>
                    <a:pt x="150" y="286"/>
                  </a:lnTo>
                  <a:lnTo>
                    <a:pt x="151" y="289"/>
                  </a:lnTo>
                  <a:lnTo>
                    <a:pt x="147" y="289"/>
                  </a:lnTo>
                  <a:lnTo>
                    <a:pt x="145" y="292"/>
                  </a:lnTo>
                  <a:lnTo>
                    <a:pt x="141" y="290"/>
                  </a:lnTo>
                  <a:lnTo>
                    <a:pt x="138" y="293"/>
                  </a:lnTo>
                  <a:lnTo>
                    <a:pt x="135" y="294"/>
                  </a:lnTo>
                  <a:lnTo>
                    <a:pt x="132" y="298"/>
                  </a:lnTo>
                  <a:lnTo>
                    <a:pt x="128" y="298"/>
                  </a:lnTo>
                  <a:lnTo>
                    <a:pt x="125" y="300"/>
                  </a:lnTo>
                  <a:lnTo>
                    <a:pt x="122" y="302"/>
                  </a:lnTo>
                  <a:lnTo>
                    <a:pt x="115" y="301"/>
                  </a:lnTo>
                  <a:lnTo>
                    <a:pt x="108" y="302"/>
                  </a:lnTo>
                  <a:lnTo>
                    <a:pt x="104" y="305"/>
                  </a:lnTo>
                  <a:lnTo>
                    <a:pt x="102" y="306"/>
                  </a:lnTo>
                  <a:lnTo>
                    <a:pt x="99" y="304"/>
                  </a:lnTo>
                  <a:lnTo>
                    <a:pt x="96" y="305"/>
                  </a:lnTo>
                  <a:lnTo>
                    <a:pt x="94" y="308"/>
                  </a:lnTo>
                  <a:lnTo>
                    <a:pt x="94" y="311"/>
                  </a:lnTo>
                  <a:lnTo>
                    <a:pt x="91" y="313"/>
                  </a:lnTo>
                  <a:lnTo>
                    <a:pt x="88" y="315"/>
                  </a:lnTo>
                  <a:lnTo>
                    <a:pt x="74" y="315"/>
                  </a:lnTo>
                  <a:lnTo>
                    <a:pt x="76" y="311"/>
                  </a:lnTo>
                  <a:lnTo>
                    <a:pt x="75" y="307"/>
                  </a:lnTo>
                  <a:lnTo>
                    <a:pt x="75" y="304"/>
                  </a:lnTo>
                  <a:lnTo>
                    <a:pt x="73" y="295"/>
                  </a:lnTo>
                  <a:lnTo>
                    <a:pt x="73" y="293"/>
                  </a:lnTo>
                  <a:lnTo>
                    <a:pt x="72" y="290"/>
                  </a:lnTo>
                  <a:lnTo>
                    <a:pt x="72" y="288"/>
                  </a:lnTo>
                  <a:lnTo>
                    <a:pt x="74" y="283"/>
                  </a:lnTo>
                  <a:lnTo>
                    <a:pt x="75" y="279"/>
                  </a:lnTo>
                  <a:lnTo>
                    <a:pt x="73" y="275"/>
                  </a:lnTo>
                  <a:lnTo>
                    <a:pt x="70" y="274"/>
                  </a:lnTo>
                  <a:lnTo>
                    <a:pt x="68" y="271"/>
                  </a:lnTo>
                  <a:lnTo>
                    <a:pt x="66" y="268"/>
                  </a:lnTo>
                  <a:lnTo>
                    <a:pt x="64" y="265"/>
                  </a:lnTo>
                  <a:lnTo>
                    <a:pt x="62" y="261"/>
                  </a:lnTo>
                  <a:lnTo>
                    <a:pt x="61" y="257"/>
                  </a:lnTo>
                  <a:lnTo>
                    <a:pt x="60" y="254"/>
                  </a:lnTo>
                  <a:lnTo>
                    <a:pt x="57" y="253"/>
                  </a:lnTo>
                  <a:lnTo>
                    <a:pt x="51" y="252"/>
                  </a:lnTo>
                  <a:lnTo>
                    <a:pt x="48" y="251"/>
                  </a:lnTo>
                  <a:lnTo>
                    <a:pt x="43" y="250"/>
                  </a:lnTo>
                  <a:lnTo>
                    <a:pt x="36" y="247"/>
                  </a:lnTo>
                  <a:lnTo>
                    <a:pt x="33" y="243"/>
                  </a:lnTo>
                  <a:lnTo>
                    <a:pt x="32" y="240"/>
                  </a:lnTo>
                  <a:lnTo>
                    <a:pt x="29" y="239"/>
                  </a:lnTo>
                  <a:lnTo>
                    <a:pt x="21" y="231"/>
                  </a:lnTo>
                  <a:lnTo>
                    <a:pt x="25" y="230"/>
                  </a:lnTo>
                  <a:lnTo>
                    <a:pt x="27" y="224"/>
                  </a:lnTo>
                  <a:lnTo>
                    <a:pt x="30" y="222"/>
                  </a:lnTo>
                  <a:lnTo>
                    <a:pt x="31" y="216"/>
                  </a:lnTo>
                  <a:lnTo>
                    <a:pt x="31" y="213"/>
                  </a:lnTo>
                  <a:lnTo>
                    <a:pt x="27" y="209"/>
                  </a:lnTo>
                  <a:lnTo>
                    <a:pt x="23" y="207"/>
                  </a:lnTo>
                  <a:lnTo>
                    <a:pt x="23" y="200"/>
                  </a:lnTo>
                  <a:lnTo>
                    <a:pt x="22" y="197"/>
                  </a:lnTo>
                  <a:lnTo>
                    <a:pt x="23" y="193"/>
                  </a:lnTo>
                  <a:lnTo>
                    <a:pt x="23" y="190"/>
                  </a:lnTo>
                  <a:lnTo>
                    <a:pt x="19" y="185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6" y="177"/>
                  </a:lnTo>
                  <a:lnTo>
                    <a:pt x="29" y="175"/>
                  </a:lnTo>
                  <a:lnTo>
                    <a:pt x="34" y="176"/>
                  </a:lnTo>
                  <a:lnTo>
                    <a:pt x="38" y="174"/>
                  </a:lnTo>
                  <a:lnTo>
                    <a:pt x="40" y="167"/>
                  </a:lnTo>
                  <a:lnTo>
                    <a:pt x="44" y="163"/>
                  </a:lnTo>
                  <a:lnTo>
                    <a:pt x="47" y="158"/>
                  </a:lnTo>
                  <a:lnTo>
                    <a:pt x="48" y="155"/>
                  </a:lnTo>
                  <a:lnTo>
                    <a:pt x="51" y="151"/>
                  </a:lnTo>
                  <a:lnTo>
                    <a:pt x="52" y="148"/>
                  </a:lnTo>
                  <a:lnTo>
                    <a:pt x="52" y="145"/>
                  </a:lnTo>
                  <a:lnTo>
                    <a:pt x="50" y="142"/>
                  </a:lnTo>
                  <a:lnTo>
                    <a:pt x="47" y="142"/>
                  </a:lnTo>
                  <a:lnTo>
                    <a:pt x="42" y="139"/>
                  </a:lnTo>
                  <a:lnTo>
                    <a:pt x="39" y="136"/>
                  </a:lnTo>
                  <a:lnTo>
                    <a:pt x="37" y="133"/>
                  </a:lnTo>
                  <a:lnTo>
                    <a:pt x="31" y="129"/>
                  </a:lnTo>
                  <a:lnTo>
                    <a:pt x="29" y="128"/>
                  </a:lnTo>
                  <a:lnTo>
                    <a:pt x="26" y="128"/>
                  </a:lnTo>
                  <a:lnTo>
                    <a:pt x="22" y="126"/>
                  </a:lnTo>
                  <a:lnTo>
                    <a:pt x="19" y="124"/>
                  </a:lnTo>
                  <a:lnTo>
                    <a:pt x="16" y="123"/>
                  </a:lnTo>
                  <a:lnTo>
                    <a:pt x="13" y="117"/>
                  </a:lnTo>
                  <a:lnTo>
                    <a:pt x="12" y="115"/>
                  </a:lnTo>
                  <a:lnTo>
                    <a:pt x="12" y="112"/>
                  </a:lnTo>
                  <a:lnTo>
                    <a:pt x="11" y="108"/>
                  </a:lnTo>
                  <a:lnTo>
                    <a:pt x="7" y="105"/>
                  </a:lnTo>
                  <a:lnTo>
                    <a:pt x="5" y="103"/>
                  </a:lnTo>
                  <a:lnTo>
                    <a:pt x="3" y="100"/>
                  </a:lnTo>
                  <a:lnTo>
                    <a:pt x="1" y="96"/>
                  </a:lnTo>
                  <a:lnTo>
                    <a:pt x="0" y="91"/>
                  </a:lnTo>
                  <a:lnTo>
                    <a:pt x="1" y="86"/>
                  </a:lnTo>
                  <a:lnTo>
                    <a:pt x="0" y="84"/>
                  </a:lnTo>
                  <a:lnTo>
                    <a:pt x="1" y="80"/>
                  </a:lnTo>
                  <a:lnTo>
                    <a:pt x="1" y="77"/>
                  </a:lnTo>
                  <a:lnTo>
                    <a:pt x="3" y="74"/>
                  </a:lnTo>
                  <a:lnTo>
                    <a:pt x="6" y="73"/>
                  </a:lnTo>
                  <a:lnTo>
                    <a:pt x="8" y="70"/>
                  </a:lnTo>
                  <a:lnTo>
                    <a:pt x="11" y="68"/>
                  </a:lnTo>
                  <a:lnTo>
                    <a:pt x="12" y="63"/>
                  </a:lnTo>
                  <a:lnTo>
                    <a:pt x="12" y="59"/>
                  </a:lnTo>
                  <a:lnTo>
                    <a:pt x="13" y="56"/>
                  </a:lnTo>
                  <a:lnTo>
                    <a:pt x="16" y="52"/>
                  </a:lnTo>
                  <a:lnTo>
                    <a:pt x="32" y="59"/>
                  </a:lnTo>
                  <a:lnTo>
                    <a:pt x="34" y="59"/>
                  </a:lnTo>
                  <a:lnTo>
                    <a:pt x="37" y="59"/>
                  </a:lnTo>
                  <a:lnTo>
                    <a:pt x="40" y="60"/>
                  </a:lnTo>
                  <a:lnTo>
                    <a:pt x="42" y="63"/>
                  </a:lnTo>
                  <a:lnTo>
                    <a:pt x="42" y="66"/>
                  </a:lnTo>
                  <a:lnTo>
                    <a:pt x="37" y="68"/>
                  </a:lnTo>
                  <a:lnTo>
                    <a:pt x="35" y="69"/>
                  </a:lnTo>
                  <a:lnTo>
                    <a:pt x="32" y="71"/>
                  </a:lnTo>
                  <a:lnTo>
                    <a:pt x="32" y="80"/>
                  </a:lnTo>
                  <a:lnTo>
                    <a:pt x="33" y="83"/>
                  </a:lnTo>
                  <a:lnTo>
                    <a:pt x="37" y="85"/>
                  </a:lnTo>
                  <a:lnTo>
                    <a:pt x="52" y="81"/>
                  </a:lnTo>
                  <a:lnTo>
                    <a:pt x="56" y="79"/>
                  </a:lnTo>
                  <a:lnTo>
                    <a:pt x="58" y="77"/>
                  </a:lnTo>
                  <a:lnTo>
                    <a:pt x="64" y="75"/>
                  </a:lnTo>
                  <a:lnTo>
                    <a:pt x="74" y="74"/>
                  </a:lnTo>
                  <a:lnTo>
                    <a:pt x="82" y="77"/>
                  </a:lnTo>
                  <a:lnTo>
                    <a:pt x="85" y="76"/>
                  </a:lnTo>
                  <a:lnTo>
                    <a:pt x="90" y="74"/>
                  </a:lnTo>
                  <a:lnTo>
                    <a:pt x="96" y="76"/>
                  </a:lnTo>
                  <a:lnTo>
                    <a:pt x="122" y="77"/>
                  </a:lnTo>
                  <a:lnTo>
                    <a:pt x="134" y="74"/>
                  </a:lnTo>
                  <a:lnTo>
                    <a:pt x="139" y="70"/>
                  </a:lnTo>
                  <a:lnTo>
                    <a:pt x="143" y="69"/>
                  </a:lnTo>
                  <a:lnTo>
                    <a:pt x="157" y="71"/>
                  </a:lnTo>
                  <a:lnTo>
                    <a:pt x="161" y="71"/>
                  </a:lnTo>
                  <a:lnTo>
                    <a:pt x="174" y="67"/>
                  </a:lnTo>
                  <a:lnTo>
                    <a:pt x="182" y="68"/>
                  </a:lnTo>
                  <a:lnTo>
                    <a:pt x="192" y="67"/>
                  </a:lnTo>
                  <a:lnTo>
                    <a:pt x="195" y="67"/>
                  </a:lnTo>
                  <a:lnTo>
                    <a:pt x="197" y="68"/>
                  </a:lnTo>
                  <a:lnTo>
                    <a:pt x="203" y="70"/>
                  </a:lnTo>
                  <a:lnTo>
                    <a:pt x="206" y="70"/>
                  </a:lnTo>
                  <a:lnTo>
                    <a:pt x="210" y="68"/>
                  </a:lnTo>
                  <a:lnTo>
                    <a:pt x="214" y="67"/>
                  </a:lnTo>
                  <a:lnTo>
                    <a:pt x="216" y="65"/>
                  </a:lnTo>
                  <a:lnTo>
                    <a:pt x="219" y="64"/>
                  </a:lnTo>
                  <a:lnTo>
                    <a:pt x="221" y="62"/>
                  </a:lnTo>
                  <a:lnTo>
                    <a:pt x="226" y="59"/>
                  </a:lnTo>
                  <a:lnTo>
                    <a:pt x="229" y="58"/>
                  </a:lnTo>
                  <a:lnTo>
                    <a:pt x="230" y="54"/>
                  </a:lnTo>
                  <a:lnTo>
                    <a:pt x="233" y="50"/>
                  </a:lnTo>
                  <a:lnTo>
                    <a:pt x="236" y="46"/>
                  </a:lnTo>
                  <a:lnTo>
                    <a:pt x="243" y="34"/>
                  </a:lnTo>
                  <a:lnTo>
                    <a:pt x="244" y="31"/>
                  </a:lnTo>
                  <a:lnTo>
                    <a:pt x="246" y="28"/>
                  </a:lnTo>
                  <a:lnTo>
                    <a:pt x="253" y="24"/>
                  </a:lnTo>
                  <a:lnTo>
                    <a:pt x="257" y="20"/>
                  </a:lnTo>
                  <a:lnTo>
                    <a:pt x="277" y="13"/>
                  </a:lnTo>
                  <a:lnTo>
                    <a:pt x="281" y="11"/>
                  </a:lnTo>
                  <a:lnTo>
                    <a:pt x="283" y="9"/>
                  </a:lnTo>
                  <a:lnTo>
                    <a:pt x="286" y="9"/>
                  </a:lnTo>
                  <a:lnTo>
                    <a:pt x="288" y="7"/>
                  </a:lnTo>
                  <a:lnTo>
                    <a:pt x="293" y="2"/>
                  </a:lnTo>
                  <a:lnTo>
                    <a:pt x="301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53" name="HR">
              <a:extLst>
                <a:ext uri="{FF2B5EF4-FFF2-40B4-BE49-F238E27FC236}">
                  <a16:creationId xmlns:a16="http://schemas.microsoft.com/office/drawing/2014/main" id="{A3907195-A809-129C-7939-D2625FFE7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946" y="5065162"/>
              <a:ext cx="740444" cy="653929"/>
            </a:xfrm>
            <a:custGeom>
              <a:avLst/>
              <a:gdLst>
                <a:gd name="T0" fmla="*/ 287 w 389"/>
                <a:gd name="T1" fmla="*/ 343 h 369"/>
                <a:gd name="T2" fmla="*/ 250 w 389"/>
                <a:gd name="T3" fmla="*/ 332 h 369"/>
                <a:gd name="T4" fmla="*/ 241 w 389"/>
                <a:gd name="T5" fmla="*/ 329 h 369"/>
                <a:gd name="T6" fmla="*/ 259 w 389"/>
                <a:gd name="T7" fmla="*/ 321 h 369"/>
                <a:gd name="T8" fmla="*/ 302 w 389"/>
                <a:gd name="T9" fmla="*/ 329 h 369"/>
                <a:gd name="T10" fmla="*/ 353 w 389"/>
                <a:gd name="T11" fmla="*/ 364 h 369"/>
                <a:gd name="T12" fmla="*/ 317 w 389"/>
                <a:gd name="T13" fmla="*/ 343 h 369"/>
                <a:gd name="T14" fmla="*/ 273 w 389"/>
                <a:gd name="T15" fmla="*/ 330 h 369"/>
                <a:gd name="T16" fmla="*/ 237 w 389"/>
                <a:gd name="T17" fmla="*/ 311 h 369"/>
                <a:gd name="T18" fmla="*/ 211 w 389"/>
                <a:gd name="T19" fmla="*/ 309 h 369"/>
                <a:gd name="T20" fmla="*/ 222 w 389"/>
                <a:gd name="T21" fmla="*/ 303 h 369"/>
                <a:gd name="T22" fmla="*/ 191 w 389"/>
                <a:gd name="T23" fmla="*/ 292 h 369"/>
                <a:gd name="T24" fmla="*/ 159 w 389"/>
                <a:gd name="T25" fmla="*/ 274 h 369"/>
                <a:gd name="T26" fmla="*/ 135 w 389"/>
                <a:gd name="T27" fmla="*/ 248 h 369"/>
                <a:gd name="T28" fmla="*/ 111 w 389"/>
                <a:gd name="T29" fmla="*/ 232 h 369"/>
                <a:gd name="T30" fmla="*/ 111 w 389"/>
                <a:gd name="T31" fmla="*/ 246 h 369"/>
                <a:gd name="T32" fmla="*/ 91 w 389"/>
                <a:gd name="T33" fmla="*/ 210 h 369"/>
                <a:gd name="T34" fmla="*/ 64 w 389"/>
                <a:gd name="T35" fmla="*/ 189 h 369"/>
                <a:gd name="T36" fmla="*/ 88 w 389"/>
                <a:gd name="T37" fmla="*/ 182 h 369"/>
                <a:gd name="T38" fmla="*/ 110 w 389"/>
                <a:gd name="T39" fmla="*/ 204 h 369"/>
                <a:gd name="T40" fmla="*/ 108 w 389"/>
                <a:gd name="T41" fmla="*/ 206 h 369"/>
                <a:gd name="T42" fmla="*/ 87 w 389"/>
                <a:gd name="T43" fmla="*/ 174 h 369"/>
                <a:gd name="T44" fmla="*/ 65 w 389"/>
                <a:gd name="T45" fmla="*/ 160 h 369"/>
                <a:gd name="T46" fmla="*/ 55 w 389"/>
                <a:gd name="T47" fmla="*/ 164 h 369"/>
                <a:gd name="T48" fmla="*/ 78 w 389"/>
                <a:gd name="T49" fmla="*/ 137 h 369"/>
                <a:gd name="T50" fmla="*/ 68 w 389"/>
                <a:gd name="T51" fmla="*/ 149 h 369"/>
                <a:gd name="T52" fmla="*/ 194 w 389"/>
                <a:gd name="T53" fmla="*/ 4 h 369"/>
                <a:gd name="T54" fmla="*/ 240 w 389"/>
                <a:gd name="T55" fmla="*/ 38 h 369"/>
                <a:gd name="T56" fmla="*/ 283 w 389"/>
                <a:gd name="T57" fmla="*/ 60 h 369"/>
                <a:gd name="T58" fmla="*/ 329 w 389"/>
                <a:gd name="T59" fmla="*/ 49 h 369"/>
                <a:gd name="T60" fmla="*/ 350 w 389"/>
                <a:gd name="T61" fmla="*/ 57 h 369"/>
                <a:gd name="T62" fmla="*/ 362 w 389"/>
                <a:gd name="T63" fmla="*/ 87 h 369"/>
                <a:gd name="T64" fmla="*/ 375 w 389"/>
                <a:gd name="T65" fmla="*/ 109 h 369"/>
                <a:gd name="T66" fmla="*/ 359 w 389"/>
                <a:gd name="T67" fmla="*/ 139 h 369"/>
                <a:gd name="T68" fmla="*/ 326 w 389"/>
                <a:gd name="T69" fmla="*/ 121 h 369"/>
                <a:gd name="T70" fmla="*/ 285 w 389"/>
                <a:gd name="T71" fmla="*/ 127 h 369"/>
                <a:gd name="T72" fmla="*/ 244 w 389"/>
                <a:gd name="T73" fmla="*/ 124 h 369"/>
                <a:gd name="T74" fmla="*/ 196 w 389"/>
                <a:gd name="T75" fmla="*/ 124 h 369"/>
                <a:gd name="T76" fmla="*/ 157 w 389"/>
                <a:gd name="T77" fmla="*/ 126 h 369"/>
                <a:gd name="T78" fmla="*/ 155 w 389"/>
                <a:gd name="T79" fmla="*/ 173 h 369"/>
                <a:gd name="T80" fmla="*/ 181 w 389"/>
                <a:gd name="T81" fmla="*/ 200 h 369"/>
                <a:gd name="T82" fmla="*/ 215 w 389"/>
                <a:gd name="T83" fmla="*/ 244 h 369"/>
                <a:gd name="T84" fmla="*/ 266 w 389"/>
                <a:gd name="T85" fmla="*/ 296 h 369"/>
                <a:gd name="T86" fmla="*/ 283 w 389"/>
                <a:gd name="T87" fmla="*/ 319 h 369"/>
                <a:gd name="T88" fmla="*/ 220 w 389"/>
                <a:gd name="T89" fmla="*/ 286 h 369"/>
                <a:gd name="T90" fmla="*/ 182 w 389"/>
                <a:gd name="T91" fmla="*/ 285 h 369"/>
                <a:gd name="T92" fmla="*/ 156 w 389"/>
                <a:gd name="T93" fmla="*/ 262 h 369"/>
                <a:gd name="T94" fmla="*/ 121 w 389"/>
                <a:gd name="T95" fmla="*/ 231 h 369"/>
                <a:gd name="T96" fmla="*/ 132 w 389"/>
                <a:gd name="T97" fmla="*/ 216 h 369"/>
                <a:gd name="T98" fmla="*/ 95 w 389"/>
                <a:gd name="T99" fmla="*/ 158 h 369"/>
                <a:gd name="T100" fmla="*/ 51 w 389"/>
                <a:gd name="T101" fmla="*/ 126 h 369"/>
                <a:gd name="T102" fmla="*/ 39 w 389"/>
                <a:gd name="T103" fmla="*/ 156 h 369"/>
                <a:gd name="T104" fmla="*/ 22 w 389"/>
                <a:gd name="T105" fmla="*/ 166 h 369"/>
                <a:gd name="T106" fmla="*/ 7 w 389"/>
                <a:gd name="T107" fmla="*/ 133 h 369"/>
                <a:gd name="T108" fmla="*/ 29 w 389"/>
                <a:gd name="T109" fmla="*/ 109 h 369"/>
                <a:gd name="T110" fmla="*/ 67 w 389"/>
                <a:gd name="T111" fmla="*/ 95 h 369"/>
                <a:gd name="T112" fmla="*/ 97 w 389"/>
                <a:gd name="T113" fmla="*/ 105 h 369"/>
                <a:gd name="T114" fmla="*/ 117 w 389"/>
                <a:gd name="T115" fmla="*/ 86 h 369"/>
                <a:gd name="T116" fmla="*/ 139 w 389"/>
                <a:gd name="T117" fmla="*/ 60 h 369"/>
                <a:gd name="T118" fmla="*/ 157 w 389"/>
                <a:gd name="T119" fmla="*/ 26 h 369"/>
                <a:gd name="T120" fmla="*/ 175 w 389"/>
                <a:gd name="T121" fmla="*/ 1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9" h="369">
                  <a:moveTo>
                    <a:pt x="245" y="346"/>
                  </a:moveTo>
                  <a:lnTo>
                    <a:pt x="246" y="347"/>
                  </a:lnTo>
                  <a:lnTo>
                    <a:pt x="246" y="349"/>
                  </a:lnTo>
                  <a:lnTo>
                    <a:pt x="243" y="351"/>
                  </a:lnTo>
                  <a:lnTo>
                    <a:pt x="241" y="351"/>
                  </a:lnTo>
                  <a:lnTo>
                    <a:pt x="238" y="349"/>
                  </a:lnTo>
                  <a:lnTo>
                    <a:pt x="239" y="346"/>
                  </a:lnTo>
                  <a:lnTo>
                    <a:pt x="245" y="346"/>
                  </a:lnTo>
                  <a:close/>
                  <a:moveTo>
                    <a:pt x="276" y="341"/>
                  </a:moveTo>
                  <a:lnTo>
                    <a:pt x="276" y="341"/>
                  </a:lnTo>
                  <a:lnTo>
                    <a:pt x="280" y="342"/>
                  </a:lnTo>
                  <a:lnTo>
                    <a:pt x="284" y="342"/>
                  </a:lnTo>
                  <a:lnTo>
                    <a:pt x="287" y="343"/>
                  </a:lnTo>
                  <a:lnTo>
                    <a:pt x="291" y="344"/>
                  </a:lnTo>
                  <a:lnTo>
                    <a:pt x="296" y="345"/>
                  </a:lnTo>
                  <a:lnTo>
                    <a:pt x="302" y="347"/>
                  </a:lnTo>
                  <a:lnTo>
                    <a:pt x="277" y="344"/>
                  </a:lnTo>
                  <a:lnTo>
                    <a:pt x="273" y="343"/>
                  </a:lnTo>
                  <a:lnTo>
                    <a:pt x="276" y="341"/>
                  </a:lnTo>
                  <a:close/>
                  <a:moveTo>
                    <a:pt x="251" y="327"/>
                  </a:moveTo>
                  <a:lnTo>
                    <a:pt x="257" y="328"/>
                  </a:lnTo>
                  <a:lnTo>
                    <a:pt x="259" y="329"/>
                  </a:lnTo>
                  <a:lnTo>
                    <a:pt x="263" y="331"/>
                  </a:lnTo>
                  <a:lnTo>
                    <a:pt x="260" y="331"/>
                  </a:lnTo>
                  <a:lnTo>
                    <a:pt x="257" y="332"/>
                  </a:lnTo>
                  <a:lnTo>
                    <a:pt x="250" y="332"/>
                  </a:lnTo>
                  <a:lnTo>
                    <a:pt x="248" y="332"/>
                  </a:lnTo>
                  <a:lnTo>
                    <a:pt x="243" y="334"/>
                  </a:lnTo>
                  <a:lnTo>
                    <a:pt x="240" y="335"/>
                  </a:lnTo>
                  <a:lnTo>
                    <a:pt x="232" y="334"/>
                  </a:lnTo>
                  <a:lnTo>
                    <a:pt x="229" y="334"/>
                  </a:lnTo>
                  <a:lnTo>
                    <a:pt x="226" y="334"/>
                  </a:lnTo>
                  <a:lnTo>
                    <a:pt x="229" y="331"/>
                  </a:lnTo>
                  <a:lnTo>
                    <a:pt x="225" y="329"/>
                  </a:lnTo>
                  <a:lnTo>
                    <a:pt x="229" y="328"/>
                  </a:lnTo>
                  <a:lnTo>
                    <a:pt x="232" y="329"/>
                  </a:lnTo>
                  <a:lnTo>
                    <a:pt x="233" y="329"/>
                  </a:lnTo>
                  <a:lnTo>
                    <a:pt x="237" y="330"/>
                  </a:lnTo>
                  <a:lnTo>
                    <a:pt x="241" y="329"/>
                  </a:lnTo>
                  <a:lnTo>
                    <a:pt x="243" y="328"/>
                  </a:lnTo>
                  <a:lnTo>
                    <a:pt x="251" y="327"/>
                  </a:lnTo>
                  <a:close/>
                  <a:moveTo>
                    <a:pt x="191" y="322"/>
                  </a:moveTo>
                  <a:lnTo>
                    <a:pt x="193" y="323"/>
                  </a:lnTo>
                  <a:lnTo>
                    <a:pt x="196" y="323"/>
                  </a:lnTo>
                  <a:lnTo>
                    <a:pt x="195" y="326"/>
                  </a:lnTo>
                  <a:lnTo>
                    <a:pt x="189" y="329"/>
                  </a:lnTo>
                  <a:lnTo>
                    <a:pt x="185" y="329"/>
                  </a:lnTo>
                  <a:lnTo>
                    <a:pt x="185" y="326"/>
                  </a:lnTo>
                  <a:lnTo>
                    <a:pt x="186" y="323"/>
                  </a:lnTo>
                  <a:lnTo>
                    <a:pt x="189" y="322"/>
                  </a:lnTo>
                  <a:lnTo>
                    <a:pt x="191" y="322"/>
                  </a:lnTo>
                  <a:close/>
                  <a:moveTo>
                    <a:pt x="259" y="321"/>
                  </a:moveTo>
                  <a:lnTo>
                    <a:pt x="265" y="322"/>
                  </a:lnTo>
                  <a:lnTo>
                    <a:pt x="275" y="325"/>
                  </a:lnTo>
                  <a:lnTo>
                    <a:pt x="281" y="328"/>
                  </a:lnTo>
                  <a:lnTo>
                    <a:pt x="284" y="330"/>
                  </a:lnTo>
                  <a:lnTo>
                    <a:pt x="287" y="329"/>
                  </a:lnTo>
                  <a:lnTo>
                    <a:pt x="290" y="331"/>
                  </a:lnTo>
                  <a:lnTo>
                    <a:pt x="293" y="331"/>
                  </a:lnTo>
                  <a:lnTo>
                    <a:pt x="295" y="332"/>
                  </a:lnTo>
                  <a:lnTo>
                    <a:pt x="299" y="335"/>
                  </a:lnTo>
                  <a:lnTo>
                    <a:pt x="299" y="331"/>
                  </a:lnTo>
                  <a:lnTo>
                    <a:pt x="295" y="331"/>
                  </a:lnTo>
                  <a:lnTo>
                    <a:pt x="298" y="328"/>
                  </a:lnTo>
                  <a:lnTo>
                    <a:pt x="302" y="329"/>
                  </a:lnTo>
                  <a:lnTo>
                    <a:pt x="305" y="328"/>
                  </a:lnTo>
                  <a:lnTo>
                    <a:pt x="307" y="332"/>
                  </a:lnTo>
                  <a:lnTo>
                    <a:pt x="309" y="336"/>
                  </a:lnTo>
                  <a:lnTo>
                    <a:pt x="312" y="337"/>
                  </a:lnTo>
                  <a:lnTo>
                    <a:pt x="317" y="341"/>
                  </a:lnTo>
                  <a:lnTo>
                    <a:pt x="323" y="344"/>
                  </a:lnTo>
                  <a:lnTo>
                    <a:pt x="336" y="351"/>
                  </a:lnTo>
                  <a:lnTo>
                    <a:pt x="342" y="353"/>
                  </a:lnTo>
                  <a:lnTo>
                    <a:pt x="344" y="353"/>
                  </a:lnTo>
                  <a:lnTo>
                    <a:pt x="347" y="355"/>
                  </a:lnTo>
                  <a:lnTo>
                    <a:pt x="350" y="355"/>
                  </a:lnTo>
                  <a:lnTo>
                    <a:pt x="351" y="361"/>
                  </a:lnTo>
                  <a:lnTo>
                    <a:pt x="353" y="364"/>
                  </a:lnTo>
                  <a:lnTo>
                    <a:pt x="355" y="366"/>
                  </a:lnTo>
                  <a:lnTo>
                    <a:pt x="357" y="369"/>
                  </a:lnTo>
                  <a:lnTo>
                    <a:pt x="354" y="366"/>
                  </a:lnTo>
                  <a:lnTo>
                    <a:pt x="350" y="366"/>
                  </a:lnTo>
                  <a:lnTo>
                    <a:pt x="337" y="358"/>
                  </a:lnTo>
                  <a:lnTo>
                    <a:pt x="336" y="354"/>
                  </a:lnTo>
                  <a:lnTo>
                    <a:pt x="335" y="352"/>
                  </a:lnTo>
                  <a:lnTo>
                    <a:pt x="332" y="351"/>
                  </a:lnTo>
                  <a:lnTo>
                    <a:pt x="329" y="350"/>
                  </a:lnTo>
                  <a:lnTo>
                    <a:pt x="325" y="350"/>
                  </a:lnTo>
                  <a:lnTo>
                    <a:pt x="324" y="347"/>
                  </a:lnTo>
                  <a:lnTo>
                    <a:pt x="320" y="346"/>
                  </a:lnTo>
                  <a:lnTo>
                    <a:pt x="317" y="343"/>
                  </a:lnTo>
                  <a:lnTo>
                    <a:pt x="313" y="342"/>
                  </a:lnTo>
                  <a:lnTo>
                    <a:pt x="312" y="338"/>
                  </a:lnTo>
                  <a:lnTo>
                    <a:pt x="308" y="337"/>
                  </a:lnTo>
                  <a:lnTo>
                    <a:pt x="305" y="337"/>
                  </a:lnTo>
                  <a:lnTo>
                    <a:pt x="301" y="337"/>
                  </a:lnTo>
                  <a:lnTo>
                    <a:pt x="303" y="340"/>
                  </a:lnTo>
                  <a:lnTo>
                    <a:pt x="297" y="338"/>
                  </a:lnTo>
                  <a:lnTo>
                    <a:pt x="294" y="337"/>
                  </a:lnTo>
                  <a:lnTo>
                    <a:pt x="290" y="336"/>
                  </a:lnTo>
                  <a:lnTo>
                    <a:pt x="287" y="336"/>
                  </a:lnTo>
                  <a:lnTo>
                    <a:pt x="281" y="334"/>
                  </a:lnTo>
                  <a:lnTo>
                    <a:pt x="278" y="331"/>
                  </a:lnTo>
                  <a:lnTo>
                    <a:pt x="273" y="330"/>
                  </a:lnTo>
                  <a:lnTo>
                    <a:pt x="267" y="327"/>
                  </a:lnTo>
                  <a:lnTo>
                    <a:pt x="264" y="326"/>
                  </a:lnTo>
                  <a:lnTo>
                    <a:pt x="255" y="326"/>
                  </a:lnTo>
                  <a:lnTo>
                    <a:pt x="252" y="325"/>
                  </a:lnTo>
                  <a:lnTo>
                    <a:pt x="251" y="323"/>
                  </a:lnTo>
                  <a:lnTo>
                    <a:pt x="252" y="322"/>
                  </a:lnTo>
                  <a:lnTo>
                    <a:pt x="259" y="321"/>
                  </a:lnTo>
                  <a:close/>
                  <a:moveTo>
                    <a:pt x="218" y="307"/>
                  </a:moveTo>
                  <a:lnTo>
                    <a:pt x="220" y="307"/>
                  </a:lnTo>
                  <a:lnTo>
                    <a:pt x="223" y="307"/>
                  </a:lnTo>
                  <a:lnTo>
                    <a:pt x="227" y="310"/>
                  </a:lnTo>
                  <a:lnTo>
                    <a:pt x="231" y="312"/>
                  </a:lnTo>
                  <a:lnTo>
                    <a:pt x="237" y="311"/>
                  </a:lnTo>
                  <a:lnTo>
                    <a:pt x="241" y="312"/>
                  </a:lnTo>
                  <a:lnTo>
                    <a:pt x="245" y="312"/>
                  </a:lnTo>
                  <a:lnTo>
                    <a:pt x="249" y="312"/>
                  </a:lnTo>
                  <a:lnTo>
                    <a:pt x="255" y="311"/>
                  </a:lnTo>
                  <a:lnTo>
                    <a:pt x="258" y="311"/>
                  </a:lnTo>
                  <a:lnTo>
                    <a:pt x="261" y="312"/>
                  </a:lnTo>
                  <a:lnTo>
                    <a:pt x="227" y="316"/>
                  </a:lnTo>
                  <a:lnTo>
                    <a:pt x="218" y="315"/>
                  </a:lnTo>
                  <a:lnTo>
                    <a:pt x="212" y="313"/>
                  </a:lnTo>
                  <a:lnTo>
                    <a:pt x="209" y="312"/>
                  </a:lnTo>
                  <a:lnTo>
                    <a:pt x="204" y="311"/>
                  </a:lnTo>
                  <a:lnTo>
                    <a:pt x="208" y="311"/>
                  </a:lnTo>
                  <a:lnTo>
                    <a:pt x="211" y="309"/>
                  </a:lnTo>
                  <a:lnTo>
                    <a:pt x="213" y="308"/>
                  </a:lnTo>
                  <a:lnTo>
                    <a:pt x="217" y="311"/>
                  </a:lnTo>
                  <a:lnTo>
                    <a:pt x="216" y="308"/>
                  </a:lnTo>
                  <a:lnTo>
                    <a:pt x="218" y="307"/>
                  </a:lnTo>
                  <a:close/>
                  <a:moveTo>
                    <a:pt x="206" y="293"/>
                  </a:moveTo>
                  <a:lnTo>
                    <a:pt x="212" y="293"/>
                  </a:lnTo>
                  <a:lnTo>
                    <a:pt x="225" y="293"/>
                  </a:lnTo>
                  <a:lnTo>
                    <a:pt x="233" y="294"/>
                  </a:lnTo>
                  <a:lnTo>
                    <a:pt x="233" y="295"/>
                  </a:lnTo>
                  <a:lnTo>
                    <a:pt x="237" y="296"/>
                  </a:lnTo>
                  <a:lnTo>
                    <a:pt x="238" y="299"/>
                  </a:lnTo>
                  <a:lnTo>
                    <a:pt x="234" y="302"/>
                  </a:lnTo>
                  <a:lnTo>
                    <a:pt x="222" y="303"/>
                  </a:lnTo>
                  <a:lnTo>
                    <a:pt x="217" y="303"/>
                  </a:lnTo>
                  <a:lnTo>
                    <a:pt x="213" y="302"/>
                  </a:lnTo>
                  <a:lnTo>
                    <a:pt x="208" y="300"/>
                  </a:lnTo>
                  <a:lnTo>
                    <a:pt x="208" y="297"/>
                  </a:lnTo>
                  <a:lnTo>
                    <a:pt x="206" y="293"/>
                  </a:lnTo>
                  <a:close/>
                  <a:moveTo>
                    <a:pt x="196" y="292"/>
                  </a:moveTo>
                  <a:lnTo>
                    <a:pt x="198" y="293"/>
                  </a:lnTo>
                  <a:lnTo>
                    <a:pt x="201" y="295"/>
                  </a:lnTo>
                  <a:lnTo>
                    <a:pt x="204" y="297"/>
                  </a:lnTo>
                  <a:lnTo>
                    <a:pt x="202" y="298"/>
                  </a:lnTo>
                  <a:lnTo>
                    <a:pt x="197" y="296"/>
                  </a:lnTo>
                  <a:lnTo>
                    <a:pt x="193" y="295"/>
                  </a:lnTo>
                  <a:lnTo>
                    <a:pt x="191" y="292"/>
                  </a:lnTo>
                  <a:lnTo>
                    <a:pt x="196" y="292"/>
                  </a:lnTo>
                  <a:close/>
                  <a:moveTo>
                    <a:pt x="195" y="282"/>
                  </a:moveTo>
                  <a:lnTo>
                    <a:pt x="198" y="282"/>
                  </a:lnTo>
                  <a:lnTo>
                    <a:pt x="199" y="282"/>
                  </a:lnTo>
                  <a:lnTo>
                    <a:pt x="202" y="283"/>
                  </a:lnTo>
                  <a:lnTo>
                    <a:pt x="199" y="284"/>
                  </a:lnTo>
                  <a:lnTo>
                    <a:pt x="196" y="284"/>
                  </a:lnTo>
                  <a:lnTo>
                    <a:pt x="193" y="285"/>
                  </a:lnTo>
                  <a:lnTo>
                    <a:pt x="195" y="282"/>
                  </a:lnTo>
                  <a:close/>
                  <a:moveTo>
                    <a:pt x="151" y="271"/>
                  </a:moveTo>
                  <a:lnTo>
                    <a:pt x="153" y="271"/>
                  </a:lnTo>
                  <a:lnTo>
                    <a:pt x="155" y="273"/>
                  </a:lnTo>
                  <a:lnTo>
                    <a:pt x="159" y="274"/>
                  </a:lnTo>
                  <a:lnTo>
                    <a:pt x="155" y="273"/>
                  </a:lnTo>
                  <a:lnTo>
                    <a:pt x="151" y="271"/>
                  </a:lnTo>
                  <a:close/>
                  <a:moveTo>
                    <a:pt x="123" y="253"/>
                  </a:moveTo>
                  <a:lnTo>
                    <a:pt x="130" y="259"/>
                  </a:lnTo>
                  <a:lnTo>
                    <a:pt x="132" y="261"/>
                  </a:lnTo>
                  <a:lnTo>
                    <a:pt x="129" y="261"/>
                  </a:lnTo>
                  <a:lnTo>
                    <a:pt x="126" y="258"/>
                  </a:lnTo>
                  <a:lnTo>
                    <a:pt x="124" y="256"/>
                  </a:lnTo>
                  <a:lnTo>
                    <a:pt x="123" y="253"/>
                  </a:lnTo>
                  <a:close/>
                  <a:moveTo>
                    <a:pt x="124" y="241"/>
                  </a:moveTo>
                  <a:lnTo>
                    <a:pt x="130" y="244"/>
                  </a:lnTo>
                  <a:lnTo>
                    <a:pt x="132" y="245"/>
                  </a:lnTo>
                  <a:lnTo>
                    <a:pt x="135" y="248"/>
                  </a:lnTo>
                  <a:lnTo>
                    <a:pt x="137" y="251"/>
                  </a:lnTo>
                  <a:lnTo>
                    <a:pt x="135" y="251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6" y="244"/>
                  </a:lnTo>
                  <a:lnTo>
                    <a:pt x="124" y="241"/>
                  </a:lnTo>
                  <a:close/>
                  <a:moveTo>
                    <a:pt x="109" y="228"/>
                  </a:moveTo>
                  <a:lnTo>
                    <a:pt x="121" y="236"/>
                  </a:lnTo>
                  <a:lnTo>
                    <a:pt x="123" y="241"/>
                  </a:lnTo>
                  <a:lnTo>
                    <a:pt x="121" y="238"/>
                  </a:lnTo>
                  <a:lnTo>
                    <a:pt x="117" y="237"/>
                  </a:lnTo>
                  <a:lnTo>
                    <a:pt x="114" y="235"/>
                  </a:lnTo>
                  <a:lnTo>
                    <a:pt x="111" y="232"/>
                  </a:lnTo>
                  <a:lnTo>
                    <a:pt x="109" y="228"/>
                  </a:lnTo>
                  <a:close/>
                  <a:moveTo>
                    <a:pt x="95" y="228"/>
                  </a:moveTo>
                  <a:lnTo>
                    <a:pt x="101" y="232"/>
                  </a:lnTo>
                  <a:lnTo>
                    <a:pt x="104" y="235"/>
                  </a:lnTo>
                  <a:lnTo>
                    <a:pt x="107" y="236"/>
                  </a:lnTo>
                  <a:lnTo>
                    <a:pt x="108" y="239"/>
                  </a:lnTo>
                  <a:lnTo>
                    <a:pt x="112" y="244"/>
                  </a:lnTo>
                  <a:lnTo>
                    <a:pt x="116" y="248"/>
                  </a:lnTo>
                  <a:lnTo>
                    <a:pt x="121" y="251"/>
                  </a:lnTo>
                  <a:lnTo>
                    <a:pt x="116" y="250"/>
                  </a:lnTo>
                  <a:lnTo>
                    <a:pt x="118" y="252"/>
                  </a:lnTo>
                  <a:lnTo>
                    <a:pt x="115" y="251"/>
                  </a:lnTo>
                  <a:lnTo>
                    <a:pt x="111" y="246"/>
                  </a:lnTo>
                  <a:lnTo>
                    <a:pt x="106" y="239"/>
                  </a:lnTo>
                  <a:lnTo>
                    <a:pt x="103" y="237"/>
                  </a:lnTo>
                  <a:lnTo>
                    <a:pt x="93" y="230"/>
                  </a:lnTo>
                  <a:lnTo>
                    <a:pt x="96" y="230"/>
                  </a:lnTo>
                  <a:lnTo>
                    <a:pt x="97" y="231"/>
                  </a:lnTo>
                  <a:lnTo>
                    <a:pt x="95" y="228"/>
                  </a:lnTo>
                  <a:close/>
                  <a:moveTo>
                    <a:pt x="78" y="213"/>
                  </a:moveTo>
                  <a:lnTo>
                    <a:pt x="81" y="214"/>
                  </a:lnTo>
                  <a:lnTo>
                    <a:pt x="82" y="216"/>
                  </a:lnTo>
                  <a:lnTo>
                    <a:pt x="78" y="213"/>
                  </a:lnTo>
                  <a:close/>
                  <a:moveTo>
                    <a:pt x="88" y="206"/>
                  </a:moveTo>
                  <a:lnTo>
                    <a:pt x="91" y="206"/>
                  </a:lnTo>
                  <a:lnTo>
                    <a:pt x="91" y="210"/>
                  </a:lnTo>
                  <a:lnTo>
                    <a:pt x="92" y="211"/>
                  </a:lnTo>
                  <a:lnTo>
                    <a:pt x="89" y="211"/>
                  </a:lnTo>
                  <a:lnTo>
                    <a:pt x="89" y="208"/>
                  </a:lnTo>
                  <a:lnTo>
                    <a:pt x="88" y="206"/>
                  </a:lnTo>
                  <a:close/>
                  <a:moveTo>
                    <a:pt x="54" y="183"/>
                  </a:moveTo>
                  <a:lnTo>
                    <a:pt x="53" y="186"/>
                  </a:lnTo>
                  <a:lnTo>
                    <a:pt x="54" y="189"/>
                  </a:lnTo>
                  <a:lnTo>
                    <a:pt x="51" y="188"/>
                  </a:lnTo>
                  <a:lnTo>
                    <a:pt x="52" y="185"/>
                  </a:lnTo>
                  <a:lnTo>
                    <a:pt x="54" y="183"/>
                  </a:lnTo>
                  <a:close/>
                  <a:moveTo>
                    <a:pt x="61" y="181"/>
                  </a:moveTo>
                  <a:lnTo>
                    <a:pt x="61" y="184"/>
                  </a:lnTo>
                  <a:lnTo>
                    <a:pt x="64" y="189"/>
                  </a:lnTo>
                  <a:lnTo>
                    <a:pt x="67" y="193"/>
                  </a:lnTo>
                  <a:lnTo>
                    <a:pt x="72" y="198"/>
                  </a:lnTo>
                  <a:lnTo>
                    <a:pt x="69" y="199"/>
                  </a:lnTo>
                  <a:lnTo>
                    <a:pt x="67" y="196"/>
                  </a:lnTo>
                  <a:lnTo>
                    <a:pt x="66" y="193"/>
                  </a:lnTo>
                  <a:lnTo>
                    <a:pt x="63" y="193"/>
                  </a:lnTo>
                  <a:lnTo>
                    <a:pt x="60" y="191"/>
                  </a:lnTo>
                  <a:lnTo>
                    <a:pt x="61" y="188"/>
                  </a:lnTo>
                  <a:lnTo>
                    <a:pt x="59" y="185"/>
                  </a:lnTo>
                  <a:lnTo>
                    <a:pt x="58" y="181"/>
                  </a:lnTo>
                  <a:lnTo>
                    <a:pt x="61" y="181"/>
                  </a:lnTo>
                  <a:close/>
                  <a:moveTo>
                    <a:pt x="85" y="179"/>
                  </a:moveTo>
                  <a:lnTo>
                    <a:pt x="88" y="182"/>
                  </a:lnTo>
                  <a:lnTo>
                    <a:pt x="93" y="188"/>
                  </a:lnTo>
                  <a:lnTo>
                    <a:pt x="95" y="190"/>
                  </a:lnTo>
                  <a:lnTo>
                    <a:pt x="95" y="187"/>
                  </a:lnTo>
                  <a:lnTo>
                    <a:pt x="99" y="188"/>
                  </a:lnTo>
                  <a:lnTo>
                    <a:pt x="102" y="193"/>
                  </a:lnTo>
                  <a:lnTo>
                    <a:pt x="106" y="194"/>
                  </a:lnTo>
                  <a:lnTo>
                    <a:pt x="108" y="198"/>
                  </a:lnTo>
                  <a:lnTo>
                    <a:pt x="105" y="196"/>
                  </a:lnTo>
                  <a:lnTo>
                    <a:pt x="101" y="194"/>
                  </a:lnTo>
                  <a:lnTo>
                    <a:pt x="98" y="192"/>
                  </a:lnTo>
                  <a:lnTo>
                    <a:pt x="101" y="195"/>
                  </a:lnTo>
                  <a:lnTo>
                    <a:pt x="107" y="202"/>
                  </a:lnTo>
                  <a:lnTo>
                    <a:pt x="110" y="204"/>
                  </a:lnTo>
                  <a:lnTo>
                    <a:pt x="107" y="201"/>
                  </a:lnTo>
                  <a:lnTo>
                    <a:pt x="116" y="206"/>
                  </a:lnTo>
                  <a:lnTo>
                    <a:pt x="118" y="208"/>
                  </a:lnTo>
                  <a:lnTo>
                    <a:pt x="121" y="210"/>
                  </a:lnTo>
                  <a:lnTo>
                    <a:pt x="118" y="210"/>
                  </a:lnTo>
                  <a:lnTo>
                    <a:pt x="115" y="208"/>
                  </a:lnTo>
                  <a:lnTo>
                    <a:pt x="119" y="211"/>
                  </a:lnTo>
                  <a:lnTo>
                    <a:pt x="115" y="212"/>
                  </a:lnTo>
                  <a:lnTo>
                    <a:pt x="116" y="214"/>
                  </a:lnTo>
                  <a:lnTo>
                    <a:pt x="113" y="213"/>
                  </a:lnTo>
                  <a:lnTo>
                    <a:pt x="111" y="210"/>
                  </a:lnTo>
                  <a:lnTo>
                    <a:pt x="111" y="208"/>
                  </a:lnTo>
                  <a:lnTo>
                    <a:pt x="108" y="206"/>
                  </a:lnTo>
                  <a:lnTo>
                    <a:pt x="105" y="203"/>
                  </a:lnTo>
                  <a:lnTo>
                    <a:pt x="101" y="200"/>
                  </a:lnTo>
                  <a:lnTo>
                    <a:pt x="97" y="198"/>
                  </a:lnTo>
                  <a:lnTo>
                    <a:pt x="97" y="195"/>
                  </a:lnTo>
                  <a:lnTo>
                    <a:pt x="95" y="193"/>
                  </a:lnTo>
                  <a:lnTo>
                    <a:pt x="87" y="183"/>
                  </a:lnTo>
                  <a:lnTo>
                    <a:pt x="85" y="179"/>
                  </a:lnTo>
                  <a:close/>
                  <a:moveTo>
                    <a:pt x="85" y="166"/>
                  </a:moveTo>
                  <a:lnTo>
                    <a:pt x="85" y="169"/>
                  </a:lnTo>
                  <a:lnTo>
                    <a:pt x="88" y="171"/>
                  </a:lnTo>
                  <a:lnTo>
                    <a:pt x="92" y="176"/>
                  </a:lnTo>
                  <a:lnTo>
                    <a:pt x="92" y="179"/>
                  </a:lnTo>
                  <a:lnTo>
                    <a:pt x="87" y="174"/>
                  </a:lnTo>
                  <a:lnTo>
                    <a:pt x="84" y="173"/>
                  </a:lnTo>
                  <a:lnTo>
                    <a:pt x="79" y="171"/>
                  </a:lnTo>
                  <a:lnTo>
                    <a:pt x="82" y="171"/>
                  </a:lnTo>
                  <a:lnTo>
                    <a:pt x="82" y="168"/>
                  </a:lnTo>
                  <a:lnTo>
                    <a:pt x="85" y="166"/>
                  </a:lnTo>
                  <a:close/>
                  <a:moveTo>
                    <a:pt x="55" y="137"/>
                  </a:moveTo>
                  <a:lnTo>
                    <a:pt x="57" y="142"/>
                  </a:lnTo>
                  <a:lnTo>
                    <a:pt x="58" y="146"/>
                  </a:lnTo>
                  <a:lnTo>
                    <a:pt x="59" y="149"/>
                  </a:lnTo>
                  <a:lnTo>
                    <a:pt x="61" y="153"/>
                  </a:lnTo>
                  <a:lnTo>
                    <a:pt x="65" y="154"/>
                  </a:lnTo>
                  <a:lnTo>
                    <a:pt x="66" y="157"/>
                  </a:lnTo>
                  <a:lnTo>
                    <a:pt x="65" y="160"/>
                  </a:lnTo>
                  <a:lnTo>
                    <a:pt x="65" y="164"/>
                  </a:lnTo>
                  <a:lnTo>
                    <a:pt x="65" y="167"/>
                  </a:lnTo>
                  <a:lnTo>
                    <a:pt x="66" y="170"/>
                  </a:lnTo>
                  <a:lnTo>
                    <a:pt x="66" y="173"/>
                  </a:lnTo>
                  <a:lnTo>
                    <a:pt x="67" y="176"/>
                  </a:lnTo>
                  <a:lnTo>
                    <a:pt x="68" y="180"/>
                  </a:lnTo>
                  <a:lnTo>
                    <a:pt x="70" y="183"/>
                  </a:lnTo>
                  <a:lnTo>
                    <a:pt x="70" y="186"/>
                  </a:lnTo>
                  <a:lnTo>
                    <a:pt x="65" y="185"/>
                  </a:lnTo>
                  <a:lnTo>
                    <a:pt x="61" y="180"/>
                  </a:lnTo>
                  <a:lnTo>
                    <a:pt x="61" y="176"/>
                  </a:lnTo>
                  <a:lnTo>
                    <a:pt x="59" y="171"/>
                  </a:lnTo>
                  <a:lnTo>
                    <a:pt x="55" y="164"/>
                  </a:lnTo>
                  <a:lnTo>
                    <a:pt x="54" y="161"/>
                  </a:lnTo>
                  <a:lnTo>
                    <a:pt x="58" y="162"/>
                  </a:lnTo>
                  <a:lnTo>
                    <a:pt x="60" y="162"/>
                  </a:lnTo>
                  <a:lnTo>
                    <a:pt x="60" y="158"/>
                  </a:lnTo>
                  <a:lnTo>
                    <a:pt x="59" y="155"/>
                  </a:lnTo>
                  <a:lnTo>
                    <a:pt x="57" y="148"/>
                  </a:lnTo>
                  <a:lnTo>
                    <a:pt x="52" y="144"/>
                  </a:lnTo>
                  <a:lnTo>
                    <a:pt x="52" y="139"/>
                  </a:lnTo>
                  <a:lnTo>
                    <a:pt x="55" y="137"/>
                  </a:lnTo>
                  <a:close/>
                  <a:moveTo>
                    <a:pt x="71" y="129"/>
                  </a:moveTo>
                  <a:lnTo>
                    <a:pt x="73" y="132"/>
                  </a:lnTo>
                  <a:lnTo>
                    <a:pt x="75" y="136"/>
                  </a:lnTo>
                  <a:lnTo>
                    <a:pt x="78" y="137"/>
                  </a:lnTo>
                  <a:lnTo>
                    <a:pt x="78" y="142"/>
                  </a:lnTo>
                  <a:lnTo>
                    <a:pt x="79" y="144"/>
                  </a:lnTo>
                  <a:lnTo>
                    <a:pt x="83" y="144"/>
                  </a:lnTo>
                  <a:lnTo>
                    <a:pt x="83" y="147"/>
                  </a:lnTo>
                  <a:lnTo>
                    <a:pt x="87" y="150"/>
                  </a:lnTo>
                  <a:lnTo>
                    <a:pt x="87" y="155"/>
                  </a:lnTo>
                  <a:lnTo>
                    <a:pt x="85" y="154"/>
                  </a:lnTo>
                  <a:lnTo>
                    <a:pt x="85" y="157"/>
                  </a:lnTo>
                  <a:lnTo>
                    <a:pt x="82" y="157"/>
                  </a:lnTo>
                  <a:lnTo>
                    <a:pt x="78" y="155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68" y="149"/>
                  </a:lnTo>
                  <a:lnTo>
                    <a:pt x="65" y="147"/>
                  </a:lnTo>
                  <a:lnTo>
                    <a:pt x="61" y="144"/>
                  </a:lnTo>
                  <a:lnTo>
                    <a:pt x="65" y="143"/>
                  </a:lnTo>
                  <a:lnTo>
                    <a:pt x="68" y="140"/>
                  </a:lnTo>
                  <a:lnTo>
                    <a:pt x="69" y="137"/>
                  </a:lnTo>
                  <a:lnTo>
                    <a:pt x="69" y="134"/>
                  </a:lnTo>
                  <a:lnTo>
                    <a:pt x="70" y="131"/>
                  </a:lnTo>
                  <a:lnTo>
                    <a:pt x="71" y="129"/>
                  </a:lnTo>
                  <a:close/>
                  <a:moveTo>
                    <a:pt x="181" y="0"/>
                  </a:moveTo>
                  <a:lnTo>
                    <a:pt x="184" y="2"/>
                  </a:lnTo>
                  <a:lnTo>
                    <a:pt x="187" y="2"/>
                  </a:lnTo>
                  <a:lnTo>
                    <a:pt x="192" y="5"/>
                  </a:lnTo>
                  <a:lnTo>
                    <a:pt x="194" y="4"/>
                  </a:lnTo>
                  <a:lnTo>
                    <a:pt x="198" y="6"/>
                  </a:lnTo>
                  <a:lnTo>
                    <a:pt x="200" y="9"/>
                  </a:lnTo>
                  <a:lnTo>
                    <a:pt x="204" y="11"/>
                  </a:lnTo>
                  <a:lnTo>
                    <a:pt x="209" y="12"/>
                  </a:lnTo>
                  <a:lnTo>
                    <a:pt x="212" y="13"/>
                  </a:lnTo>
                  <a:lnTo>
                    <a:pt x="214" y="16"/>
                  </a:lnTo>
                  <a:lnTo>
                    <a:pt x="215" y="21"/>
                  </a:lnTo>
                  <a:lnTo>
                    <a:pt x="219" y="24"/>
                  </a:lnTo>
                  <a:lnTo>
                    <a:pt x="220" y="27"/>
                  </a:lnTo>
                  <a:lnTo>
                    <a:pt x="225" y="30"/>
                  </a:lnTo>
                  <a:lnTo>
                    <a:pt x="230" y="35"/>
                  </a:lnTo>
                  <a:lnTo>
                    <a:pt x="236" y="35"/>
                  </a:lnTo>
                  <a:lnTo>
                    <a:pt x="240" y="38"/>
                  </a:lnTo>
                  <a:lnTo>
                    <a:pt x="241" y="42"/>
                  </a:lnTo>
                  <a:lnTo>
                    <a:pt x="243" y="45"/>
                  </a:lnTo>
                  <a:lnTo>
                    <a:pt x="245" y="47"/>
                  </a:lnTo>
                  <a:lnTo>
                    <a:pt x="248" y="49"/>
                  </a:lnTo>
                  <a:lnTo>
                    <a:pt x="252" y="48"/>
                  </a:lnTo>
                  <a:lnTo>
                    <a:pt x="258" y="48"/>
                  </a:lnTo>
                  <a:lnTo>
                    <a:pt x="260" y="48"/>
                  </a:lnTo>
                  <a:lnTo>
                    <a:pt x="263" y="49"/>
                  </a:lnTo>
                  <a:lnTo>
                    <a:pt x="266" y="52"/>
                  </a:lnTo>
                  <a:lnTo>
                    <a:pt x="267" y="55"/>
                  </a:lnTo>
                  <a:lnTo>
                    <a:pt x="270" y="57"/>
                  </a:lnTo>
                  <a:lnTo>
                    <a:pt x="278" y="59"/>
                  </a:lnTo>
                  <a:lnTo>
                    <a:pt x="283" y="60"/>
                  </a:lnTo>
                  <a:lnTo>
                    <a:pt x="290" y="60"/>
                  </a:lnTo>
                  <a:lnTo>
                    <a:pt x="297" y="61"/>
                  </a:lnTo>
                  <a:lnTo>
                    <a:pt x="299" y="60"/>
                  </a:lnTo>
                  <a:lnTo>
                    <a:pt x="305" y="59"/>
                  </a:lnTo>
                  <a:lnTo>
                    <a:pt x="308" y="60"/>
                  </a:lnTo>
                  <a:lnTo>
                    <a:pt x="311" y="61"/>
                  </a:lnTo>
                  <a:lnTo>
                    <a:pt x="314" y="60"/>
                  </a:lnTo>
                  <a:lnTo>
                    <a:pt x="317" y="61"/>
                  </a:lnTo>
                  <a:lnTo>
                    <a:pt x="319" y="60"/>
                  </a:lnTo>
                  <a:lnTo>
                    <a:pt x="321" y="57"/>
                  </a:lnTo>
                  <a:lnTo>
                    <a:pt x="324" y="57"/>
                  </a:lnTo>
                  <a:lnTo>
                    <a:pt x="328" y="53"/>
                  </a:lnTo>
                  <a:lnTo>
                    <a:pt x="329" y="49"/>
                  </a:lnTo>
                  <a:lnTo>
                    <a:pt x="330" y="46"/>
                  </a:lnTo>
                  <a:lnTo>
                    <a:pt x="333" y="44"/>
                  </a:lnTo>
                  <a:lnTo>
                    <a:pt x="336" y="45"/>
                  </a:lnTo>
                  <a:lnTo>
                    <a:pt x="339" y="46"/>
                  </a:lnTo>
                  <a:lnTo>
                    <a:pt x="341" y="43"/>
                  </a:lnTo>
                  <a:lnTo>
                    <a:pt x="344" y="42"/>
                  </a:lnTo>
                  <a:lnTo>
                    <a:pt x="346" y="40"/>
                  </a:lnTo>
                  <a:lnTo>
                    <a:pt x="346" y="44"/>
                  </a:lnTo>
                  <a:lnTo>
                    <a:pt x="348" y="47"/>
                  </a:lnTo>
                  <a:lnTo>
                    <a:pt x="345" y="47"/>
                  </a:lnTo>
                  <a:lnTo>
                    <a:pt x="345" y="50"/>
                  </a:lnTo>
                  <a:lnTo>
                    <a:pt x="347" y="53"/>
                  </a:lnTo>
                  <a:lnTo>
                    <a:pt x="350" y="57"/>
                  </a:lnTo>
                  <a:lnTo>
                    <a:pt x="350" y="60"/>
                  </a:lnTo>
                  <a:lnTo>
                    <a:pt x="354" y="62"/>
                  </a:lnTo>
                  <a:lnTo>
                    <a:pt x="355" y="65"/>
                  </a:lnTo>
                  <a:lnTo>
                    <a:pt x="353" y="68"/>
                  </a:lnTo>
                  <a:lnTo>
                    <a:pt x="351" y="72"/>
                  </a:lnTo>
                  <a:lnTo>
                    <a:pt x="354" y="75"/>
                  </a:lnTo>
                  <a:lnTo>
                    <a:pt x="357" y="75"/>
                  </a:lnTo>
                  <a:lnTo>
                    <a:pt x="362" y="75"/>
                  </a:lnTo>
                  <a:lnTo>
                    <a:pt x="365" y="76"/>
                  </a:lnTo>
                  <a:lnTo>
                    <a:pt x="364" y="79"/>
                  </a:lnTo>
                  <a:lnTo>
                    <a:pt x="360" y="79"/>
                  </a:lnTo>
                  <a:lnTo>
                    <a:pt x="360" y="84"/>
                  </a:lnTo>
                  <a:lnTo>
                    <a:pt x="362" y="87"/>
                  </a:lnTo>
                  <a:lnTo>
                    <a:pt x="359" y="90"/>
                  </a:lnTo>
                  <a:lnTo>
                    <a:pt x="361" y="92"/>
                  </a:lnTo>
                  <a:lnTo>
                    <a:pt x="363" y="93"/>
                  </a:lnTo>
                  <a:lnTo>
                    <a:pt x="366" y="93"/>
                  </a:lnTo>
                  <a:lnTo>
                    <a:pt x="368" y="96"/>
                  </a:lnTo>
                  <a:lnTo>
                    <a:pt x="372" y="98"/>
                  </a:lnTo>
                  <a:lnTo>
                    <a:pt x="385" y="100"/>
                  </a:lnTo>
                  <a:lnTo>
                    <a:pt x="389" y="104"/>
                  </a:lnTo>
                  <a:lnTo>
                    <a:pt x="388" y="107"/>
                  </a:lnTo>
                  <a:lnTo>
                    <a:pt x="382" y="108"/>
                  </a:lnTo>
                  <a:lnTo>
                    <a:pt x="380" y="108"/>
                  </a:lnTo>
                  <a:lnTo>
                    <a:pt x="377" y="109"/>
                  </a:lnTo>
                  <a:lnTo>
                    <a:pt x="375" y="109"/>
                  </a:lnTo>
                  <a:lnTo>
                    <a:pt x="371" y="108"/>
                  </a:lnTo>
                  <a:lnTo>
                    <a:pt x="367" y="112"/>
                  </a:lnTo>
                  <a:lnTo>
                    <a:pt x="367" y="115"/>
                  </a:lnTo>
                  <a:lnTo>
                    <a:pt x="369" y="117"/>
                  </a:lnTo>
                  <a:lnTo>
                    <a:pt x="370" y="122"/>
                  </a:lnTo>
                  <a:lnTo>
                    <a:pt x="370" y="125"/>
                  </a:lnTo>
                  <a:lnTo>
                    <a:pt x="371" y="127"/>
                  </a:lnTo>
                  <a:lnTo>
                    <a:pt x="372" y="130"/>
                  </a:lnTo>
                  <a:lnTo>
                    <a:pt x="370" y="134"/>
                  </a:lnTo>
                  <a:lnTo>
                    <a:pt x="367" y="132"/>
                  </a:lnTo>
                  <a:lnTo>
                    <a:pt x="365" y="135"/>
                  </a:lnTo>
                  <a:lnTo>
                    <a:pt x="367" y="138"/>
                  </a:lnTo>
                  <a:lnTo>
                    <a:pt x="359" y="139"/>
                  </a:lnTo>
                  <a:lnTo>
                    <a:pt x="354" y="137"/>
                  </a:lnTo>
                  <a:lnTo>
                    <a:pt x="349" y="133"/>
                  </a:lnTo>
                  <a:lnTo>
                    <a:pt x="351" y="129"/>
                  </a:lnTo>
                  <a:lnTo>
                    <a:pt x="350" y="127"/>
                  </a:lnTo>
                  <a:lnTo>
                    <a:pt x="347" y="126"/>
                  </a:lnTo>
                  <a:lnTo>
                    <a:pt x="343" y="121"/>
                  </a:lnTo>
                  <a:lnTo>
                    <a:pt x="340" y="123"/>
                  </a:lnTo>
                  <a:lnTo>
                    <a:pt x="338" y="120"/>
                  </a:lnTo>
                  <a:lnTo>
                    <a:pt x="335" y="120"/>
                  </a:lnTo>
                  <a:lnTo>
                    <a:pt x="332" y="121"/>
                  </a:lnTo>
                  <a:lnTo>
                    <a:pt x="333" y="124"/>
                  </a:lnTo>
                  <a:lnTo>
                    <a:pt x="330" y="124"/>
                  </a:lnTo>
                  <a:lnTo>
                    <a:pt x="326" y="121"/>
                  </a:lnTo>
                  <a:lnTo>
                    <a:pt x="323" y="119"/>
                  </a:lnTo>
                  <a:lnTo>
                    <a:pt x="318" y="119"/>
                  </a:lnTo>
                  <a:lnTo>
                    <a:pt x="314" y="117"/>
                  </a:lnTo>
                  <a:lnTo>
                    <a:pt x="311" y="117"/>
                  </a:lnTo>
                  <a:lnTo>
                    <a:pt x="310" y="121"/>
                  </a:lnTo>
                  <a:lnTo>
                    <a:pt x="308" y="123"/>
                  </a:lnTo>
                  <a:lnTo>
                    <a:pt x="305" y="123"/>
                  </a:lnTo>
                  <a:lnTo>
                    <a:pt x="300" y="120"/>
                  </a:lnTo>
                  <a:lnTo>
                    <a:pt x="297" y="120"/>
                  </a:lnTo>
                  <a:lnTo>
                    <a:pt x="293" y="125"/>
                  </a:lnTo>
                  <a:lnTo>
                    <a:pt x="290" y="127"/>
                  </a:lnTo>
                  <a:lnTo>
                    <a:pt x="287" y="128"/>
                  </a:lnTo>
                  <a:lnTo>
                    <a:pt x="285" y="127"/>
                  </a:lnTo>
                  <a:lnTo>
                    <a:pt x="281" y="123"/>
                  </a:lnTo>
                  <a:lnTo>
                    <a:pt x="276" y="120"/>
                  </a:lnTo>
                  <a:lnTo>
                    <a:pt x="272" y="121"/>
                  </a:lnTo>
                  <a:lnTo>
                    <a:pt x="270" y="124"/>
                  </a:lnTo>
                  <a:lnTo>
                    <a:pt x="267" y="125"/>
                  </a:lnTo>
                  <a:lnTo>
                    <a:pt x="263" y="126"/>
                  </a:lnTo>
                  <a:lnTo>
                    <a:pt x="261" y="124"/>
                  </a:lnTo>
                  <a:lnTo>
                    <a:pt x="257" y="124"/>
                  </a:lnTo>
                  <a:lnTo>
                    <a:pt x="255" y="123"/>
                  </a:lnTo>
                  <a:lnTo>
                    <a:pt x="251" y="122"/>
                  </a:lnTo>
                  <a:lnTo>
                    <a:pt x="249" y="120"/>
                  </a:lnTo>
                  <a:lnTo>
                    <a:pt x="248" y="123"/>
                  </a:lnTo>
                  <a:lnTo>
                    <a:pt x="244" y="124"/>
                  </a:lnTo>
                  <a:lnTo>
                    <a:pt x="238" y="123"/>
                  </a:lnTo>
                  <a:lnTo>
                    <a:pt x="235" y="121"/>
                  </a:lnTo>
                  <a:lnTo>
                    <a:pt x="233" y="118"/>
                  </a:lnTo>
                  <a:lnTo>
                    <a:pt x="231" y="118"/>
                  </a:lnTo>
                  <a:lnTo>
                    <a:pt x="228" y="117"/>
                  </a:lnTo>
                  <a:lnTo>
                    <a:pt x="225" y="114"/>
                  </a:lnTo>
                  <a:lnTo>
                    <a:pt x="223" y="117"/>
                  </a:lnTo>
                  <a:lnTo>
                    <a:pt x="221" y="120"/>
                  </a:lnTo>
                  <a:lnTo>
                    <a:pt x="220" y="123"/>
                  </a:lnTo>
                  <a:lnTo>
                    <a:pt x="217" y="124"/>
                  </a:lnTo>
                  <a:lnTo>
                    <a:pt x="203" y="122"/>
                  </a:lnTo>
                  <a:lnTo>
                    <a:pt x="199" y="122"/>
                  </a:lnTo>
                  <a:lnTo>
                    <a:pt x="196" y="124"/>
                  </a:lnTo>
                  <a:lnTo>
                    <a:pt x="195" y="129"/>
                  </a:lnTo>
                  <a:lnTo>
                    <a:pt x="192" y="132"/>
                  </a:lnTo>
                  <a:lnTo>
                    <a:pt x="191" y="135"/>
                  </a:lnTo>
                  <a:lnTo>
                    <a:pt x="189" y="139"/>
                  </a:lnTo>
                  <a:lnTo>
                    <a:pt x="189" y="143"/>
                  </a:lnTo>
                  <a:lnTo>
                    <a:pt x="185" y="143"/>
                  </a:lnTo>
                  <a:lnTo>
                    <a:pt x="182" y="142"/>
                  </a:lnTo>
                  <a:lnTo>
                    <a:pt x="174" y="136"/>
                  </a:lnTo>
                  <a:lnTo>
                    <a:pt x="171" y="131"/>
                  </a:lnTo>
                  <a:lnTo>
                    <a:pt x="167" y="129"/>
                  </a:lnTo>
                  <a:lnTo>
                    <a:pt x="166" y="125"/>
                  </a:lnTo>
                  <a:lnTo>
                    <a:pt x="163" y="126"/>
                  </a:lnTo>
                  <a:lnTo>
                    <a:pt x="157" y="126"/>
                  </a:lnTo>
                  <a:lnTo>
                    <a:pt x="154" y="127"/>
                  </a:lnTo>
                  <a:lnTo>
                    <a:pt x="151" y="131"/>
                  </a:lnTo>
                  <a:lnTo>
                    <a:pt x="152" y="137"/>
                  </a:lnTo>
                  <a:lnTo>
                    <a:pt x="150" y="143"/>
                  </a:lnTo>
                  <a:lnTo>
                    <a:pt x="151" y="147"/>
                  </a:lnTo>
                  <a:lnTo>
                    <a:pt x="150" y="153"/>
                  </a:lnTo>
                  <a:lnTo>
                    <a:pt x="150" y="157"/>
                  </a:lnTo>
                  <a:lnTo>
                    <a:pt x="152" y="160"/>
                  </a:lnTo>
                  <a:lnTo>
                    <a:pt x="153" y="163"/>
                  </a:lnTo>
                  <a:lnTo>
                    <a:pt x="150" y="164"/>
                  </a:lnTo>
                  <a:lnTo>
                    <a:pt x="150" y="167"/>
                  </a:lnTo>
                  <a:lnTo>
                    <a:pt x="152" y="171"/>
                  </a:lnTo>
                  <a:lnTo>
                    <a:pt x="155" y="173"/>
                  </a:lnTo>
                  <a:lnTo>
                    <a:pt x="158" y="174"/>
                  </a:lnTo>
                  <a:lnTo>
                    <a:pt x="160" y="173"/>
                  </a:lnTo>
                  <a:lnTo>
                    <a:pt x="163" y="175"/>
                  </a:lnTo>
                  <a:lnTo>
                    <a:pt x="165" y="176"/>
                  </a:lnTo>
                  <a:lnTo>
                    <a:pt x="167" y="179"/>
                  </a:lnTo>
                  <a:lnTo>
                    <a:pt x="170" y="180"/>
                  </a:lnTo>
                  <a:lnTo>
                    <a:pt x="172" y="184"/>
                  </a:lnTo>
                  <a:lnTo>
                    <a:pt x="171" y="187"/>
                  </a:lnTo>
                  <a:lnTo>
                    <a:pt x="172" y="189"/>
                  </a:lnTo>
                  <a:lnTo>
                    <a:pt x="175" y="188"/>
                  </a:lnTo>
                  <a:lnTo>
                    <a:pt x="178" y="191"/>
                  </a:lnTo>
                  <a:lnTo>
                    <a:pt x="181" y="197"/>
                  </a:lnTo>
                  <a:lnTo>
                    <a:pt x="181" y="200"/>
                  </a:lnTo>
                  <a:lnTo>
                    <a:pt x="184" y="203"/>
                  </a:lnTo>
                  <a:lnTo>
                    <a:pt x="185" y="206"/>
                  </a:lnTo>
                  <a:lnTo>
                    <a:pt x="184" y="209"/>
                  </a:lnTo>
                  <a:lnTo>
                    <a:pt x="185" y="214"/>
                  </a:lnTo>
                  <a:lnTo>
                    <a:pt x="186" y="217"/>
                  </a:lnTo>
                  <a:lnTo>
                    <a:pt x="191" y="223"/>
                  </a:lnTo>
                  <a:lnTo>
                    <a:pt x="194" y="228"/>
                  </a:lnTo>
                  <a:lnTo>
                    <a:pt x="196" y="231"/>
                  </a:lnTo>
                  <a:lnTo>
                    <a:pt x="200" y="231"/>
                  </a:lnTo>
                  <a:lnTo>
                    <a:pt x="202" y="234"/>
                  </a:lnTo>
                  <a:lnTo>
                    <a:pt x="206" y="236"/>
                  </a:lnTo>
                  <a:lnTo>
                    <a:pt x="212" y="241"/>
                  </a:lnTo>
                  <a:lnTo>
                    <a:pt x="215" y="244"/>
                  </a:lnTo>
                  <a:lnTo>
                    <a:pt x="218" y="247"/>
                  </a:lnTo>
                  <a:lnTo>
                    <a:pt x="221" y="249"/>
                  </a:lnTo>
                  <a:lnTo>
                    <a:pt x="222" y="252"/>
                  </a:lnTo>
                  <a:lnTo>
                    <a:pt x="224" y="256"/>
                  </a:lnTo>
                  <a:lnTo>
                    <a:pt x="231" y="261"/>
                  </a:lnTo>
                  <a:lnTo>
                    <a:pt x="243" y="271"/>
                  </a:lnTo>
                  <a:lnTo>
                    <a:pt x="246" y="274"/>
                  </a:lnTo>
                  <a:lnTo>
                    <a:pt x="250" y="277"/>
                  </a:lnTo>
                  <a:lnTo>
                    <a:pt x="254" y="279"/>
                  </a:lnTo>
                  <a:lnTo>
                    <a:pt x="261" y="279"/>
                  </a:lnTo>
                  <a:lnTo>
                    <a:pt x="264" y="282"/>
                  </a:lnTo>
                  <a:lnTo>
                    <a:pt x="264" y="291"/>
                  </a:lnTo>
                  <a:lnTo>
                    <a:pt x="266" y="296"/>
                  </a:lnTo>
                  <a:lnTo>
                    <a:pt x="269" y="299"/>
                  </a:lnTo>
                  <a:lnTo>
                    <a:pt x="272" y="302"/>
                  </a:lnTo>
                  <a:lnTo>
                    <a:pt x="274" y="304"/>
                  </a:lnTo>
                  <a:lnTo>
                    <a:pt x="276" y="307"/>
                  </a:lnTo>
                  <a:lnTo>
                    <a:pt x="289" y="314"/>
                  </a:lnTo>
                  <a:lnTo>
                    <a:pt x="292" y="317"/>
                  </a:lnTo>
                  <a:lnTo>
                    <a:pt x="294" y="321"/>
                  </a:lnTo>
                  <a:lnTo>
                    <a:pt x="293" y="326"/>
                  </a:lnTo>
                  <a:lnTo>
                    <a:pt x="289" y="327"/>
                  </a:lnTo>
                  <a:lnTo>
                    <a:pt x="286" y="326"/>
                  </a:lnTo>
                  <a:lnTo>
                    <a:pt x="284" y="325"/>
                  </a:lnTo>
                  <a:lnTo>
                    <a:pt x="282" y="322"/>
                  </a:lnTo>
                  <a:lnTo>
                    <a:pt x="283" y="319"/>
                  </a:lnTo>
                  <a:lnTo>
                    <a:pt x="280" y="320"/>
                  </a:lnTo>
                  <a:lnTo>
                    <a:pt x="278" y="318"/>
                  </a:lnTo>
                  <a:lnTo>
                    <a:pt x="273" y="316"/>
                  </a:lnTo>
                  <a:lnTo>
                    <a:pt x="269" y="312"/>
                  </a:lnTo>
                  <a:lnTo>
                    <a:pt x="259" y="308"/>
                  </a:lnTo>
                  <a:lnTo>
                    <a:pt x="255" y="305"/>
                  </a:lnTo>
                  <a:lnTo>
                    <a:pt x="252" y="303"/>
                  </a:lnTo>
                  <a:lnTo>
                    <a:pt x="250" y="300"/>
                  </a:lnTo>
                  <a:lnTo>
                    <a:pt x="241" y="292"/>
                  </a:lnTo>
                  <a:lnTo>
                    <a:pt x="239" y="290"/>
                  </a:lnTo>
                  <a:lnTo>
                    <a:pt x="229" y="287"/>
                  </a:lnTo>
                  <a:lnTo>
                    <a:pt x="225" y="286"/>
                  </a:lnTo>
                  <a:lnTo>
                    <a:pt x="220" y="286"/>
                  </a:lnTo>
                  <a:lnTo>
                    <a:pt x="214" y="282"/>
                  </a:lnTo>
                  <a:lnTo>
                    <a:pt x="209" y="281"/>
                  </a:lnTo>
                  <a:lnTo>
                    <a:pt x="203" y="281"/>
                  </a:lnTo>
                  <a:lnTo>
                    <a:pt x="206" y="280"/>
                  </a:lnTo>
                  <a:lnTo>
                    <a:pt x="209" y="278"/>
                  </a:lnTo>
                  <a:lnTo>
                    <a:pt x="206" y="277"/>
                  </a:lnTo>
                  <a:lnTo>
                    <a:pt x="199" y="278"/>
                  </a:lnTo>
                  <a:lnTo>
                    <a:pt x="197" y="279"/>
                  </a:lnTo>
                  <a:lnTo>
                    <a:pt x="193" y="281"/>
                  </a:lnTo>
                  <a:lnTo>
                    <a:pt x="185" y="282"/>
                  </a:lnTo>
                  <a:lnTo>
                    <a:pt x="188" y="283"/>
                  </a:lnTo>
                  <a:lnTo>
                    <a:pt x="185" y="285"/>
                  </a:lnTo>
                  <a:lnTo>
                    <a:pt x="182" y="285"/>
                  </a:lnTo>
                  <a:lnTo>
                    <a:pt x="179" y="285"/>
                  </a:lnTo>
                  <a:lnTo>
                    <a:pt x="175" y="284"/>
                  </a:lnTo>
                  <a:lnTo>
                    <a:pt x="176" y="282"/>
                  </a:lnTo>
                  <a:lnTo>
                    <a:pt x="173" y="280"/>
                  </a:lnTo>
                  <a:lnTo>
                    <a:pt x="171" y="277"/>
                  </a:lnTo>
                  <a:lnTo>
                    <a:pt x="171" y="274"/>
                  </a:lnTo>
                  <a:lnTo>
                    <a:pt x="174" y="272"/>
                  </a:lnTo>
                  <a:lnTo>
                    <a:pt x="171" y="271"/>
                  </a:lnTo>
                  <a:lnTo>
                    <a:pt x="173" y="268"/>
                  </a:lnTo>
                  <a:lnTo>
                    <a:pt x="170" y="267"/>
                  </a:lnTo>
                  <a:lnTo>
                    <a:pt x="167" y="267"/>
                  </a:lnTo>
                  <a:lnTo>
                    <a:pt x="162" y="263"/>
                  </a:lnTo>
                  <a:lnTo>
                    <a:pt x="156" y="262"/>
                  </a:lnTo>
                  <a:lnTo>
                    <a:pt x="154" y="259"/>
                  </a:lnTo>
                  <a:lnTo>
                    <a:pt x="150" y="258"/>
                  </a:lnTo>
                  <a:lnTo>
                    <a:pt x="154" y="258"/>
                  </a:lnTo>
                  <a:lnTo>
                    <a:pt x="151" y="256"/>
                  </a:lnTo>
                  <a:lnTo>
                    <a:pt x="146" y="254"/>
                  </a:lnTo>
                  <a:lnTo>
                    <a:pt x="143" y="250"/>
                  </a:lnTo>
                  <a:lnTo>
                    <a:pt x="140" y="249"/>
                  </a:lnTo>
                  <a:lnTo>
                    <a:pt x="137" y="247"/>
                  </a:lnTo>
                  <a:lnTo>
                    <a:pt x="132" y="242"/>
                  </a:lnTo>
                  <a:lnTo>
                    <a:pt x="130" y="240"/>
                  </a:lnTo>
                  <a:lnTo>
                    <a:pt x="127" y="238"/>
                  </a:lnTo>
                  <a:lnTo>
                    <a:pt x="124" y="235"/>
                  </a:lnTo>
                  <a:lnTo>
                    <a:pt x="121" y="231"/>
                  </a:lnTo>
                  <a:lnTo>
                    <a:pt x="118" y="228"/>
                  </a:lnTo>
                  <a:lnTo>
                    <a:pt x="115" y="225"/>
                  </a:lnTo>
                  <a:lnTo>
                    <a:pt x="115" y="221"/>
                  </a:lnTo>
                  <a:lnTo>
                    <a:pt x="112" y="218"/>
                  </a:lnTo>
                  <a:lnTo>
                    <a:pt x="115" y="216"/>
                  </a:lnTo>
                  <a:lnTo>
                    <a:pt x="116" y="220"/>
                  </a:lnTo>
                  <a:lnTo>
                    <a:pt x="117" y="216"/>
                  </a:lnTo>
                  <a:lnTo>
                    <a:pt x="121" y="216"/>
                  </a:lnTo>
                  <a:lnTo>
                    <a:pt x="124" y="218"/>
                  </a:lnTo>
                  <a:lnTo>
                    <a:pt x="123" y="215"/>
                  </a:lnTo>
                  <a:lnTo>
                    <a:pt x="122" y="212"/>
                  </a:lnTo>
                  <a:lnTo>
                    <a:pt x="125" y="213"/>
                  </a:lnTo>
                  <a:lnTo>
                    <a:pt x="132" y="216"/>
                  </a:lnTo>
                  <a:lnTo>
                    <a:pt x="139" y="217"/>
                  </a:lnTo>
                  <a:lnTo>
                    <a:pt x="135" y="214"/>
                  </a:lnTo>
                  <a:lnTo>
                    <a:pt x="132" y="212"/>
                  </a:lnTo>
                  <a:lnTo>
                    <a:pt x="125" y="209"/>
                  </a:lnTo>
                  <a:lnTo>
                    <a:pt x="114" y="199"/>
                  </a:lnTo>
                  <a:lnTo>
                    <a:pt x="110" y="195"/>
                  </a:lnTo>
                  <a:lnTo>
                    <a:pt x="107" y="192"/>
                  </a:lnTo>
                  <a:lnTo>
                    <a:pt x="104" y="190"/>
                  </a:lnTo>
                  <a:lnTo>
                    <a:pt x="96" y="180"/>
                  </a:lnTo>
                  <a:lnTo>
                    <a:pt x="94" y="177"/>
                  </a:lnTo>
                  <a:lnTo>
                    <a:pt x="94" y="173"/>
                  </a:lnTo>
                  <a:lnTo>
                    <a:pt x="94" y="166"/>
                  </a:lnTo>
                  <a:lnTo>
                    <a:pt x="95" y="158"/>
                  </a:lnTo>
                  <a:lnTo>
                    <a:pt x="96" y="155"/>
                  </a:lnTo>
                  <a:lnTo>
                    <a:pt x="91" y="144"/>
                  </a:lnTo>
                  <a:lnTo>
                    <a:pt x="90" y="141"/>
                  </a:lnTo>
                  <a:lnTo>
                    <a:pt x="84" y="138"/>
                  </a:lnTo>
                  <a:lnTo>
                    <a:pt x="77" y="133"/>
                  </a:lnTo>
                  <a:lnTo>
                    <a:pt x="73" y="129"/>
                  </a:lnTo>
                  <a:lnTo>
                    <a:pt x="71" y="127"/>
                  </a:lnTo>
                  <a:lnTo>
                    <a:pt x="68" y="123"/>
                  </a:lnTo>
                  <a:lnTo>
                    <a:pt x="69" y="126"/>
                  </a:lnTo>
                  <a:lnTo>
                    <a:pt x="59" y="121"/>
                  </a:lnTo>
                  <a:lnTo>
                    <a:pt x="56" y="121"/>
                  </a:lnTo>
                  <a:lnTo>
                    <a:pt x="53" y="121"/>
                  </a:lnTo>
                  <a:lnTo>
                    <a:pt x="51" y="126"/>
                  </a:lnTo>
                  <a:lnTo>
                    <a:pt x="50" y="130"/>
                  </a:lnTo>
                  <a:lnTo>
                    <a:pt x="49" y="136"/>
                  </a:lnTo>
                  <a:lnTo>
                    <a:pt x="49" y="139"/>
                  </a:lnTo>
                  <a:lnTo>
                    <a:pt x="45" y="141"/>
                  </a:lnTo>
                  <a:lnTo>
                    <a:pt x="46" y="144"/>
                  </a:lnTo>
                  <a:lnTo>
                    <a:pt x="44" y="146"/>
                  </a:lnTo>
                  <a:lnTo>
                    <a:pt x="44" y="150"/>
                  </a:lnTo>
                  <a:lnTo>
                    <a:pt x="45" y="155"/>
                  </a:lnTo>
                  <a:lnTo>
                    <a:pt x="42" y="157"/>
                  </a:lnTo>
                  <a:lnTo>
                    <a:pt x="40" y="159"/>
                  </a:lnTo>
                  <a:lnTo>
                    <a:pt x="40" y="156"/>
                  </a:lnTo>
                  <a:lnTo>
                    <a:pt x="38" y="153"/>
                  </a:lnTo>
                  <a:lnTo>
                    <a:pt x="39" y="156"/>
                  </a:lnTo>
                  <a:lnTo>
                    <a:pt x="37" y="159"/>
                  </a:lnTo>
                  <a:lnTo>
                    <a:pt x="37" y="162"/>
                  </a:lnTo>
                  <a:lnTo>
                    <a:pt x="34" y="164"/>
                  </a:lnTo>
                  <a:lnTo>
                    <a:pt x="34" y="167"/>
                  </a:lnTo>
                  <a:lnTo>
                    <a:pt x="33" y="170"/>
                  </a:lnTo>
                  <a:lnTo>
                    <a:pt x="31" y="172"/>
                  </a:lnTo>
                  <a:lnTo>
                    <a:pt x="28" y="171"/>
                  </a:lnTo>
                  <a:lnTo>
                    <a:pt x="29" y="174"/>
                  </a:lnTo>
                  <a:lnTo>
                    <a:pt x="26" y="171"/>
                  </a:lnTo>
                  <a:lnTo>
                    <a:pt x="25" y="169"/>
                  </a:lnTo>
                  <a:lnTo>
                    <a:pt x="22" y="168"/>
                  </a:lnTo>
                  <a:lnTo>
                    <a:pt x="24" y="166"/>
                  </a:lnTo>
                  <a:lnTo>
                    <a:pt x="22" y="166"/>
                  </a:lnTo>
                  <a:lnTo>
                    <a:pt x="22" y="163"/>
                  </a:lnTo>
                  <a:lnTo>
                    <a:pt x="20" y="159"/>
                  </a:lnTo>
                  <a:lnTo>
                    <a:pt x="17" y="156"/>
                  </a:lnTo>
                  <a:lnTo>
                    <a:pt x="13" y="152"/>
                  </a:lnTo>
                  <a:lnTo>
                    <a:pt x="11" y="149"/>
                  </a:lnTo>
                  <a:lnTo>
                    <a:pt x="8" y="144"/>
                  </a:lnTo>
                  <a:lnTo>
                    <a:pt x="16" y="143"/>
                  </a:lnTo>
                  <a:lnTo>
                    <a:pt x="13" y="142"/>
                  </a:lnTo>
                  <a:lnTo>
                    <a:pt x="10" y="142"/>
                  </a:lnTo>
                  <a:lnTo>
                    <a:pt x="8" y="143"/>
                  </a:lnTo>
                  <a:lnTo>
                    <a:pt x="7" y="140"/>
                  </a:lnTo>
                  <a:lnTo>
                    <a:pt x="6" y="137"/>
                  </a:lnTo>
                  <a:lnTo>
                    <a:pt x="7" y="133"/>
                  </a:lnTo>
                  <a:lnTo>
                    <a:pt x="6" y="130"/>
                  </a:lnTo>
                  <a:lnTo>
                    <a:pt x="5" y="127"/>
                  </a:lnTo>
                  <a:lnTo>
                    <a:pt x="3" y="124"/>
                  </a:lnTo>
                  <a:lnTo>
                    <a:pt x="3" y="121"/>
                  </a:lnTo>
                  <a:lnTo>
                    <a:pt x="1" y="116"/>
                  </a:lnTo>
                  <a:lnTo>
                    <a:pt x="0" y="111"/>
                  </a:lnTo>
                  <a:lnTo>
                    <a:pt x="4" y="110"/>
                  </a:lnTo>
                  <a:lnTo>
                    <a:pt x="8" y="113"/>
                  </a:lnTo>
                  <a:lnTo>
                    <a:pt x="16" y="112"/>
                  </a:lnTo>
                  <a:lnTo>
                    <a:pt x="20" y="114"/>
                  </a:lnTo>
                  <a:lnTo>
                    <a:pt x="22" y="115"/>
                  </a:lnTo>
                  <a:lnTo>
                    <a:pt x="30" y="112"/>
                  </a:lnTo>
                  <a:lnTo>
                    <a:pt x="29" y="109"/>
                  </a:lnTo>
                  <a:lnTo>
                    <a:pt x="33" y="107"/>
                  </a:lnTo>
                  <a:lnTo>
                    <a:pt x="36" y="110"/>
                  </a:lnTo>
                  <a:lnTo>
                    <a:pt x="40" y="110"/>
                  </a:lnTo>
                  <a:lnTo>
                    <a:pt x="44" y="108"/>
                  </a:lnTo>
                  <a:lnTo>
                    <a:pt x="47" y="108"/>
                  </a:lnTo>
                  <a:lnTo>
                    <a:pt x="50" y="109"/>
                  </a:lnTo>
                  <a:lnTo>
                    <a:pt x="53" y="109"/>
                  </a:lnTo>
                  <a:lnTo>
                    <a:pt x="56" y="109"/>
                  </a:lnTo>
                  <a:lnTo>
                    <a:pt x="58" y="107"/>
                  </a:lnTo>
                  <a:lnTo>
                    <a:pt x="63" y="104"/>
                  </a:lnTo>
                  <a:lnTo>
                    <a:pt x="64" y="101"/>
                  </a:lnTo>
                  <a:lnTo>
                    <a:pt x="65" y="97"/>
                  </a:lnTo>
                  <a:lnTo>
                    <a:pt x="67" y="95"/>
                  </a:lnTo>
                  <a:lnTo>
                    <a:pt x="68" y="92"/>
                  </a:lnTo>
                  <a:lnTo>
                    <a:pt x="70" y="91"/>
                  </a:lnTo>
                  <a:lnTo>
                    <a:pt x="70" y="94"/>
                  </a:lnTo>
                  <a:lnTo>
                    <a:pt x="72" y="97"/>
                  </a:lnTo>
                  <a:lnTo>
                    <a:pt x="75" y="99"/>
                  </a:lnTo>
                  <a:lnTo>
                    <a:pt x="76" y="102"/>
                  </a:lnTo>
                  <a:lnTo>
                    <a:pt x="83" y="106"/>
                  </a:lnTo>
                  <a:lnTo>
                    <a:pt x="85" y="108"/>
                  </a:lnTo>
                  <a:lnTo>
                    <a:pt x="87" y="109"/>
                  </a:lnTo>
                  <a:lnTo>
                    <a:pt x="90" y="107"/>
                  </a:lnTo>
                  <a:lnTo>
                    <a:pt x="91" y="103"/>
                  </a:lnTo>
                  <a:lnTo>
                    <a:pt x="94" y="104"/>
                  </a:lnTo>
                  <a:lnTo>
                    <a:pt x="97" y="105"/>
                  </a:lnTo>
                  <a:lnTo>
                    <a:pt x="101" y="106"/>
                  </a:lnTo>
                  <a:lnTo>
                    <a:pt x="107" y="110"/>
                  </a:lnTo>
                  <a:lnTo>
                    <a:pt x="110" y="110"/>
                  </a:lnTo>
                  <a:lnTo>
                    <a:pt x="116" y="107"/>
                  </a:lnTo>
                  <a:lnTo>
                    <a:pt x="119" y="107"/>
                  </a:lnTo>
                  <a:lnTo>
                    <a:pt x="121" y="104"/>
                  </a:lnTo>
                  <a:lnTo>
                    <a:pt x="118" y="102"/>
                  </a:lnTo>
                  <a:lnTo>
                    <a:pt x="116" y="99"/>
                  </a:lnTo>
                  <a:lnTo>
                    <a:pt x="115" y="95"/>
                  </a:lnTo>
                  <a:lnTo>
                    <a:pt x="116" y="92"/>
                  </a:lnTo>
                  <a:lnTo>
                    <a:pt x="119" y="90"/>
                  </a:lnTo>
                  <a:lnTo>
                    <a:pt x="119" y="87"/>
                  </a:lnTo>
                  <a:lnTo>
                    <a:pt x="117" y="86"/>
                  </a:lnTo>
                  <a:lnTo>
                    <a:pt x="114" y="86"/>
                  </a:lnTo>
                  <a:lnTo>
                    <a:pt x="113" y="82"/>
                  </a:lnTo>
                  <a:lnTo>
                    <a:pt x="116" y="79"/>
                  </a:lnTo>
                  <a:lnTo>
                    <a:pt x="123" y="76"/>
                  </a:lnTo>
                  <a:lnTo>
                    <a:pt x="124" y="73"/>
                  </a:lnTo>
                  <a:lnTo>
                    <a:pt x="127" y="73"/>
                  </a:lnTo>
                  <a:lnTo>
                    <a:pt x="129" y="71"/>
                  </a:lnTo>
                  <a:lnTo>
                    <a:pt x="133" y="71"/>
                  </a:lnTo>
                  <a:lnTo>
                    <a:pt x="137" y="71"/>
                  </a:lnTo>
                  <a:lnTo>
                    <a:pt x="139" y="70"/>
                  </a:lnTo>
                  <a:lnTo>
                    <a:pt x="139" y="66"/>
                  </a:lnTo>
                  <a:lnTo>
                    <a:pt x="139" y="62"/>
                  </a:lnTo>
                  <a:lnTo>
                    <a:pt x="139" y="60"/>
                  </a:lnTo>
                  <a:lnTo>
                    <a:pt x="139" y="55"/>
                  </a:lnTo>
                  <a:lnTo>
                    <a:pt x="140" y="52"/>
                  </a:lnTo>
                  <a:lnTo>
                    <a:pt x="138" y="49"/>
                  </a:lnTo>
                  <a:lnTo>
                    <a:pt x="135" y="48"/>
                  </a:lnTo>
                  <a:lnTo>
                    <a:pt x="132" y="44"/>
                  </a:lnTo>
                  <a:lnTo>
                    <a:pt x="132" y="39"/>
                  </a:lnTo>
                  <a:lnTo>
                    <a:pt x="135" y="35"/>
                  </a:lnTo>
                  <a:lnTo>
                    <a:pt x="142" y="35"/>
                  </a:lnTo>
                  <a:lnTo>
                    <a:pt x="144" y="31"/>
                  </a:lnTo>
                  <a:lnTo>
                    <a:pt x="147" y="30"/>
                  </a:lnTo>
                  <a:lnTo>
                    <a:pt x="150" y="29"/>
                  </a:lnTo>
                  <a:lnTo>
                    <a:pt x="154" y="27"/>
                  </a:lnTo>
                  <a:lnTo>
                    <a:pt x="157" y="26"/>
                  </a:lnTo>
                  <a:lnTo>
                    <a:pt x="160" y="24"/>
                  </a:lnTo>
                  <a:lnTo>
                    <a:pt x="161" y="21"/>
                  </a:lnTo>
                  <a:lnTo>
                    <a:pt x="161" y="18"/>
                  </a:lnTo>
                  <a:lnTo>
                    <a:pt x="163" y="18"/>
                  </a:lnTo>
                  <a:lnTo>
                    <a:pt x="165" y="16"/>
                  </a:lnTo>
                  <a:lnTo>
                    <a:pt x="168" y="17"/>
                  </a:lnTo>
                  <a:lnTo>
                    <a:pt x="171" y="18"/>
                  </a:lnTo>
                  <a:lnTo>
                    <a:pt x="173" y="17"/>
                  </a:lnTo>
                  <a:lnTo>
                    <a:pt x="173" y="13"/>
                  </a:lnTo>
                  <a:lnTo>
                    <a:pt x="172" y="10"/>
                  </a:lnTo>
                  <a:lnTo>
                    <a:pt x="171" y="7"/>
                  </a:lnTo>
                  <a:lnTo>
                    <a:pt x="173" y="3"/>
                  </a:lnTo>
                  <a:lnTo>
                    <a:pt x="175" y="1"/>
                  </a:lnTo>
                  <a:lnTo>
                    <a:pt x="178" y="0"/>
                  </a:lnTo>
                  <a:lnTo>
                    <a:pt x="179" y="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54" name="CZ">
              <a:extLst>
                <a:ext uri="{FF2B5EF4-FFF2-40B4-BE49-F238E27FC236}">
                  <a16:creationId xmlns:a16="http://schemas.microsoft.com/office/drawing/2014/main" id="{20C66C82-020C-E654-3BF1-074F65C21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197" y="4332263"/>
              <a:ext cx="777614" cy="412862"/>
            </a:xfrm>
            <a:custGeom>
              <a:avLst/>
              <a:gdLst>
                <a:gd name="T0" fmla="*/ 186 w 411"/>
                <a:gd name="T1" fmla="*/ 11 h 232"/>
                <a:gd name="T2" fmla="*/ 209 w 411"/>
                <a:gd name="T3" fmla="*/ 22 h 232"/>
                <a:gd name="T4" fmla="*/ 230 w 411"/>
                <a:gd name="T5" fmla="*/ 35 h 232"/>
                <a:gd name="T6" fmla="*/ 251 w 411"/>
                <a:gd name="T7" fmla="*/ 29 h 232"/>
                <a:gd name="T8" fmla="*/ 246 w 411"/>
                <a:gd name="T9" fmla="*/ 47 h 232"/>
                <a:gd name="T10" fmla="*/ 256 w 411"/>
                <a:gd name="T11" fmla="*/ 59 h 232"/>
                <a:gd name="T12" fmla="*/ 272 w 411"/>
                <a:gd name="T13" fmla="*/ 77 h 232"/>
                <a:gd name="T14" fmla="*/ 287 w 411"/>
                <a:gd name="T15" fmla="*/ 68 h 232"/>
                <a:gd name="T16" fmla="*/ 290 w 411"/>
                <a:gd name="T17" fmla="*/ 57 h 232"/>
                <a:gd name="T18" fmla="*/ 298 w 411"/>
                <a:gd name="T19" fmla="*/ 48 h 232"/>
                <a:gd name="T20" fmla="*/ 314 w 411"/>
                <a:gd name="T21" fmla="*/ 57 h 232"/>
                <a:gd name="T22" fmla="*/ 332 w 411"/>
                <a:gd name="T23" fmla="*/ 56 h 232"/>
                <a:gd name="T24" fmla="*/ 330 w 411"/>
                <a:gd name="T25" fmla="*/ 66 h 232"/>
                <a:gd name="T26" fmla="*/ 346 w 411"/>
                <a:gd name="T27" fmla="*/ 82 h 232"/>
                <a:gd name="T28" fmla="*/ 361 w 411"/>
                <a:gd name="T29" fmla="*/ 79 h 232"/>
                <a:gd name="T30" fmla="*/ 378 w 411"/>
                <a:gd name="T31" fmla="*/ 84 h 232"/>
                <a:gd name="T32" fmla="*/ 395 w 411"/>
                <a:gd name="T33" fmla="*/ 99 h 232"/>
                <a:gd name="T34" fmla="*/ 409 w 411"/>
                <a:gd name="T35" fmla="*/ 112 h 232"/>
                <a:gd name="T36" fmla="*/ 399 w 411"/>
                <a:gd name="T37" fmla="*/ 121 h 232"/>
                <a:gd name="T38" fmla="*/ 386 w 411"/>
                <a:gd name="T39" fmla="*/ 137 h 232"/>
                <a:gd name="T40" fmla="*/ 371 w 411"/>
                <a:gd name="T41" fmla="*/ 163 h 232"/>
                <a:gd name="T42" fmla="*/ 358 w 411"/>
                <a:gd name="T43" fmla="*/ 180 h 232"/>
                <a:gd name="T44" fmla="*/ 329 w 411"/>
                <a:gd name="T45" fmla="*/ 193 h 232"/>
                <a:gd name="T46" fmla="*/ 308 w 411"/>
                <a:gd name="T47" fmla="*/ 201 h 232"/>
                <a:gd name="T48" fmla="*/ 293 w 411"/>
                <a:gd name="T49" fmla="*/ 206 h 232"/>
                <a:gd name="T50" fmla="*/ 275 w 411"/>
                <a:gd name="T51" fmla="*/ 200 h 232"/>
                <a:gd name="T52" fmla="*/ 248 w 411"/>
                <a:gd name="T53" fmla="*/ 206 h 232"/>
                <a:gd name="T54" fmla="*/ 227 w 411"/>
                <a:gd name="T55" fmla="*/ 198 h 232"/>
                <a:gd name="T56" fmla="*/ 204 w 411"/>
                <a:gd name="T57" fmla="*/ 189 h 232"/>
                <a:gd name="T58" fmla="*/ 183 w 411"/>
                <a:gd name="T59" fmla="*/ 187 h 232"/>
                <a:gd name="T60" fmla="*/ 176 w 411"/>
                <a:gd name="T61" fmla="*/ 209 h 232"/>
                <a:gd name="T62" fmla="*/ 164 w 411"/>
                <a:gd name="T63" fmla="*/ 229 h 232"/>
                <a:gd name="T64" fmla="*/ 149 w 411"/>
                <a:gd name="T65" fmla="*/ 228 h 232"/>
                <a:gd name="T66" fmla="*/ 123 w 411"/>
                <a:gd name="T67" fmla="*/ 226 h 232"/>
                <a:gd name="T68" fmla="*/ 106 w 411"/>
                <a:gd name="T69" fmla="*/ 207 h 232"/>
                <a:gd name="T70" fmla="*/ 91 w 411"/>
                <a:gd name="T71" fmla="*/ 196 h 232"/>
                <a:gd name="T72" fmla="*/ 76 w 411"/>
                <a:gd name="T73" fmla="*/ 185 h 232"/>
                <a:gd name="T74" fmla="*/ 55 w 411"/>
                <a:gd name="T75" fmla="*/ 165 h 232"/>
                <a:gd name="T76" fmla="*/ 35 w 411"/>
                <a:gd name="T77" fmla="*/ 153 h 232"/>
                <a:gd name="T78" fmla="*/ 28 w 411"/>
                <a:gd name="T79" fmla="*/ 136 h 232"/>
                <a:gd name="T80" fmla="*/ 27 w 411"/>
                <a:gd name="T81" fmla="*/ 115 h 232"/>
                <a:gd name="T82" fmla="*/ 9 w 411"/>
                <a:gd name="T83" fmla="*/ 96 h 232"/>
                <a:gd name="T84" fmla="*/ 1 w 411"/>
                <a:gd name="T85" fmla="*/ 79 h 232"/>
                <a:gd name="T86" fmla="*/ 11 w 411"/>
                <a:gd name="T87" fmla="*/ 88 h 232"/>
                <a:gd name="T88" fmla="*/ 21 w 411"/>
                <a:gd name="T89" fmla="*/ 72 h 232"/>
                <a:gd name="T90" fmla="*/ 38 w 411"/>
                <a:gd name="T91" fmla="*/ 63 h 232"/>
                <a:gd name="T92" fmla="*/ 55 w 411"/>
                <a:gd name="T93" fmla="*/ 56 h 232"/>
                <a:gd name="T94" fmla="*/ 72 w 411"/>
                <a:gd name="T95" fmla="*/ 47 h 232"/>
                <a:gd name="T96" fmla="*/ 83 w 411"/>
                <a:gd name="T97" fmla="*/ 36 h 232"/>
                <a:gd name="T98" fmla="*/ 104 w 411"/>
                <a:gd name="T99" fmla="*/ 31 h 232"/>
                <a:gd name="T100" fmla="*/ 132 w 411"/>
                <a:gd name="T101" fmla="*/ 16 h 232"/>
                <a:gd name="T102" fmla="*/ 129 w 411"/>
                <a:gd name="T103" fmla="*/ 0 h 232"/>
                <a:gd name="T104" fmla="*/ 145 w 411"/>
                <a:gd name="T105" fmla="*/ 6 h 232"/>
                <a:gd name="T106" fmla="*/ 155 w 411"/>
                <a:gd name="T107" fmla="*/ 21 h 232"/>
                <a:gd name="T108" fmla="*/ 167 w 411"/>
                <a:gd name="T109" fmla="*/ 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11" h="232">
                  <a:moveTo>
                    <a:pt x="178" y="0"/>
                  </a:moveTo>
                  <a:lnTo>
                    <a:pt x="180" y="3"/>
                  </a:lnTo>
                  <a:lnTo>
                    <a:pt x="183" y="3"/>
                  </a:lnTo>
                  <a:lnTo>
                    <a:pt x="186" y="5"/>
                  </a:lnTo>
                  <a:lnTo>
                    <a:pt x="185" y="9"/>
                  </a:lnTo>
                  <a:lnTo>
                    <a:pt x="186" y="11"/>
                  </a:lnTo>
                  <a:lnTo>
                    <a:pt x="189" y="16"/>
                  </a:lnTo>
                  <a:lnTo>
                    <a:pt x="192" y="18"/>
                  </a:lnTo>
                  <a:lnTo>
                    <a:pt x="192" y="22"/>
                  </a:lnTo>
                  <a:lnTo>
                    <a:pt x="195" y="20"/>
                  </a:lnTo>
                  <a:lnTo>
                    <a:pt x="197" y="19"/>
                  </a:lnTo>
                  <a:lnTo>
                    <a:pt x="209" y="22"/>
                  </a:lnTo>
                  <a:lnTo>
                    <a:pt x="212" y="24"/>
                  </a:lnTo>
                  <a:lnTo>
                    <a:pt x="216" y="23"/>
                  </a:lnTo>
                  <a:lnTo>
                    <a:pt x="222" y="29"/>
                  </a:lnTo>
                  <a:lnTo>
                    <a:pt x="227" y="27"/>
                  </a:lnTo>
                  <a:lnTo>
                    <a:pt x="230" y="29"/>
                  </a:lnTo>
                  <a:lnTo>
                    <a:pt x="230" y="35"/>
                  </a:lnTo>
                  <a:lnTo>
                    <a:pt x="232" y="34"/>
                  </a:lnTo>
                  <a:lnTo>
                    <a:pt x="236" y="30"/>
                  </a:lnTo>
                  <a:lnTo>
                    <a:pt x="238" y="30"/>
                  </a:lnTo>
                  <a:lnTo>
                    <a:pt x="243" y="32"/>
                  </a:lnTo>
                  <a:lnTo>
                    <a:pt x="247" y="28"/>
                  </a:lnTo>
                  <a:lnTo>
                    <a:pt x="251" y="29"/>
                  </a:lnTo>
                  <a:lnTo>
                    <a:pt x="256" y="34"/>
                  </a:lnTo>
                  <a:lnTo>
                    <a:pt x="256" y="37"/>
                  </a:lnTo>
                  <a:lnTo>
                    <a:pt x="255" y="40"/>
                  </a:lnTo>
                  <a:lnTo>
                    <a:pt x="253" y="43"/>
                  </a:lnTo>
                  <a:lnTo>
                    <a:pt x="251" y="43"/>
                  </a:lnTo>
                  <a:lnTo>
                    <a:pt x="246" y="47"/>
                  </a:lnTo>
                  <a:lnTo>
                    <a:pt x="244" y="50"/>
                  </a:lnTo>
                  <a:lnTo>
                    <a:pt x="247" y="52"/>
                  </a:lnTo>
                  <a:lnTo>
                    <a:pt x="248" y="55"/>
                  </a:lnTo>
                  <a:lnTo>
                    <a:pt x="251" y="54"/>
                  </a:lnTo>
                  <a:lnTo>
                    <a:pt x="254" y="56"/>
                  </a:lnTo>
                  <a:lnTo>
                    <a:pt x="256" y="59"/>
                  </a:lnTo>
                  <a:lnTo>
                    <a:pt x="259" y="60"/>
                  </a:lnTo>
                  <a:lnTo>
                    <a:pt x="261" y="62"/>
                  </a:lnTo>
                  <a:lnTo>
                    <a:pt x="263" y="64"/>
                  </a:lnTo>
                  <a:lnTo>
                    <a:pt x="266" y="68"/>
                  </a:lnTo>
                  <a:lnTo>
                    <a:pt x="268" y="73"/>
                  </a:lnTo>
                  <a:lnTo>
                    <a:pt x="272" y="77"/>
                  </a:lnTo>
                  <a:lnTo>
                    <a:pt x="275" y="78"/>
                  </a:lnTo>
                  <a:lnTo>
                    <a:pt x="277" y="78"/>
                  </a:lnTo>
                  <a:lnTo>
                    <a:pt x="281" y="73"/>
                  </a:lnTo>
                  <a:lnTo>
                    <a:pt x="282" y="70"/>
                  </a:lnTo>
                  <a:lnTo>
                    <a:pt x="284" y="68"/>
                  </a:lnTo>
                  <a:lnTo>
                    <a:pt x="287" y="68"/>
                  </a:lnTo>
                  <a:lnTo>
                    <a:pt x="289" y="65"/>
                  </a:lnTo>
                  <a:lnTo>
                    <a:pt x="291" y="65"/>
                  </a:lnTo>
                  <a:lnTo>
                    <a:pt x="293" y="65"/>
                  </a:lnTo>
                  <a:lnTo>
                    <a:pt x="293" y="63"/>
                  </a:lnTo>
                  <a:lnTo>
                    <a:pt x="292" y="59"/>
                  </a:lnTo>
                  <a:lnTo>
                    <a:pt x="290" y="57"/>
                  </a:lnTo>
                  <a:lnTo>
                    <a:pt x="288" y="54"/>
                  </a:lnTo>
                  <a:lnTo>
                    <a:pt x="286" y="51"/>
                  </a:lnTo>
                  <a:lnTo>
                    <a:pt x="284" y="47"/>
                  </a:lnTo>
                  <a:lnTo>
                    <a:pt x="287" y="46"/>
                  </a:lnTo>
                  <a:lnTo>
                    <a:pt x="291" y="47"/>
                  </a:lnTo>
                  <a:lnTo>
                    <a:pt x="298" y="48"/>
                  </a:lnTo>
                  <a:lnTo>
                    <a:pt x="301" y="49"/>
                  </a:lnTo>
                  <a:lnTo>
                    <a:pt x="303" y="50"/>
                  </a:lnTo>
                  <a:lnTo>
                    <a:pt x="305" y="53"/>
                  </a:lnTo>
                  <a:lnTo>
                    <a:pt x="309" y="54"/>
                  </a:lnTo>
                  <a:lnTo>
                    <a:pt x="311" y="54"/>
                  </a:lnTo>
                  <a:lnTo>
                    <a:pt x="314" y="57"/>
                  </a:lnTo>
                  <a:lnTo>
                    <a:pt x="315" y="60"/>
                  </a:lnTo>
                  <a:lnTo>
                    <a:pt x="318" y="58"/>
                  </a:lnTo>
                  <a:lnTo>
                    <a:pt x="322" y="58"/>
                  </a:lnTo>
                  <a:lnTo>
                    <a:pt x="325" y="57"/>
                  </a:lnTo>
                  <a:lnTo>
                    <a:pt x="330" y="58"/>
                  </a:lnTo>
                  <a:lnTo>
                    <a:pt x="332" y="56"/>
                  </a:lnTo>
                  <a:lnTo>
                    <a:pt x="334" y="53"/>
                  </a:lnTo>
                  <a:lnTo>
                    <a:pt x="337" y="54"/>
                  </a:lnTo>
                  <a:lnTo>
                    <a:pt x="337" y="59"/>
                  </a:lnTo>
                  <a:lnTo>
                    <a:pt x="337" y="63"/>
                  </a:lnTo>
                  <a:lnTo>
                    <a:pt x="335" y="65"/>
                  </a:lnTo>
                  <a:lnTo>
                    <a:pt x="330" y="66"/>
                  </a:lnTo>
                  <a:lnTo>
                    <a:pt x="333" y="71"/>
                  </a:lnTo>
                  <a:lnTo>
                    <a:pt x="335" y="71"/>
                  </a:lnTo>
                  <a:lnTo>
                    <a:pt x="338" y="72"/>
                  </a:lnTo>
                  <a:lnTo>
                    <a:pt x="340" y="75"/>
                  </a:lnTo>
                  <a:lnTo>
                    <a:pt x="342" y="79"/>
                  </a:lnTo>
                  <a:lnTo>
                    <a:pt x="346" y="82"/>
                  </a:lnTo>
                  <a:lnTo>
                    <a:pt x="348" y="82"/>
                  </a:lnTo>
                  <a:lnTo>
                    <a:pt x="353" y="79"/>
                  </a:lnTo>
                  <a:lnTo>
                    <a:pt x="356" y="79"/>
                  </a:lnTo>
                  <a:lnTo>
                    <a:pt x="357" y="75"/>
                  </a:lnTo>
                  <a:lnTo>
                    <a:pt x="361" y="77"/>
                  </a:lnTo>
                  <a:lnTo>
                    <a:pt x="361" y="79"/>
                  </a:lnTo>
                  <a:lnTo>
                    <a:pt x="365" y="79"/>
                  </a:lnTo>
                  <a:lnTo>
                    <a:pt x="368" y="81"/>
                  </a:lnTo>
                  <a:lnTo>
                    <a:pt x="371" y="82"/>
                  </a:lnTo>
                  <a:lnTo>
                    <a:pt x="374" y="86"/>
                  </a:lnTo>
                  <a:lnTo>
                    <a:pt x="376" y="84"/>
                  </a:lnTo>
                  <a:lnTo>
                    <a:pt x="378" y="84"/>
                  </a:lnTo>
                  <a:lnTo>
                    <a:pt x="380" y="84"/>
                  </a:lnTo>
                  <a:lnTo>
                    <a:pt x="389" y="84"/>
                  </a:lnTo>
                  <a:lnTo>
                    <a:pt x="391" y="86"/>
                  </a:lnTo>
                  <a:lnTo>
                    <a:pt x="393" y="89"/>
                  </a:lnTo>
                  <a:lnTo>
                    <a:pt x="392" y="94"/>
                  </a:lnTo>
                  <a:lnTo>
                    <a:pt x="395" y="99"/>
                  </a:lnTo>
                  <a:lnTo>
                    <a:pt x="396" y="102"/>
                  </a:lnTo>
                  <a:lnTo>
                    <a:pt x="399" y="103"/>
                  </a:lnTo>
                  <a:lnTo>
                    <a:pt x="403" y="103"/>
                  </a:lnTo>
                  <a:lnTo>
                    <a:pt x="407" y="105"/>
                  </a:lnTo>
                  <a:lnTo>
                    <a:pt x="408" y="108"/>
                  </a:lnTo>
                  <a:lnTo>
                    <a:pt x="409" y="112"/>
                  </a:lnTo>
                  <a:lnTo>
                    <a:pt x="411" y="115"/>
                  </a:lnTo>
                  <a:lnTo>
                    <a:pt x="411" y="119"/>
                  </a:lnTo>
                  <a:lnTo>
                    <a:pt x="408" y="119"/>
                  </a:lnTo>
                  <a:lnTo>
                    <a:pt x="405" y="122"/>
                  </a:lnTo>
                  <a:lnTo>
                    <a:pt x="402" y="122"/>
                  </a:lnTo>
                  <a:lnTo>
                    <a:pt x="399" y="121"/>
                  </a:lnTo>
                  <a:lnTo>
                    <a:pt x="393" y="124"/>
                  </a:lnTo>
                  <a:lnTo>
                    <a:pt x="393" y="127"/>
                  </a:lnTo>
                  <a:lnTo>
                    <a:pt x="391" y="129"/>
                  </a:lnTo>
                  <a:lnTo>
                    <a:pt x="389" y="132"/>
                  </a:lnTo>
                  <a:lnTo>
                    <a:pt x="386" y="133"/>
                  </a:lnTo>
                  <a:lnTo>
                    <a:pt x="386" y="137"/>
                  </a:lnTo>
                  <a:lnTo>
                    <a:pt x="382" y="141"/>
                  </a:lnTo>
                  <a:lnTo>
                    <a:pt x="374" y="145"/>
                  </a:lnTo>
                  <a:lnTo>
                    <a:pt x="371" y="149"/>
                  </a:lnTo>
                  <a:lnTo>
                    <a:pt x="370" y="153"/>
                  </a:lnTo>
                  <a:lnTo>
                    <a:pt x="370" y="156"/>
                  </a:lnTo>
                  <a:lnTo>
                    <a:pt x="371" y="163"/>
                  </a:lnTo>
                  <a:lnTo>
                    <a:pt x="369" y="167"/>
                  </a:lnTo>
                  <a:lnTo>
                    <a:pt x="366" y="170"/>
                  </a:lnTo>
                  <a:lnTo>
                    <a:pt x="363" y="171"/>
                  </a:lnTo>
                  <a:lnTo>
                    <a:pt x="360" y="172"/>
                  </a:lnTo>
                  <a:lnTo>
                    <a:pt x="359" y="175"/>
                  </a:lnTo>
                  <a:lnTo>
                    <a:pt x="358" y="180"/>
                  </a:lnTo>
                  <a:lnTo>
                    <a:pt x="353" y="182"/>
                  </a:lnTo>
                  <a:lnTo>
                    <a:pt x="350" y="187"/>
                  </a:lnTo>
                  <a:lnTo>
                    <a:pt x="339" y="192"/>
                  </a:lnTo>
                  <a:lnTo>
                    <a:pt x="335" y="190"/>
                  </a:lnTo>
                  <a:lnTo>
                    <a:pt x="332" y="191"/>
                  </a:lnTo>
                  <a:lnTo>
                    <a:pt x="329" y="193"/>
                  </a:lnTo>
                  <a:lnTo>
                    <a:pt x="322" y="190"/>
                  </a:lnTo>
                  <a:lnTo>
                    <a:pt x="319" y="189"/>
                  </a:lnTo>
                  <a:lnTo>
                    <a:pt x="316" y="190"/>
                  </a:lnTo>
                  <a:lnTo>
                    <a:pt x="312" y="193"/>
                  </a:lnTo>
                  <a:lnTo>
                    <a:pt x="312" y="196"/>
                  </a:lnTo>
                  <a:lnTo>
                    <a:pt x="308" y="201"/>
                  </a:lnTo>
                  <a:lnTo>
                    <a:pt x="306" y="211"/>
                  </a:lnTo>
                  <a:lnTo>
                    <a:pt x="304" y="215"/>
                  </a:lnTo>
                  <a:lnTo>
                    <a:pt x="300" y="207"/>
                  </a:lnTo>
                  <a:lnTo>
                    <a:pt x="298" y="205"/>
                  </a:lnTo>
                  <a:lnTo>
                    <a:pt x="296" y="206"/>
                  </a:lnTo>
                  <a:lnTo>
                    <a:pt x="293" y="206"/>
                  </a:lnTo>
                  <a:lnTo>
                    <a:pt x="291" y="205"/>
                  </a:lnTo>
                  <a:lnTo>
                    <a:pt x="288" y="205"/>
                  </a:lnTo>
                  <a:lnTo>
                    <a:pt x="285" y="203"/>
                  </a:lnTo>
                  <a:lnTo>
                    <a:pt x="283" y="200"/>
                  </a:lnTo>
                  <a:lnTo>
                    <a:pt x="278" y="200"/>
                  </a:lnTo>
                  <a:lnTo>
                    <a:pt x="275" y="200"/>
                  </a:lnTo>
                  <a:lnTo>
                    <a:pt x="273" y="200"/>
                  </a:lnTo>
                  <a:lnTo>
                    <a:pt x="269" y="206"/>
                  </a:lnTo>
                  <a:lnTo>
                    <a:pt x="266" y="206"/>
                  </a:lnTo>
                  <a:lnTo>
                    <a:pt x="256" y="206"/>
                  </a:lnTo>
                  <a:lnTo>
                    <a:pt x="251" y="207"/>
                  </a:lnTo>
                  <a:lnTo>
                    <a:pt x="248" y="206"/>
                  </a:lnTo>
                  <a:lnTo>
                    <a:pt x="241" y="202"/>
                  </a:lnTo>
                  <a:lnTo>
                    <a:pt x="238" y="199"/>
                  </a:lnTo>
                  <a:lnTo>
                    <a:pt x="235" y="198"/>
                  </a:lnTo>
                  <a:lnTo>
                    <a:pt x="233" y="196"/>
                  </a:lnTo>
                  <a:lnTo>
                    <a:pt x="230" y="197"/>
                  </a:lnTo>
                  <a:lnTo>
                    <a:pt x="227" y="198"/>
                  </a:lnTo>
                  <a:lnTo>
                    <a:pt x="225" y="198"/>
                  </a:lnTo>
                  <a:lnTo>
                    <a:pt x="220" y="196"/>
                  </a:lnTo>
                  <a:lnTo>
                    <a:pt x="215" y="194"/>
                  </a:lnTo>
                  <a:lnTo>
                    <a:pt x="211" y="192"/>
                  </a:lnTo>
                  <a:lnTo>
                    <a:pt x="207" y="191"/>
                  </a:lnTo>
                  <a:lnTo>
                    <a:pt x="204" y="189"/>
                  </a:lnTo>
                  <a:lnTo>
                    <a:pt x="200" y="189"/>
                  </a:lnTo>
                  <a:lnTo>
                    <a:pt x="197" y="192"/>
                  </a:lnTo>
                  <a:lnTo>
                    <a:pt x="193" y="193"/>
                  </a:lnTo>
                  <a:lnTo>
                    <a:pt x="192" y="191"/>
                  </a:lnTo>
                  <a:lnTo>
                    <a:pt x="186" y="188"/>
                  </a:lnTo>
                  <a:lnTo>
                    <a:pt x="183" y="187"/>
                  </a:lnTo>
                  <a:lnTo>
                    <a:pt x="180" y="191"/>
                  </a:lnTo>
                  <a:lnTo>
                    <a:pt x="181" y="194"/>
                  </a:lnTo>
                  <a:lnTo>
                    <a:pt x="181" y="196"/>
                  </a:lnTo>
                  <a:lnTo>
                    <a:pt x="180" y="205"/>
                  </a:lnTo>
                  <a:lnTo>
                    <a:pt x="180" y="208"/>
                  </a:lnTo>
                  <a:lnTo>
                    <a:pt x="176" y="209"/>
                  </a:lnTo>
                  <a:lnTo>
                    <a:pt x="173" y="209"/>
                  </a:lnTo>
                  <a:lnTo>
                    <a:pt x="171" y="213"/>
                  </a:lnTo>
                  <a:lnTo>
                    <a:pt x="166" y="217"/>
                  </a:lnTo>
                  <a:lnTo>
                    <a:pt x="165" y="223"/>
                  </a:lnTo>
                  <a:lnTo>
                    <a:pt x="166" y="226"/>
                  </a:lnTo>
                  <a:lnTo>
                    <a:pt x="164" y="229"/>
                  </a:lnTo>
                  <a:lnTo>
                    <a:pt x="162" y="227"/>
                  </a:lnTo>
                  <a:lnTo>
                    <a:pt x="159" y="226"/>
                  </a:lnTo>
                  <a:lnTo>
                    <a:pt x="156" y="227"/>
                  </a:lnTo>
                  <a:lnTo>
                    <a:pt x="152" y="226"/>
                  </a:lnTo>
                  <a:lnTo>
                    <a:pt x="150" y="225"/>
                  </a:lnTo>
                  <a:lnTo>
                    <a:pt x="149" y="228"/>
                  </a:lnTo>
                  <a:lnTo>
                    <a:pt x="145" y="231"/>
                  </a:lnTo>
                  <a:lnTo>
                    <a:pt x="142" y="232"/>
                  </a:lnTo>
                  <a:lnTo>
                    <a:pt x="136" y="231"/>
                  </a:lnTo>
                  <a:lnTo>
                    <a:pt x="128" y="230"/>
                  </a:lnTo>
                  <a:lnTo>
                    <a:pt x="125" y="229"/>
                  </a:lnTo>
                  <a:lnTo>
                    <a:pt x="123" y="226"/>
                  </a:lnTo>
                  <a:lnTo>
                    <a:pt x="124" y="223"/>
                  </a:lnTo>
                  <a:lnTo>
                    <a:pt x="122" y="221"/>
                  </a:lnTo>
                  <a:lnTo>
                    <a:pt x="117" y="217"/>
                  </a:lnTo>
                  <a:lnTo>
                    <a:pt x="115" y="215"/>
                  </a:lnTo>
                  <a:lnTo>
                    <a:pt x="111" y="214"/>
                  </a:lnTo>
                  <a:lnTo>
                    <a:pt x="106" y="207"/>
                  </a:lnTo>
                  <a:lnTo>
                    <a:pt x="104" y="205"/>
                  </a:lnTo>
                  <a:lnTo>
                    <a:pt x="102" y="204"/>
                  </a:lnTo>
                  <a:lnTo>
                    <a:pt x="100" y="203"/>
                  </a:lnTo>
                  <a:lnTo>
                    <a:pt x="98" y="200"/>
                  </a:lnTo>
                  <a:lnTo>
                    <a:pt x="94" y="198"/>
                  </a:lnTo>
                  <a:lnTo>
                    <a:pt x="91" y="196"/>
                  </a:lnTo>
                  <a:lnTo>
                    <a:pt x="89" y="199"/>
                  </a:lnTo>
                  <a:lnTo>
                    <a:pt x="86" y="197"/>
                  </a:lnTo>
                  <a:lnTo>
                    <a:pt x="83" y="194"/>
                  </a:lnTo>
                  <a:lnTo>
                    <a:pt x="82" y="190"/>
                  </a:lnTo>
                  <a:lnTo>
                    <a:pt x="79" y="188"/>
                  </a:lnTo>
                  <a:lnTo>
                    <a:pt x="76" y="185"/>
                  </a:lnTo>
                  <a:lnTo>
                    <a:pt x="72" y="184"/>
                  </a:lnTo>
                  <a:lnTo>
                    <a:pt x="69" y="182"/>
                  </a:lnTo>
                  <a:lnTo>
                    <a:pt x="62" y="173"/>
                  </a:lnTo>
                  <a:lnTo>
                    <a:pt x="59" y="170"/>
                  </a:lnTo>
                  <a:lnTo>
                    <a:pt x="57" y="167"/>
                  </a:lnTo>
                  <a:lnTo>
                    <a:pt x="55" y="165"/>
                  </a:lnTo>
                  <a:lnTo>
                    <a:pt x="51" y="164"/>
                  </a:lnTo>
                  <a:lnTo>
                    <a:pt x="46" y="165"/>
                  </a:lnTo>
                  <a:lnTo>
                    <a:pt x="44" y="164"/>
                  </a:lnTo>
                  <a:lnTo>
                    <a:pt x="42" y="160"/>
                  </a:lnTo>
                  <a:lnTo>
                    <a:pt x="38" y="157"/>
                  </a:lnTo>
                  <a:lnTo>
                    <a:pt x="35" y="153"/>
                  </a:lnTo>
                  <a:lnTo>
                    <a:pt x="35" y="149"/>
                  </a:lnTo>
                  <a:lnTo>
                    <a:pt x="33" y="147"/>
                  </a:lnTo>
                  <a:lnTo>
                    <a:pt x="31" y="144"/>
                  </a:lnTo>
                  <a:lnTo>
                    <a:pt x="31" y="141"/>
                  </a:lnTo>
                  <a:lnTo>
                    <a:pt x="28" y="139"/>
                  </a:lnTo>
                  <a:lnTo>
                    <a:pt x="28" y="136"/>
                  </a:lnTo>
                  <a:lnTo>
                    <a:pt x="26" y="133"/>
                  </a:lnTo>
                  <a:lnTo>
                    <a:pt x="23" y="131"/>
                  </a:lnTo>
                  <a:lnTo>
                    <a:pt x="19" y="128"/>
                  </a:lnTo>
                  <a:lnTo>
                    <a:pt x="23" y="124"/>
                  </a:lnTo>
                  <a:lnTo>
                    <a:pt x="24" y="120"/>
                  </a:lnTo>
                  <a:lnTo>
                    <a:pt x="27" y="115"/>
                  </a:lnTo>
                  <a:lnTo>
                    <a:pt x="28" y="112"/>
                  </a:lnTo>
                  <a:lnTo>
                    <a:pt x="24" y="109"/>
                  </a:lnTo>
                  <a:lnTo>
                    <a:pt x="24" y="106"/>
                  </a:lnTo>
                  <a:lnTo>
                    <a:pt x="20" y="105"/>
                  </a:lnTo>
                  <a:lnTo>
                    <a:pt x="10" y="99"/>
                  </a:lnTo>
                  <a:lnTo>
                    <a:pt x="9" y="96"/>
                  </a:lnTo>
                  <a:lnTo>
                    <a:pt x="6" y="94"/>
                  </a:lnTo>
                  <a:lnTo>
                    <a:pt x="6" y="91"/>
                  </a:lnTo>
                  <a:lnTo>
                    <a:pt x="6" y="88"/>
                  </a:lnTo>
                  <a:lnTo>
                    <a:pt x="3" y="84"/>
                  </a:lnTo>
                  <a:lnTo>
                    <a:pt x="0" y="82"/>
                  </a:lnTo>
                  <a:lnTo>
                    <a:pt x="1" y="79"/>
                  </a:lnTo>
                  <a:lnTo>
                    <a:pt x="1" y="76"/>
                  </a:lnTo>
                  <a:lnTo>
                    <a:pt x="4" y="74"/>
                  </a:lnTo>
                  <a:lnTo>
                    <a:pt x="5" y="77"/>
                  </a:lnTo>
                  <a:lnTo>
                    <a:pt x="9" y="79"/>
                  </a:lnTo>
                  <a:lnTo>
                    <a:pt x="10" y="82"/>
                  </a:lnTo>
                  <a:lnTo>
                    <a:pt x="11" y="88"/>
                  </a:lnTo>
                  <a:lnTo>
                    <a:pt x="14" y="88"/>
                  </a:lnTo>
                  <a:lnTo>
                    <a:pt x="13" y="85"/>
                  </a:lnTo>
                  <a:lnTo>
                    <a:pt x="15" y="80"/>
                  </a:lnTo>
                  <a:lnTo>
                    <a:pt x="16" y="77"/>
                  </a:lnTo>
                  <a:lnTo>
                    <a:pt x="18" y="73"/>
                  </a:lnTo>
                  <a:lnTo>
                    <a:pt x="21" y="72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28" y="65"/>
                  </a:lnTo>
                  <a:lnTo>
                    <a:pt x="32" y="65"/>
                  </a:lnTo>
                  <a:lnTo>
                    <a:pt x="35" y="65"/>
                  </a:lnTo>
                  <a:lnTo>
                    <a:pt x="38" y="63"/>
                  </a:lnTo>
                  <a:lnTo>
                    <a:pt x="41" y="61"/>
                  </a:lnTo>
                  <a:lnTo>
                    <a:pt x="43" y="61"/>
                  </a:lnTo>
                  <a:lnTo>
                    <a:pt x="50" y="64"/>
                  </a:lnTo>
                  <a:lnTo>
                    <a:pt x="53" y="62"/>
                  </a:lnTo>
                  <a:lnTo>
                    <a:pt x="54" y="59"/>
                  </a:lnTo>
                  <a:lnTo>
                    <a:pt x="55" y="56"/>
                  </a:lnTo>
                  <a:lnTo>
                    <a:pt x="57" y="56"/>
                  </a:lnTo>
                  <a:lnTo>
                    <a:pt x="60" y="55"/>
                  </a:lnTo>
                  <a:lnTo>
                    <a:pt x="63" y="55"/>
                  </a:lnTo>
                  <a:lnTo>
                    <a:pt x="66" y="52"/>
                  </a:lnTo>
                  <a:lnTo>
                    <a:pt x="67" y="47"/>
                  </a:lnTo>
                  <a:lnTo>
                    <a:pt x="72" y="47"/>
                  </a:lnTo>
                  <a:lnTo>
                    <a:pt x="75" y="43"/>
                  </a:lnTo>
                  <a:lnTo>
                    <a:pt x="77" y="44"/>
                  </a:lnTo>
                  <a:lnTo>
                    <a:pt x="80" y="45"/>
                  </a:lnTo>
                  <a:lnTo>
                    <a:pt x="82" y="42"/>
                  </a:lnTo>
                  <a:lnTo>
                    <a:pt x="84" y="39"/>
                  </a:lnTo>
                  <a:lnTo>
                    <a:pt x="83" y="36"/>
                  </a:lnTo>
                  <a:lnTo>
                    <a:pt x="86" y="35"/>
                  </a:lnTo>
                  <a:lnTo>
                    <a:pt x="88" y="34"/>
                  </a:lnTo>
                  <a:lnTo>
                    <a:pt x="93" y="34"/>
                  </a:lnTo>
                  <a:lnTo>
                    <a:pt x="98" y="32"/>
                  </a:lnTo>
                  <a:lnTo>
                    <a:pt x="102" y="32"/>
                  </a:lnTo>
                  <a:lnTo>
                    <a:pt x="104" y="31"/>
                  </a:lnTo>
                  <a:lnTo>
                    <a:pt x="105" y="28"/>
                  </a:lnTo>
                  <a:lnTo>
                    <a:pt x="108" y="27"/>
                  </a:lnTo>
                  <a:lnTo>
                    <a:pt x="113" y="24"/>
                  </a:lnTo>
                  <a:lnTo>
                    <a:pt x="123" y="20"/>
                  </a:lnTo>
                  <a:lnTo>
                    <a:pt x="125" y="17"/>
                  </a:lnTo>
                  <a:lnTo>
                    <a:pt x="132" y="16"/>
                  </a:lnTo>
                  <a:lnTo>
                    <a:pt x="134" y="11"/>
                  </a:lnTo>
                  <a:lnTo>
                    <a:pt x="130" y="10"/>
                  </a:lnTo>
                  <a:lnTo>
                    <a:pt x="129" y="7"/>
                  </a:lnTo>
                  <a:lnTo>
                    <a:pt x="126" y="6"/>
                  </a:lnTo>
                  <a:lnTo>
                    <a:pt x="126" y="2"/>
                  </a:lnTo>
                  <a:lnTo>
                    <a:pt x="129" y="0"/>
                  </a:lnTo>
                  <a:lnTo>
                    <a:pt x="132" y="1"/>
                  </a:lnTo>
                  <a:lnTo>
                    <a:pt x="133" y="3"/>
                  </a:lnTo>
                  <a:lnTo>
                    <a:pt x="136" y="2"/>
                  </a:lnTo>
                  <a:lnTo>
                    <a:pt x="140" y="3"/>
                  </a:lnTo>
                  <a:lnTo>
                    <a:pt x="143" y="4"/>
                  </a:lnTo>
                  <a:lnTo>
                    <a:pt x="145" y="6"/>
                  </a:lnTo>
                  <a:lnTo>
                    <a:pt x="144" y="10"/>
                  </a:lnTo>
                  <a:lnTo>
                    <a:pt x="147" y="10"/>
                  </a:lnTo>
                  <a:lnTo>
                    <a:pt x="147" y="16"/>
                  </a:lnTo>
                  <a:lnTo>
                    <a:pt x="150" y="19"/>
                  </a:lnTo>
                  <a:lnTo>
                    <a:pt x="153" y="21"/>
                  </a:lnTo>
                  <a:lnTo>
                    <a:pt x="155" y="21"/>
                  </a:lnTo>
                  <a:lnTo>
                    <a:pt x="157" y="21"/>
                  </a:lnTo>
                  <a:lnTo>
                    <a:pt x="159" y="16"/>
                  </a:lnTo>
                  <a:lnTo>
                    <a:pt x="170" y="16"/>
                  </a:lnTo>
                  <a:lnTo>
                    <a:pt x="170" y="11"/>
                  </a:lnTo>
                  <a:lnTo>
                    <a:pt x="170" y="5"/>
                  </a:lnTo>
                  <a:lnTo>
                    <a:pt x="167" y="2"/>
                  </a:lnTo>
                  <a:lnTo>
                    <a:pt x="170" y="1"/>
                  </a:lnTo>
                  <a:lnTo>
                    <a:pt x="174" y="1"/>
                  </a:lnTo>
                  <a:lnTo>
                    <a:pt x="177" y="3"/>
                  </a:lnTo>
                  <a:lnTo>
                    <a:pt x="178" y="0"/>
                  </a:lnTo>
                  <a:close/>
                </a:path>
              </a:pathLst>
            </a:custGeom>
            <a:solidFill>
              <a:srgbClr val="AB5905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55" name="DK">
              <a:extLst>
                <a:ext uri="{FF2B5EF4-FFF2-40B4-BE49-F238E27FC236}">
                  <a16:creationId xmlns:a16="http://schemas.microsoft.com/office/drawing/2014/main" id="{0CDAF28A-BD15-B0F0-E962-1EB29D85C0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1068" y="3237760"/>
              <a:ext cx="300341" cy="490447"/>
            </a:xfrm>
            <a:custGeom>
              <a:avLst/>
              <a:gdLst>
                <a:gd name="T0" fmla="*/ 16 w 150"/>
                <a:gd name="T1" fmla="*/ 224 h 276"/>
                <a:gd name="T2" fmla="*/ 45 w 150"/>
                <a:gd name="T3" fmla="*/ 80 h 276"/>
                <a:gd name="T4" fmla="*/ 33 w 150"/>
                <a:gd name="T5" fmla="*/ 100 h 276"/>
                <a:gd name="T6" fmla="*/ 29 w 150"/>
                <a:gd name="T7" fmla="*/ 84 h 276"/>
                <a:gd name="T8" fmla="*/ 130 w 150"/>
                <a:gd name="T9" fmla="*/ 0 h 276"/>
                <a:gd name="T10" fmla="*/ 124 w 150"/>
                <a:gd name="T11" fmla="*/ 22 h 276"/>
                <a:gd name="T12" fmla="*/ 124 w 150"/>
                <a:gd name="T13" fmla="*/ 52 h 276"/>
                <a:gd name="T14" fmla="*/ 109 w 150"/>
                <a:gd name="T15" fmla="*/ 68 h 276"/>
                <a:gd name="T16" fmla="*/ 111 w 150"/>
                <a:gd name="T17" fmla="*/ 71 h 276"/>
                <a:gd name="T18" fmla="*/ 117 w 150"/>
                <a:gd name="T19" fmla="*/ 96 h 276"/>
                <a:gd name="T20" fmla="*/ 97 w 150"/>
                <a:gd name="T21" fmla="*/ 103 h 276"/>
                <a:gd name="T22" fmla="*/ 110 w 150"/>
                <a:gd name="T23" fmla="*/ 98 h 276"/>
                <a:gd name="T24" fmla="*/ 112 w 150"/>
                <a:gd name="T25" fmla="*/ 112 h 276"/>
                <a:gd name="T26" fmla="*/ 119 w 150"/>
                <a:gd name="T27" fmla="*/ 111 h 276"/>
                <a:gd name="T28" fmla="*/ 150 w 150"/>
                <a:gd name="T29" fmla="*/ 122 h 276"/>
                <a:gd name="T30" fmla="*/ 139 w 150"/>
                <a:gd name="T31" fmla="*/ 149 h 276"/>
                <a:gd name="T32" fmla="*/ 130 w 150"/>
                <a:gd name="T33" fmla="*/ 149 h 276"/>
                <a:gd name="T34" fmla="*/ 122 w 150"/>
                <a:gd name="T35" fmla="*/ 148 h 276"/>
                <a:gd name="T36" fmla="*/ 122 w 150"/>
                <a:gd name="T37" fmla="*/ 137 h 276"/>
                <a:gd name="T38" fmla="*/ 115 w 150"/>
                <a:gd name="T39" fmla="*/ 158 h 276"/>
                <a:gd name="T40" fmla="*/ 111 w 150"/>
                <a:gd name="T41" fmla="*/ 178 h 276"/>
                <a:gd name="T42" fmla="*/ 101 w 150"/>
                <a:gd name="T43" fmla="*/ 184 h 276"/>
                <a:gd name="T44" fmla="*/ 84 w 150"/>
                <a:gd name="T45" fmla="*/ 191 h 276"/>
                <a:gd name="T46" fmla="*/ 89 w 150"/>
                <a:gd name="T47" fmla="*/ 202 h 276"/>
                <a:gd name="T48" fmla="*/ 78 w 150"/>
                <a:gd name="T49" fmla="*/ 211 h 276"/>
                <a:gd name="T50" fmla="*/ 81 w 150"/>
                <a:gd name="T51" fmla="*/ 226 h 276"/>
                <a:gd name="T52" fmla="*/ 78 w 150"/>
                <a:gd name="T53" fmla="*/ 240 h 276"/>
                <a:gd name="T54" fmla="*/ 71 w 150"/>
                <a:gd name="T55" fmla="*/ 253 h 276"/>
                <a:gd name="T56" fmla="*/ 87 w 150"/>
                <a:gd name="T57" fmla="*/ 266 h 276"/>
                <a:gd name="T58" fmla="*/ 81 w 150"/>
                <a:gd name="T59" fmla="*/ 264 h 276"/>
                <a:gd name="T60" fmla="*/ 67 w 150"/>
                <a:gd name="T61" fmla="*/ 274 h 276"/>
                <a:gd name="T62" fmla="*/ 37 w 150"/>
                <a:gd name="T63" fmla="*/ 266 h 276"/>
                <a:gd name="T64" fmla="*/ 29 w 150"/>
                <a:gd name="T65" fmla="*/ 247 h 276"/>
                <a:gd name="T66" fmla="*/ 18 w 150"/>
                <a:gd name="T67" fmla="*/ 240 h 276"/>
                <a:gd name="T68" fmla="*/ 29 w 150"/>
                <a:gd name="T69" fmla="*/ 239 h 276"/>
                <a:gd name="T70" fmla="*/ 26 w 150"/>
                <a:gd name="T71" fmla="*/ 216 h 276"/>
                <a:gd name="T72" fmla="*/ 7 w 150"/>
                <a:gd name="T73" fmla="*/ 205 h 276"/>
                <a:gd name="T74" fmla="*/ 2 w 150"/>
                <a:gd name="T75" fmla="*/ 196 h 276"/>
                <a:gd name="T76" fmla="*/ 5 w 150"/>
                <a:gd name="T77" fmla="*/ 176 h 276"/>
                <a:gd name="T78" fmla="*/ 14 w 150"/>
                <a:gd name="T79" fmla="*/ 167 h 276"/>
                <a:gd name="T80" fmla="*/ 3 w 150"/>
                <a:gd name="T81" fmla="*/ 158 h 276"/>
                <a:gd name="T82" fmla="*/ 6 w 150"/>
                <a:gd name="T83" fmla="*/ 100 h 276"/>
                <a:gd name="T84" fmla="*/ 15 w 150"/>
                <a:gd name="T85" fmla="*/ 109 h 276"/>
                <a:gd name="T86" fmla="*/ 35 w 150"/>
                <a:gd name="T87" fmla="*/ 118 h 276"/>
                <a:gd name="T88" fmla="*/ 39 w 150"/>
                <a:gd name="T89" fmla="*/ 99 h 276"/>
                <a:gd name="T90" fmla="*/ 47 w 150"/>
                <a:gd name="T91" fmla="*/ 89 h 276"/>
                <a:gd name="T92" fmla="*/ 53 w 150"/>
                <a:gd name="T93" fmla="*/ 103 h 276"/>
                <a:gd name="T94" fmla="*/ 60 w 150"/>
                <a:gd name="T95" fmla="*/ 105 h 276"/>
                <a:gd name="T96" fmla="*/ 64 w 150"/>
                <a:gd name="T97" fmla="*/ 107 h 276"/>
                <a:gd name="T98" fmla="*/ 61 w 150"/>
                <a:gd name="T99" fmla="*/ 97 h 276"/>
                <a:gd name="T100" fmla="*/ 62 w 150"/>
                <a:gd name="T101" fmla="*/ 73 h 276"/>
                <a:gd name="T102" fmla="*/ 90 w 150"/>
                <a:gd name="T103" fmla="*/ 66 h 276"/>
                <a:gd name="T104" fmla="*/ 81 w 150"/>
                <a:gd name="T105" fmla="*/ 65 h 276"/>
                <a:gd name="T106" fmla="*/ 43 w 150"/>
                <a:gd name="T107" fmla="*/ 70 h 276"/>
                <a:gd name="T108" fmla="*/ 23 w 150"/>
                <a:gd name="T109" fmla="*/ 90 h 276"/>
                <a:gd name="T110" fmla="*/ 21 w 150"/>
                <a:gd name="T111" fmla="*/ 99 h 276"/>
                <a:gd name="T112" fmla="*/ 23 w 150"/>
                <a:gd name="T113" fmla="*/ 107 h 276"/>
                <a:gd name="T114" fmla="*/ 11 w 150"/>
                <a:gd name="T115" fmla="*/ 91 h 276"/>
                <a:gd name="T116" fmla="*/ 21 w 150"/>
                <a:gd name="T117" fmla="*/ 69 h 276"/>
                <a:gd name="T118" fmla="*/ 43 w 150"/>
                <a:gd name="T119" fmla="*/ 59 h 276"/>
                <a:gd name="T120" fmla="*/ 79 w 150"/>
                <a:gd name="T121" fmla="*/ 48 h 276"/>
                <a:gd name="T122" fmla="*/ 101 w 150"/>
                <a:gd name="T123" fmla="*/ 15 h 276"/>
                <a:gd name="T124" fmla="*/ 127 w 150"/>
                <a:gd name="T125" fmla="*/ 1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276">
                  <a:moveTo>
                    <a:pt x="14" y="213"/>
                  </a:moveTo>
                  <a:lnTo>
                    <a:pt x="16" y="215"/>
                  </a:lnTo>
                  <a:lnTo>
                    <a:pt x="18" y="216"/>
                  </a:lnTo>
                  <a:lnTo>
                    <a:pt x="18" y="219"/>
                  </a:lnTo>
                  <a:lnTo>
                    <a:pt x="18" y="224"/>
                  </a:lnTo>
                  <a:lnTo>
                    <a:pt x="16" y="224"/>
                  </a:lnTo>
                  <a:lnTo>
                    <a:pt x="13" y="216"/>
                  </a:lnTo>
                  <a:lnTo>
                    <a:pt x="14" y="213"/>
                  </a:lnTo>
                  <a:close/>
                  <a:moveTo>
                    <a:pt x="43" y="73"/>
                  </a:moveTo>
                  <a:lnTo>
                    <a:pt x="45" y="74"/>
                  </a:lnTo>
                  <a:lnTo>
                    <a:pt x="46" y="77"/>
                  </a:lnTo>
                  <a:lnTo>
                    <a:pt x="45" y="80"/>
                  </a:lnTo>
                  <a:lnTo>
                    <a:pt x="41" y="83"/>
                  </a:lnTo>
                  <a:lnTo>
                    <a:pt x="42" y="88"/>
                  </a:lnTo>
                  <a:lnTo>
                    <a:pt x="43" y="90"/>
                  </a:lnTo>
                  <a:lnTo>
                    <a:pt x="41" y="93"/>
                  </a:lnTo>
                  <a:lnTo>
                    <a:pt x="38" y="97"/>
                  </a:lnTo>
                  <a:lnTo>
                    <a:pt x="33" y="100"/>
                  </a:lnTo>
                  <a:lnTo>
                    <a:pt x="29" y="97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7" y="89"/>
                  </a:lnTo>
                  <a:lnTo>
                    <a:pt x="31" y="89"/>
                  </a:lnTo>
                  <a:lnTo>
                    <a:pt x="29" y="84"/>
                  </a:lnTo>
                  <a:lnTo>
                    <a:pt x="32" y="81"/>
                  </a:lnTo>
                  <a:lnTo>
                    <a:pt x="34" y="79"/>
                  </a:lnTo>
                  <a:lnTo>
                    <a:pt x="37" y="79"/>
                  </a:lnTo>
                  <a:lnTo>
                    <a:pt x="40" y="78"/>
                  </a:lnTo>
                  <a:lnTo>
                    <a:pt x="43" y="73"/>
                  </a:lnTo>
                  <a:close/>
                  <a:moveTo>
                    <a:pt x="130" y="0"/>
                  </a:moveTo>
                  <a:lnTo>
                    <a:pt x="133" y="2"/>
                  </a:lnTo>
                  <a:lnTo>
                    <a:pt x="130" y="3"/>
                  </a:lnTo>
                  <a:lnTo>
                    <a:pt x="128" y="5"/>
                  </a:lnTo>
                  <a:lnTo>
                    <a:pt x="124" y="11"/>
                  </a:lnTo>
                  <a:lnTo>
                    <a:pt x="122" y="17"/>
                  </a:lnTo>
                  <a:lnTo>
                    <a:pt x="124" y="22"/>
                  </a:lnTo>
                  <a:lnTo>
                    <a:pt x="126" y="26"/>
                  </a:lnTo>
                  <a:lnTo>
                    <a:pt x="128" y="30"/>
                  </a:lnTo>
                  <a:lnTo>
                    <a:pt x="127" y="34"/>
                  </a:lnTo>
                  <a:lnTo>
                    <a:pt x="127" y="39"/>
                  </a:lnTo>
                  <a:lnTo>
                    <a:pt x="128" y="49"/>
                  </a:lnTo>
                  <a:lnTo>
                    <a:pt x="124" y="52"/>
                  </a:lnTo>
                  <a:lnTo>
                    <a:pt x="122" y="57"/>
                  </a:lnTo>
                  <a:lnTo>
                    <a:pt x="120" y="64"/>
                  </a:lnTo>
                  <a:lnTo>
                    <a:pt x="119" y="68"/>
                  </a:lnTo>
                  <a:lnTo>
                    <a:pt x="117" y="71"/>
                  </a:lnTo>
                  <a:lnTo>
                    <a:pt x="115" y="71"/>
                  </a:lnTo>
                  <a:lnTo>
                    <a:pt x="109" y="68"/>
                  </a:lnTo>
                  <a:lnTo>
                    <a:pt x="106" y="65"/>
                  </a:lnTo>
                  <a:lnTo>
                    <a:pt x="100" y="62"/>
                  </a:lnTo>
                  <a:lnTo>
                    <a:pt x="97" y="65"/>
                  </a:lnTo>
                  <a:lnTo>
                    <a:pt x="101" y="63"/>
                  </a:lnTo>
                  <a:lnTo>
                    <a:pt x="107" y="68"/>
                  </a:lnTo>
                  <a:lnTo>
                    <a:pt x="111" y="71"/>
                  </a:lnTo>
                  <a:lnTo>
                    <a:pt x="116" y="72"/>
                  </a:lnTo>
                  <a:lnTo>
                    <a:pt x="115" y="75"/>
                  </a:lnTo>
                  <a:lnTo>
                    <a:pt x="114" y="78"/>
                  </a:lnTo>
                  <a:lnTo>
                    <a:pt x="115" y="85"/>
                  </a:lnTo>
                  <a:lnTo>
                    <a:pt x="115" y="90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3" y="98"/>
                  </a:lnTo>
                  <a:lnTo>
                    <a:pt x="110" y="98"/>
                  </a:lnTo>
                  <a:lnTo>
                    <a:pt x="106" y="99"/>
                  </a:lnTo>
                  <a:lnTo>
                    <a:pt x="99" y="101"/>
                  </a:lnTo>
                  <a:lnTo>
                    <a:pt x="97" y="103"/>
                  </a:lnTo>
                  <a:lnTo>
                    <a:pt x="90" y="104"/>
                  </a:lnTo>
                  <a:lnTo>
                    <a:pt x="92" y="105"/>
                  </a:lnTo>
                  <a:lnTo>
                    <a:pt x="100" y="103"/>
                  </a:lnTo>
                  <a:lnTo>
                    <a:pt x="103" y="101"/>
                  </a:lnTo>
                  <a:lnTo>
                    <a:pt x="107" y="99"/>
                  </a:lnTo>
                  <a:lnTo>
                    <a:pt x="110" y="98"/>
                  </a:lnTo>
                  <a:lnTo>
                    <a:pt x="113" y="100"/>
                  </a:lnTo>
                  <a:lnTo>
                    <a:pt x="118" y="99"/>
                  </a:lnTo>
                  <a:lnTo>
                    <a:pt x="119" y="104"/>
                  </a:lnTo>
                  <a:lnTo>
                    <a:pt x="118" y="106"/>
                  </a:lnTo>
                  <a:lnTo>
                    <a:pt x="115" y="109"/>
                  </a:lnTo>
                  <a:lnTo>
                    <a:pt x="112" y="112"/>
                  </a:lnTo>
                  <a:lnTo>
                    <a:pt x="111" y="115"/>
                  </a:lnTo>
                  <a:lnTo>
                    <a:pt x="111" y="118"/>
                  </a:lnTo>
                  <a:lnTo>
                    <a:pt x="112" y="114"/>
                  </a:lnTo>
                  <a:lnTo>
                    <a:pt x="115" y="111"/>
                  </a:lnTo>
                  <a:lnTo>
                    <a:pt x="118" y="108"/>
                  </a:lnTo>
                  <a:lnTo>
                    <a:pt x="119" y="111"/>
                  </a:lnTo>
                  <a:lnTo>
                    <a:pt x="125" y="115"/>
                  </a:lnTo>
                  <a:lnTo>
                    <a:pt x="129" y="116"/>
                  </a:lnTo>
                  <a:lnTo>
                    <a:pt x="141" y="114"/>
                  </a:lnTo>
                  <a:lnTo>
                    <a:pt x="144" y="115"/>
                  </a:lnTo>
                  <a:lnTo>
                    <a:pt x="147" y="119"/>
                  </a:lnTo>
                  <a:lnTo>
                    <a:pt x="150" y="122"/>
                  </a:lnTo>
                  <a:lnTo>
                    <a:pt x="148" y="126"/>
                  </a:lnTo>
                  <a:lnTo>
                    <a:pt x="148" y="130"/>
                  </a:lnTo>
                  <a:lnTo>
                    <a:pt x="143" y="139"/>
                  </a:lnTo>
                  <a:lnTo>
                    <a:pt x="141" y="141"/>
                  </a:lnTo>
                  <a:lnTo>
                    <a:pt x="140" y="146"/>
                  </a:lnTo>
                  <a:lnTo>
                    <a:pt x="139" y="149"/>
                  </a:lnTo>
                  <a:lnTo>
                    <a:pt x="135" y="148"/>
                  </a:lnTo>
                  <a:lnTo>
                    <a:pt x="136" y="145"/>
                  </a:lnTo>
                  <a:lnTo>
                    <a:pt x="136" y="143"/>
                  </a:lnTo>
                  <a:lnTo>
                    <a:pt x="133" y="142"/>
                  </a:lnTo>
                  <a:lnTo>
                    <a:pt x="131" y="145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28" y="154"/>
                  </a:lnTo>
                  <a:lnTo>
                    <a:pt x="127" y="151"/>
                  </a:lnTo>
                  <a:lnTo>
                    <a:pt x="128" y="148"/>
                  </a:lnTo>
                  <a:lnTo>
                    <a:pt x="125" y="147"/>
                  </a:lnTo>
                  <a:lnTo>
                    <a:pt x="122" y="148"/>
                  </a:lnTo>
                  <a:lnTo>
                    <a:pt x="119" y="145"/>
                  </a:lnTo>
                  <a:lnTo>
                    <a:pt x="122" y="143"/>
                  </a:lnTo>
                  <a:lnTo>
                    <a:pt x="125" y="144"/>
                  </a:lnTo>
                  <a:lnTo>
                    <a:pt x="125" y="141"/>
                  </a:lnTo>
                  <a:lnTo>
                    <a:pt x="127" y="138"/>
                  </a:lnTo>
                  <a:lnTo>
                    <a:pt x="122" y="137"/>
                  </a:lnTo>
                  <a:lnTo>
                    <a:pt x="120" y="139"/>
                  </a:lnTo>
                  <a:lnTo>
                    <a:pt x="118" y="142"/>
                  </a:lnTo>
                  <a:lnTo>
                    <a:pt x="114" y="146"/>
                  </a:lnTo>
                  <a:lnTo>
                    <a:pt x="112" y="150"/>
                  </a:lnTo>
                  <a:lnTo>
                    <a:pt x="113" y="152"/>
                  </a:lnTo>
                  <a:lnTo>
                    <a:pt x="115" y="158"/>
                  </a:lnTo>
                  <a:lnTo>
                    <a:pt x="114" y="161"/>
                  </a:lnTo>
                  <a:lnTo>
                    <a:pt x="114" y="166"/>
                  </a:lnTo>
                  <a:lnTo>
                    <a:pt x="114" y="169"/>
                  </a:lnTo>
                  <a:lnTo>
                    <a:pt x="114" y="172"/>
                  </a:lnTo>
                  <a:lnTo>
                    <a:pt x="111" y="175"/>
                  </a:lnTo>
                  <a:lnTo>
                    <a:pt x="111" y="178"/>
                  </a:lnTo>
                  <a:lnTo>
                    <a:pt x="108" y="177"/>
                  </a:lnTo>
                  <a:lnTo>
                    <a:pt x="100" y="176"/>
                  </a:lnTo>
                  <a:lnTo>
                    <a:pt x="97" y="178"/>
                  </a:lnTo>
                  <a:lnTo>
                    <a:pt x="94" y="178"/>
                  </a:lnTo>
                  <a:lnTo>
                    <a:pt x="103" y="181"/>
                  </a:lnTo>
                  <a:lnTo>
                    <a:pt x="101" y="184"/>
                  </a:lnTo>
                  <a:lnTo>
                    <a:pt x="104" y="188"/>
                  </a:lnTo>
                  <a:lnTo>
                    <a:pt x="101" y="191"/>
                  </a:lnTo>
                  <a:lnTo>
                    <a:pt x="93" y="193"/>
                  </a:lnTo>
                  <a:lnTo>
                    <a:pt x="91" y="194"/>
                  </a:lnTo>
                  <a:lnTo>
                    <a:pt x="86" y="193"/>
                  </a:lnTo>
                  <a:lnTo>
                    <a:pt x="84" y="191"/>
                  </a:lnTo>
                  <a:lnTo>
                    <a:pt x="78" y="191"/>
                  </a:lnTo>
                  <a:lnTo>
                    <a:pt x="81" y="193"/>
                  </a:lnTo>
                  <a:lnTo>
                    <a:pt x="85" y="196"/>
                  </a:lnTo>
                  <a:lnTo>
                    <a:pt x="86" y="199"/>
                  </a:lnTo>
                  <a:lnTo>
                    <a:pt x="92" y="199"/>
                  </a:lnTo>
                  <a:lnTo>
                    <a:pt x="89" y="202"/>
                  </a:lnTo>
                  <a:lnTo>
                    <a:pt x="87" y="204"/>
                  </a:lnTo>
                  <a:lnTo>
                    <a:pt x="85" y="207"/>
                  </a:lnTo>
                  <a:lnTo>
                    <a:pt x="81" y="208"/>
                  </a:lnTo>
                  <a:lnTo>
                    <a:pt x="77" y="208"/>
                  </a:lnTo>
                  <a:lnTo>
                    <a:pt x="74" y="211"/>
                  </a:lnTo>
                  <a:lnTo>
                    <a:pt x="78" y="211"/>
                  </a:lnTo>
                  <a:lnTo>
                    <a:pt x="82" y="212"/>
                  </a:lnTo>
                  <a:lnTo>
                    <a:pt x="81" y="216"/>
                  </a:lnTo>
                  <a:lnTo>
                    <a:pt x="79" y="217"/>
                  </a:lnTo>
                  <a:lnTo>
                    <a:pt x="79" y="220"/>
                  </a:lnTo>
                  <a:lnTo>
                    <a:pt x="79" y="224"/>
                  </a:lnTo>
                  <a:lnTo>
                    <a:pt x="81" y="226"/>
                  </a:lnTo>
                  <a:lnTo>
                    <a:pt x="81" y="229"/>
                  </a:lnTo>
                  <a:lnTo>
                    <a:pt x="83" y="232"/>
                  </a:lnTo>
                  <a:lnTo>
                    <a:pt x="84" y="236"/>
                  </a:lnTo>
                  <a:lnTo>
                    <a:pt x="84" y="239"/>
                  </a:lnTo>
                  <a:lnTo>
                    <a:pt x="81" y="240"/>
                  </a:lnTo>
                  <a:lnTo>
                    <a:pt x="78" y="240"/>
                  </a:lnTo>
                  <a:lnTo>
                    <a:pt x="74" y="243"/>
                  </a:lnTo>
                  <a:lnTo>
                    <a:pt x="74" y="245"/>
                  </a:lnTo>
                  <a:lnTo>
                    <a:pt x="72" y="245"/>
                  </a:lnTo>
                  <a:lnTo>
                    <a:pt x="77" y="250"/>
                  </a:lnTo>
                  <a:lnTo>
                    <a:pt x="74" y="252"/>
                  </a:lnTo>
                  <a:lnTo>
                    <a:pt x="71" y="253"/>
                  </a:lnTo>
                  <a:lnTo>
                    <a:pt x="74" y="254"/>
                  </a:lnTo>
                  <a:lnTo>
                    <a:pt x="76" y="254"/>
                  </a:lnTo>
                  <a:lnTo>
                    <a:pt x="79" y="253"/>
                  </a:lnTo>
                  <a:lnTo>
                    <a:pt x="81" y="256"/>
                  </a:lnTo>
                  <a:lnTo>
                    <a:pt x="85" y="257"/>
                  </a:lnTo>
                  <a:lnTo>
                    <a:pt x="87" y="266"/>
                  </a:lnTo>
                  <a:lnTo>
                    <a:pt x="86" y="270"/>
                  </a:lnTo>
                  <a:lnTo>
                    <a:pt x="86" y="273"/>
                  </a:lnTo>
                  <a:lnTo>
                    <a:pt x="84" y="271"/>
                  </a:lnTo>
                  <a:lnTo>
                    <a:pt x="82" y="271"/>
                  </a:lnTo>
                  <a:lnTo>
                    <a:pt x="80" y="267"/>
                  </a:lnTo>
                  <a:lnTo>
                    <a:pt x="81" y="264"/>
                  </a:lnTo>
                  <a:lnTo>
                    <a:pt x="78" y="264"/>
                  </a:lnTo>
                  <a:lnTo>
                    <a:pt x="76" y="268"/>
                  </a:lnTo>
                  <a:lnTo>
                    <a:pt x="74" y="269"/>
                  </a:lnTo>
                  <a:lnTo>
                    <a:pt x="71" y="272"/>
                  </a:lnTo>
                  <a:lnTo>
                    <a:pt x="70" y="275"/>
                  </a:lnTo>
                  <a:lnTo>
                    <a:pt x="67" y="274"/>
                  </a:lnTo>
                  <a:lnTo>
                    <a:pt x="65" y="275"/>
                  </a:lnTo>
                  <a:lnTo>
                    <a:pt x="60" y="276"/>
                  </a:lnTo>
                  <a:lnTo>
                    <a:pt x="58" y="273"/>
                  </a:lnTo>
                  <a:lnTo>
                    <a:pt x="46" y="268"/>
                  </a:lnTo>
                  <a:lnTo>
                    <a:pt x="42" y="266"/>
                  </a:lnTo>
                  <a:lnTo>
                    <a:pt x="37" y="266"/>
                  </a:lnTo>
                  <a:lnTo>
                    <a:pt x="33" y="267"/>
                  </a:lnTo>
                  <a:lnTo>
                    <a:pt x="28" y="264"/>
                  </a:lnTo>
                  <a:lnTo>
                    <a:pt x="28" y="259"/>
                  </a:lnTo>
                  <a:lnTo>
                    <a:pt x="27" y="255"/>
                  </a:lnTo>
                  <a:lnTo>
                    <a:pt x="27" y="252"/>
                  </a:lnTo>
                  <a:lnTo>
                    <a:pt x="29" y="247"/>
                  </a:lnTo>
                  <a:lnTo>
                    <a:pt x="24" y="244"/>
                  </a:lnTo>
                  <a:lnTo>
                    <a:pt x="23" y="248"/>
                  </a:lnTo>
                  <a:lnTo>
                    <a:pt x="20" y="250"/>
                  </a:lnTo>
                  <a:lnTo>
                    <a:pt x="18" y="249"/>
                  </a:lnTo>
                  <a:lnTo>
                    <a:pt x="18" y="245"/>
                  </a:lnTo>
                  <a:lnTo>
                    <a:pt x="18" y="240"/>
                  </a:lnTo>
                  <a:lnTo>
                    <a:pt x="21" y="238"/>
                  </a:lnTo>
                  <a:lnTo>
                    <a:pt x="24" y="239"/>
                  </a:lnTo>
                  <a:lnTo>
                    <a:pt x="22" y="242"/>
                  </a:lnTo>
                  <a:lnTo>
                    <a:pt x="26" y="244"/>
                  </a:lnTo>
                  <a:lnTo>
                    <a:pt x="29" y="244"/>
                  </a:lnTo>
                  <a:lnTo>
                    <a:pt x="29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29" y="228"/>
                  </a:lnTo>
                  <a:lnTo>
                    <a:pt x="28" y="224"/>
                  </a:lnTo>
                  <a:lnTo>
                    <a:pt x="27" y="219"/>
                  </a:lnTo>
                  <a:lnTo>
                    <a:pt x="26" y="216"/>
                  </a:lnTo>
                  <a:lnTo>
                    <a:pt x="23" y="214"/>
                  </a:lnTo>
                  <a:lnTo>
                    <a:pt x="20" y="214"/>
                  </a:lnTo>
                  <a:lnTo>
                    <a:pt x="17" y="213"/>
                  </a:lnTo>
                  <a:lnTo>
                    <a:pt x="11" y="204"/>
                  </a:lnTo>
                  <a:lnTo>
                    <a:pt x="8" y="202"/>
                  </a:lnTo>
                  <a:lnTo>
                    <a:pt x="7" y="205"/>
                  </a:lnTo>
                  <a:lnTo>
                    <a:pt x="7" y="208"/>
                  </a:lnTo>
                  <a:lnTo>
                    <a:pt x="10" y="209"/>
                  </a:lnTo>
                  <a:lnTo>
                    <a:pt x="11" y="212"/>
                  </a:lnTo>
                  <a:lnTo>
                    <a:pt x="4" y="207"/>
                  </a:lnTo>
                  <a:lnTo>
                    <a:pt x="0" y="206"/>
                  </a:lnTo>
                  <a:lnTo>
                    <a:pt x="2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4" y="185"/>
                  </a:lnTo>
                  <a:lnTo>
                    <a:pt x="2" y="166"/>
                  </a:lnTo>
                  <a:lnTo>
                    <a:pt x="4" y="172"/>
                  </a:lnTo>
                  <a:lnTo>
                    <a:pt x="5" y="176"/>
                  </a:lnTo>
                  <a:lnTo>
                    <a:pt x="5" y="179"/>
                  </a:lnTo>
                  <a:lnTo>
                    <a:pt x="7" y="179"/>
                  </a:lnTo>
                  <a:lnTo>
                    <a:pt x="10" y="177"/>
                  </a:lnTo>
                  <a:lnTo>
                    <a:pt x="13" y="176"/>
                  </a:lnTo>
                  <a:lnTo>
                    <a:pt x="15" y="170"/>
                  </a:lnTo>
                  <a:lnTo>
                    <a:pt x="14" y="167"/>
                  </a:lnTo>
                  <a:lnTo>
                    <a:pt x="12" y="165"/>
                  </a:lnTo>
                  <a:lnTo>
                    <a:pt x="12" y="162"/>
                  </a:lnTo>
                  <a:lnTo>
                    <a:pt x="12" y="159"/>
                  </a:lnTo>
                  <a:lnTo>
                    <a:pt x="9" y="154"/>
                  </a:lnTo>
                  <a:lnTo>
                    <a:pt x="5" y="152"/>
                  </a:lnTo>
                  <a:lnTo>
                    <a:pt x="3" y="158"/>
                  </a:lnTo>
                  <a:lnTo>
                    <a:pt x="2" y="162"/>
                  </a:lnTo>
                  <a:lnTo>
                    <a:pt x="1" y="153"/>
                  </a:lnTo>
                  <a:lnTo>
                    <a:pt x="3" y="146"/>
                  </a:lnTo>
                  <a:lnTo>
                    <a:pt x="3" y="111"/>
                  </a:lnTo>
                  <a:lnTo>
                    <a:pt x="4" y="108"/>
                  </a:lnTo>
                  <a:lnTo>
                    <a:pt x="6" y="100"/>
                  </a:lnTo>
                  <a:lnTo>
                    <a:pt x="8" y="97"/>
                  </a:lnTo>
                  <a:lnTo>
                    <a:pt x="8" y="102"/>
                  </a:lnTo>
                  <a:lnTo>
                    <a:pt x="9" y="105"/>
                  </a:lnTo>
                  <a:lnTo>
                    <a:pt x="12" y="107"/>
                  </a:lnTo>
                  <a:lnTo>
                    <a:pt x="12" y="110"/>
                  </a:lnTo>
                  <a:lnTo>
                    <a:pt x="15" y="109"/>
                  </a:lnTo>
                  <a:lnTo>
                    <a:pt x="17" y="109"/>
                  </a:lnTo>
                  <a:lnTo>
                    <a:pt x="19" y="109"/>
                  </a:lnTo>
                  <a:lnTo>
                    <a:pt x="23" y="113"/>
                  </a:lnTo>
                  <a:lnTo>
                    <a:pt x="27" y="114"/>
                  </a:lnTo>
                  <a:lnTo>
                    <a:pt x="28" y="117"/>
                  </a:lnTo>
                  <a:lnTo>
                    <a:pt x="35" y="118"/>
                  </a:lnTo>
                  <a:lnTo>
                    <a:pt x="36" y="115"/>
                  </a:lnTo>
                  <a:lnTo>
                    <a:pt x="36" y="112"/>
                  </a:lnTo>
                  <a:lnTo>
                    <a:pt x="35" y="109"/>
                  </a:lnTo>
                  <a:lnTo>
                    <a:pt x="33" y="106"/>
                  </a:lnTo>
                  <a:lnTo>
                    <a:pt x="36" y="105"/>
                  </a:lnTo>
                  <a:lnTo>
                    <a:pt x="39" y="99"/>
                  </a:lnTo>
                  <a:lnTo>
                    <a:pt x="42" y="98"/>
                  </a:lnTo>
                  <a:lnTo>
                    <a:pt x="45" y="98"/>
                  </a:lnTo>
                  <a:lnTo>
                    <a:pt x="42" y="97"/>
                  </a:lnTo>
                  <a:lnTo>
                    <a:pt x="42" y="94"/>
                  </a:lnTo>
                  <a:lnTo>
                    <a:pt x="45" y="92"/>
                  </a:lnTo>
                  <a:lnTo>
                    <a:pt x="47" y="89"/>
                  </a:lnTo>
                  <a:lnTo>
                    <a:pt x="49" y="90"/>
                  </a:lnTo>
                  <a:lnTo>
                    <a:pt x="54" y="89"/>
                  </a:lnTo>
                  <a:lnTo>
                    <a:pt x="55" y="93"/>
                  </a:lnTo>
                  <a:lnTo>
                    <a:pt x="57" y="96"/>
                  </a:lnTo>
                  <a:lnTo>
                    <a:pt x="55" y="101"/>
                  </a:lnTo>
                  <a:lnTo>
                    <a:pt x="53" y="103"/>
                  </a:lnTo>
                  <a:lnTo>
                    <a:pt x="52" y="106"/>
                  </a:lnTo>
                  <a:lnTo>
                    <a:pt x="52" y="110"/>
                  </a:lnTo>
                  <a:lnTo>
                    <a:pt x="54" y="107"/>
                  </a:lnTo>
                  <a:lnTo>
                    <a:pt x="57" y="107"/>
                  </a:lnTo>
                  <a:lnTo>
                    <a:pt x="56" y="104"/>
                  </a:lnTo>
                  <a:lnTo>
                    <a:pt x="60" y="105"/>
                  </a:lnTo>
                  <a:lnTo>
                    <a:pt x="64" y="106"/>
                  </a:lnTo>
                  <a:lnTo>
                    <a:pt x="62" y="109"/>
                  </a:lnTo>
                  <a:lnTo>
                    <a:pt x="63" y="112"/>
                  </a:lnTo>
                  <a:lnTo>
                    <a:pt x="67" y="113"/>
                  </a:lnTo>
                  <a:lnTo>
                    <a:pt x="64" y="112"/>
                  </a:lnTo>
                  <a:lnTo>
                    <a:pt x="64" y="107"/>
                  </a:lnTo>
                  <a:lnTo>
                    <a:pt x="65" y="104"/>
                  </a:lnTo>
                  <a:lnTo>
                    <a:pt x="66" y="102"/>
                  </a:lnTo>
                  <a:lnTo>
                    <a:pt x="64" y="99"/>
                  </a:lnTo>
                  <a:lnTo>
                    <a:pt x="61" y="100"/>
                  </a:lnTo>
                  <a:lnTo>
                    <a:pt x="58" y="101"/>
                  </a:lnTo>
                  <a:lnTo>
                    <a:pt x="61" y="97"/>
                  </a:lnTo>
                  <a:lnTo>
                    <a:pt x="61" y="95"/>
                  </a:lnTo>
                  <a:lnTo>
                    <a:pt x="58" y="90"/>
                  </a:lnTo>
                  <a:lnTo>
                    <a:pt x="60" y="85"/>
                  </a:lnTo>
                  <a:lnTo>
                    <a:pt x="60" y="82"/>
                  </a:lnTo>
                  <a:lnTo>
                    <a:pt x="60" y="76"/>
                  </a:lnTo>
                  <a:lnTo>
                    <a:pt x="62" y="73"/>
                  </a:lnTo>
                  <a:lnTo>
                    <a:pt x="64" y="71"/>
                  </a:lnTo>
                  <a:lnTo>
                    <a:pt x="72" y="68"/>
                  </a:lnTo>
                  <a:lnTo>
                    <a:pt x="79" y="71"/>
                  </a:lnTo>
                  <a:lnTo>
                    <a:pt x="82" y="70"/>
                  </a:lnTo>
                  <a:lnTo>
                    <a:pt x="84" y="67"/>
                  </a:lnTo>
                  <a:lnTo>
                    <a:pt x="90" y="66"/>
                  </a:lnTo>
                  <a:lnTo>
                    <a:pt x="96" y="65"/>
                  </a:lnTo>
                  <a:lnTo>
                    <a:pt x="93" y="62"/>
                  </a:lnTo>
                  <a:lnTo>
                    <a:pt x="90" y="61"/>
                  </a:lnTo>
                  <a:lnTo>
                    <a:pt x="87" y="63"/>
                  </a:lnTo>
                  <a:lnTo>
                    <a:pt x="84" y="63"/>
                  </a:lnTo>
                  <a:lnTo>
                    <a:pt x="81" y="65"/>
                  </a:lnTo>
                  <a:lnTo>
                    <a:pt x="74" y="66"/>
                  </a:lnTo>
                  <a:lnTo>
                    <a:pt x="63" y="70"/>
                  </a:lnTo>
                  <a:lnTo>
                    <a:pt x="55" y="65"/>
                  </a:lnTo>
                  <a:lnTo>
                    <a:pt x="52" y="68"/>
                  </a:lnTo>
                  <a:lnTo>
                    <a:pt x="48" y="69"/>
                  </a:lnTo>
                  <a:lnTo>
                    <a:pt x="43" y="70"/>
                  </a:lnTo>
                  <a:lnTo>
                    <a:pt x="37" y="74"/>
                  </a:lnTo>
                  <a:lnTo>
                    <a:pt x="33" y="74"/>
                  </a:lnTo>
                  <a:lnTo>
                    <a:pt x="32" y="78"/>
                  </a:lnTo>
                  <a:lnTo>
                    <a:pt x="29" y="82"/>
                  </a:lnTo>
                  <a:lnTo>
                    <a:pt x="27" y="86"/>
                  </a:lnTo>
                  <a:lnTo>
                    <a:pt x="23" y="90"/>
                  </a:lnTo>
                  <a:lnTo>
                    <a:pt x="22" y="94"/>
                  </a:lnTo>
                  <a:lnTo>
                    <a:pt x="22" y="97"/>
                  </a:lnTo>
                  <a:lnTo>
                    <a:pt x="23" y="99"/>
                  </a:lnTo>
                  <a:lnTo>
                    <a:pt x="20" y="98"/>
                  </a:lnTo>
                  <a:lnTo>
                    <a:pt x="18" y="99"/>
                  </a:lnTo>
                  <a:lnTo>
                    <a:pt x="21" y="99"/>
                  </a:lnTo>
                  <a:lnTo>
                    <a:pt x="23" y="101"/>
                  </a:lnTo>
                  <a:lnTo>
                    <a:pt x="26" y="99"/>
                  </a:lnTo>
                  <a:lnTo>
                    <a:pt x="27" y="102"/>
                  </a:lnTo>
                  <a:lnTo>
                    <a:pt x="28" y="105"/>
                  </a:lnTo>
                  <a:lnTo>
                    <a:pt x="26" y="107"/>
                  </a:lnTo>
                  <a:lnTo>
                    <a:pt x="23" y="107"/>
                  </a:lnTo>
                  <a:lnTo>
                    <a:pt x="21" y="104"/>
                  </a:lnTo>
                  <a:lnTo>
                    <a:pt x="18" y="101"/>
                  </a:lnTo>
                  <a:lnTo>
                    <a:pt x="16" y="100"/>
                  </a:lnTo>
                  <a:lnTo>
                    <a:pt x="14" y="97"/>
                  </a:lnTo>
                  <a:lnTo>
                    <a:pt x="13" y="93"/>
                  </a:lnTo>
                  <a:lnTo>
                    <a:pt x="11" y="91"/>
                  </a:lnTo>
                  <a:lnTo>
                    <a:pt x="11" y="94"/>
                  </a:lnTo>
                  <a:lnTo>
                    <a:pt x="11" y="98"/>
                  </a:lnTo>
                  <a:lnTo>
                    <a:pt x="10" y="91"/>
                  </a:lnTo>
                  <a:lnTo>
                    <a:pt x="10" y="88"/>
                  </a:lnTo>
                  <a:lnTo>
                    <a:pt x="11" y="84"/>
                  </a:lnTo>
                  <a:lnTo>
                    <a:pt x="21" y="69"/>
                  </a:lnTo>
                  <a:lnTo>
                    <a:pt x="24" y="67"/>
                  </a:lnTo>
                  <a:lnTo>
                    <a:pt x="28" y="60"/>
                  </a:lnTo>
                  <a:lnTo>
                    <a:pt x="32" y="59"/>
                  </a:lnTo>
                  <a:lnTo>
                    <a:pt x="36" y="60"/>
                  </a:lnTo>
                  <a:lnTo>
                    <a:pt x="39" y="60"/>
                  </a:lnTo>
                  <a:lnTo>
                    <a:pt x="43" y="59"/>
                  </a:lnTo>
                  <a:lnTo>
                    <a:pt x="48" y="56"/>
                  </a:lnTo>
                  <a:lnTo>
                    <a:pt x="61" y="57"/>
                  </a:lnTo>
                  <a:lnTo>
                    <a:pt x="66" y="57"/>
                  </a:lnTo>
                  <a:lnTo>
                    <a:pt x="70" y="55"/>
                  </a:lnTo>
                  <a:lnTo>
                    <a:pt x="75" y="52"/>
                  </a:lnTo>
                  <a:lnTo>
                    <a:pt x="79" y="48"/>
                  </a:lnTo>
                  <a:lnTo>
                    <a:pt x="89" y="28"/>
                  </a:lnTo>
                  <a:lnTo>
                    <a:pt x="91" y="25"/>
                  </a:lnTo>
                  <a:lnTo>
                    <a:pt x="95" y="22"/>
                  </a:lnTo>
                  <a:lnTo>
                    <a:pt x="96" y="17"/>
                  </a:lnTo>
                  <a:lnTo>
                    <a:pt x="98" y="15"/>
                  </a:lnTo>
                  <a:lnTo>
                    <a:pt x="101" y="15"/>
                  </a:lnTo>
                  <a:lnTo>
                    <a:pt x="106" y="15"/>
                  </a:lnTo>
                  <a:lnTo>
                    <a:pt x="111" y="14"/>
                  </a:lnTo>
                  <a:lnTo>
                    <a:pt x="115" y="12"/>
                  </a:lnTo>
                  <a:lnTo>
                    <a:pt x="118" y="10"/>
                  </a:lnTo>
                  <a:lnTo>
                    <a:pt x="124" y="3"/>
                  </a:lnTo>
                  <a:lnTo>
                    <a:pt x="127" y="1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56" name="EE">
              <a:extLst>
                <a:ext uri="{FF2B5EF4-FFF2-40B4-BE49-F238E27FC236}">
                  <a16:creationId xmlns:a16="http://schemas.microsoft.com/office/drawing/2014/main" id="{5ACD2BA8-F88B-003C-BDCC-52DB722567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7587" y="2754240"/>
              <a:ext cx="564997" cy="369915"/>
            </a:xfrm>
            <a:custGeom>
              <a:avLst/>
              <a:gdLst>
                <a:gd name="T0" fmla="*/ 111 w 300"/>
                <a:gd name="T1" fmla="*/ 170 h 206"/>
                <a:gd name="T2" fmla="*/ 53 w 300"/>
                <a:gd name="T3" fmla="*/ 133 h 206"/>
                <a:gd name="T4" fmla="*/ 72 w 300"/>
                <a:gd name="T5" fmla="*/ 143 h 206"/>
                <a:gd name="T6" fmla="*/ 61 w 300"/>
                <a:gd name="T7" fmla="*/ 151 h 206"/>
                <a:gd name="T8" fmla="*/ 48 w 300"/>
                <a:gd name="T9" fmla="*/ 169 h 206"/>
                <a:gd name="T10" fmla="*/ 28 w 300"/>
                <a:gd name="T11" fmla="*/ 176 h 206"/>
                <a:gd name="T12" fmla="*/ 25 w 300"/>
                <a:gd name="T13" fmla="*/ 197 h 206"/>
                <a:gd name="T14" fmla="*/ 19 w 300"/>
                <a:gd name="T15" fmla="*/ 189 h 206"/>
                <a:gd name="T16" fmla="*/ 8 w 300"/>
                <a:gd name="T17" fmla="*/ 176 h 206"/>
                <a:gd name="T18" fmla="*/ 9 w 300"/>
                <a:gd name="T19" fmla="*/ 165 h 206"/>
                <a:gd name="T20" fmla="*/ 6 w 300"/>
                <a:gd name="T21" fmla="*/ 150 h 206"/>
                <a:gd name="T22" fmla="*/ 17 w 300"/>
                <a:gd name="T23" fmla="*/ 145 h 206"/>
                <a:gd name="T24" fmla="*/ 32 w 300"/>
                <a:gd name="T25" fmla="*/ 135 h 206"/>
                <a:gd name="T26" fmla="*/ 60 w 300"/>
                <a:gd name="T27" fmla="*/ 124 h 206"/>
                <a:gd name="T28" fmla="*/ 72 w 300"/>
                <a:gd name="T29" fmla="*/ 136 h 206"/>
                <a:gd name="T30" fmla="*/ 59 w 300"/>
                <a:gd name="T31" fmla="*/ 127 h 206"/>
                <a:gd name="T32" fmla="*/ 39 w 300"/>
                <a:gd name="T33" fmla="*/ 98 h 206"/>
                <a:gd name="T34" fmla="*/ 48 w 300"/>
                <a:gd name="T35" fmla="*/ 111 h 206"/>
                <a:gd name="T36" fmla="*/ 41 w 300"/>
                <a:gd name="T37" fmla="*/ 116 h 206"/>
                <a:gd name="T38" fmla="*/ 28 w 300"/>
                <a:gd name="T39" fmla="*/ 129 h 206"/>
                <a:gd name="T40" fmla="*/ 17 w 300"/>
                <a:gd name="T41" fmla="*/ 112 h 206"/>
                <a:gd name="T42" fmla="*/ 22 w 300"/>
                <a:gd name="T43" fmla="*/ 100 h 206"/>
                <a:gd name="T44" fmla="*/ 65 w 300"/>
                <a:gd name="T45" fmla="*/ 94 h 206"/>
                <a:gd name="T46" fmla="*/ 55 w 300"/>
                <a:gd name="T47" fmla="*/ 91 h 206"/>
                <a:gd name="T48" fmla="*/ 106 w 300"/>
                <a:gd name="T49" fmla="*/ 32 h 206"/>
                <a:gd name="T50" fmla="*/ 278 w 300"/>
                <a:gd name="T51" fmla="*/ 11 h 206"/>
                <a:gd name="T52" fmla="*/ 270 w 300"/>
                <a:gd name="T53" fmla="*/ 32 h 206"/>
                <a:gd name="T54" fmla="*/ 260 w 300"/>
                <a:gd name="T55" fmla="*/ 73 h 206"/>
                <a:gd name="T56" fmla="*/ 276 w 300"/>
                <a:gd name="T57" fmla="*/ 121 h 206"/>
                <a:gd name="T58" fmla="*/ 291 w 300"/>
                <a:gd name="T59" fmla="*/ 143 h 206"/>
                <a:gd name="T60" fmla="*/ 288 w 300"/>
                <a:gd name="T61" fmla="*/ 158 h 206"/>
                <a:gd name="T62" fmla="*/ 285 w 300"/>
                <a:gd name="T63" fmla="*/ 179 h 206"/>
                <a:gd name="T64" fmla="*/ 267 w 300"/>
                <a:gd name="T65" fmla="*/ 184 h 206"/>
                <a:gd name="T66" fmla="*/ 250 w 300"/>
                <a:gd name="T67" fmla="*/ 192 h 206"/>
                <a:gd name="T68" fmla="*/ 225 w 300"/>
                <a:gd name="T69" fmla="*/ 184 h 206"/>
                <a:gd name="T70" fmla="*/ 198 w 300"/>
                <a:gd name="T71" fmla="*/ 169 h 206"/>
                <a:gd name="T72" fmla="*/ 184 w 300"/>
                <a:gd name="T73" fmla="*/ 166 h 206"/>
                <a:gd name="T74" fmla="*/ 170 w 300"/>
                <a:gd name="T75" fmla="*/ 166 h 206"/>
                <a:gd name="T76" fmla="*/ 151 w 300"/>
                <a:gd name="T77" fmla="*/ 173 h 206"/>
                <a:gd name="T78" fmla="*/ 132 w 300"/>
                <a:gd name="T79" fmla="*/ 189 h 206"/>
                <a:gd name="T80" fmla="*/ 133 w 300"/>
                <a:gd name="T81" fmla="*/ 164 h 206"/>
                <a:gd name="T82" fmla="*/ 134 w 300"/>
                <a:gd name="T83" fmla="*/ 145 h 206"/>
                <a:gd name="T84" fmla="*/ 116 w 300"/>
                <a:gd name="T85" fmla="*/ 153 h 206"/>
                <a:gd name="T86" fmla="*/ 93 w 300"/>
                <a:gd name="T87" fmla="*/ 147 h 206"/>
                <a:gd name="T88" fmla="*/ 82 w 300"/>
                <a:gd name="T89" fmla="*/ 130 h 206"/>
                <a:gd name="T90" fmla="*/ 80 w 300"/>
                <a:gd name="T91" fmla="*/ 116 h 206"/>
                <a:gd name="T92" fmla="*/ 89 w 300"/>
                <a:gd name="T93" fmla="*/ 108 h 206"/>
                <a:gd name="T94" fmla="*/ 72 w 300"/>
                <a:gd name="T95" fmla="*/ 111 h 206"/>
                <a:gd name="T96" fmla="*/ 76 w 300"/>
                <a:gd name="T97" fmla="*/ 95 h 206"/>
                <a:gd name="T98" fmla="*/ 65 w 300"/>
                <a:gd name="T99" fmla="*/ 91 h 206"/>
                <a:gd name="T100" fmla="*/ 67 w 300"/>
                <a:gd name="T101" fmla="*/ 71 h 206"/>
                <a:gd name="T102" fmla="*/ 86 w 300"/>
                <a:gd name="T103" fmla="*/ 62 h 206"/>
                <a:gd name="T104" fmla="*/ 88 w 300"/>
                <a:gd name="T105" fmla="*/ 52 h 206"/>
                <a:gd name="T106" fmla="*/ 103 w 300"/>
                <a:gd name="T107" fmla="*/ 40 h 206"/>
                <a:gd name="T108" fmla="*/ 121 w 300"/>
                <a:gd name="T109" fmla="*/ 39 h 206"/>
                <a:gd name="T110" fmla="*/ 131 w 300"/>
                <a:gd name="T111" fmla="*/ 31 h 206"/>
                <a:gd name="T112" fmla="*/ 155 w 300"/>
                <a:gd name="T113" fmla="*/ 24 h 206"/>
                <a:gd name="T114" fmla="*/ 161 w 300"/>
                <a:gd name="T115" fmla="*/ 20 h 206"/>
                <a:gd name="T116" fmla="*/ 167 w 300"/>
                <a:gd name="T117" fmla="*/ 17 h 206"/>
                <a:gd name="T118" fmla="*/ 188 w 300"/>
                <a:gd name="T119" fmla="*/ 11 h 206"/>
                <a:gd name="T120" fmla="*/ 208 w 300"/>
                <a:gd name="T121" fmla="*/ 10 h 206"/>
                <a:gd name="T122" fmla="*/ 243 w 300"/>
                <a:gd name="T123" fmla="*/ 1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0" h="206">
                  <a:moveTo>
                    <a:pt x="79" y="203"/>
                  </a:moveTo>
                  <a:lnTo>
                    <a:pt x="82" y="206"/>
                  </a:lnTo>
                  <a:lnTo>
                    <a:pt x="80" y="205"/>
                  </a:lnTo>
                  <a:lnTo>
                    <a:pt x="79" y="203"/>
                  </a:lnTo>
                  <a:close/>
                  <a:moveTo>
                    <a:pt x="111" y="165"/>
                  </a:moveTo>
                  <a:lnTo>
                    <a:pt x="111" y="170"/>
                  </a:lnTo>
                  <a:lnTo>
                    <a:pt x="108" y="170"/>
                  </a:lnTo>
                  <a:lnTo>
                    <a:pt x="108" y="166"/>
                  </a:lnTo>
                  <a:lnTo>
                    <a:pt x="111" y="165"/>
                  </a:lnTo>
                  <a:close/>
                  <a:moveTo>
                    <a:pt x="48" y="132"/>
                  </a:moveTo>
                  <a:lnTo>
                    <a:pt x="51" y="133"/>
                  </a:lnTo>
                  <a:lnTo>
                    <a:pt x="53" y="133"/>
                  </a:lnTo>
                  <a:lnTo>
                    <a:pt x="55" y="134"/>
                  </a:lnTo>
                  <a:lnTo>
                    <a:pt x="58" y="135"/>
                  </a:lnTo>
                  <a:lnTo>
                    <a:pt x="61" y="138"/>
                  </a:lnTo>
                  <a:lnTo>
                    <a:pt x="64" y="140"/>
                  </a:lnTo>
                  <a:lnTo>
                    <a:pt x="69" y="141"/>
                  </a:lnTo>
                  <a:lnTo>
                    <a:pt x="72" y="143"/>
                  </a:lnTo>
                  <a:lnTo>
                    <a:pt x="68" y="143"/>
                  </a:lnTo>
                  <a:lnTo>
                    <a:pt x="70" y="146"/>
                  </a:lnTo>
                  <a:lnTo>
                    <a:pt x="65" y="145"/>
                  </a:lnTo>
                  <a:lnTo>
                    <a:pt x="63" y="143"/>
                  </a:lnTo>
                  <a:lnTo>
                    <a:pt x="63" y="146"/>
                  </a:lnTo>
                  <a:lnTo>
                    <a:pt x="61" y="151"/>
                  </a:lnTo>
                  <a:lnTo>
                    <a:pt x="59" y="155"/>
                  </a:lnTo>
                  <a:lnTo>
                    <a:pt x="56" y="154"/>
                  </a:lnTo>
                  <a:lnTo>
                    <a:pt x="54" y="161"/>
                  </a:lnTo>
                  <a:lnTo>
                    <a:pt x="50" y="166"/>
                  </a:lnTo>
                  <a:lnTo>
                    <a:pt x="47" y="166"/>
                  </a:lnTo>
                  <a:lnTo>
                    <a:pt x="48" y="169"/>
                  </a:lnTo>
                  <a:lnTo>
                    <a:pt x="44" y="172"/>
                  </a:lnTo>
                  <a:lnTo>
                    <a:pt x="42" y="169"/>
                  </a:lnTo>
                  <a:lnTo>
                    <a:pt x="39" y="171"/>
                  </a:lnTo>
                  <a:lnTo>
                    <a:pt x="35" y="171"/>
                  </a:lnTo>
                  <a:lnTo>
                    <a:pt x="31" y="173"/>
                  </a:lnTo>
                  <a:lnTo>
                    <a:pt x="28" y="176"/>
                  </a:lnTo>
                  <a:lnTo>
                    <a:pt x="26" y="178"/>
                  </a:lnTo>
                  <a:lnTo>
                    <a:pt x="27" y="183"/>
                  </a:lnTo>
                  <a:lnTo>
                    <a:pt x="27" y="187"/>
                  </a:lnTo>
                  <a:lnTo>
                    <a:pt x="26" y="191"/>
                  </a:lnTo>
                  <a:lnTo>
                    <a:pt x="25" y="194"/>
                  </a:lnTo>
                  <a:lnTo>
                    <a:pt x="25" y="197"/>
                  </a:lnTo>
                  <a:lnTo>
                    <a:pt x="19" y="205"/>
                  </a:lnTo>
                  <a:lnTo>
                    <a:pt x="16" y="203"/>
                  </a:lnTo>
                  <a:lnTo>
                    <a:pt x="15" y="200"/>
                  </a:lnTo>
                  <a:lnTo>
                    <a:pt x="16" y="196"/>
                  </a:lnTo>
                  <a:lnTo>
                    <a:pt x="18" y="192"/>
                  </a:lnTo>
                  <a:lnTo>
                    <a:pt x="19" y="189"/>
                  </a:lnTo>
                  <a:lnTo>
                    <a:pt x="22" y="185"/>
                  </a:lnTo>
                  <a:lnTo>
                    <a:pt x="23" y="182"/>
                  </a:lnTo>
                  <a:lnTo>
                    <a:pt x="20" y="181"/>
                  </a:lnTo>
                  <a:lnTo>
                    <a:pt x="16" y="181"/>
                  </a:lnTo>
                  <a:lnTo>
                    <a:pt x="13" y="176"/>
                  </a:lnTo>
                  <a:lnTo>
                    <a:pt x="8" y="176"/>
                  </a:lnTo>
                  <a:lnTo>
                    <a:pt x="4" y="174"/>
                  </a:lnTo>
                  <a:lnTo>
                    <a:pt x="3" y="172"/>
                  </a:lnTo>
                  <a:lnTo>
                    <a:pt x="7" y="171"/>
                  </a:lnTo>
                  <a:lnTo>
                    <a:pt x="4" y="168"/>
                  </a:lnTo>
                  <a:lnTo>
                    <a:pt x="7" y="168"/>
                  </a:lnTo>
                  <a:lnTo>
                    <a:pt x="9" y="165"/>
                  </a:lnTo>
                  <a:lnTo>
                    <a:pt x="9" y="162"/>
                  </a:lnTo>
                  <a:lnTo>
                    <a:pt x="6" y="158"/>
                  </a:lnTo>
                  <a:lnTo>
                    <a:pt x="3" y="156"/>
                  </a:lnTo>
                  <a:lnTo>
                    <a:pt x="0" y="154"/>
                  </a:lnTo>
                  <a:lnTo>
                    <a:pt x="3" y="150"/>
                  </a:lnTo>
                  <a:lnTo>
                    <a:pt x="6" y="150"/>
                  </a:lnTo>
                  <a:lnTo>
                    <a:pt x="9" y="151"/>
                  </a:lnTo>
                  <a:lnTo>
                    <a:pt x="11" y="155"/>
                  </a:lnTo>
                  <a:lnTo>
                    <a:pt x="12" y="158"/>
                  </a:lnTo>
                  <a:lnTo>
                    <a:pt x="13" y="153"/>
                  </a:lnTo>
                  <a:lnTo>
                    <a:pt x="14" y="149"/>
                  </a:lnTo>
                  <a:lnTo>
                    <a:pt x="17" y="145"/>
                  </a:lnTo>
                  <a:lnTo>
                    <a:pt x="18" y="148"/>
                  </a:lnTo>
                  <a:lnTo>
                    <a:pt x="21" y="148"/>
                  </a:lnTo>
                  <a:lnTo>
                    <a:pt x="20" y="144"/>
                  </a:lnTo>
                  <a:lnTo>
                    <a:pt x="22" y="141"/>
                  </a:lnTo>
                  <a:lnTo>
                    <a:pt x="28" y="139"/>
                  </a:lnTo>
                  <a:lnTo>
                    <a:pt x="32" y="135"/>
                  </a:lnTo>
                  <a:lnTo>
                    <a:pt x="36" y="137"/>
                  </a:lnTo>
                  <a:lnTo>
                    <a:pt x="38" y="136"/>
                  </a:lnTo>
                  <a:lnTo>
                    <a:pt x="40" y="137"/>
                  </a:lnTo>
                  <a:lnTo>
                    <a:pt x="44" y="133"/>
                  </a:lnTo>
                  <a:lnTo>
                    <a:pt x="48" y="132"/>
                  </a:lnTo>
                  <a:close/>
                  <a:moveTo>
                    <a:pt x="60" y="124"/>
                  </a:moveTo>
                  <a:lnTo>
                    <a:pt x="66" y="125"/>
                  </a:lnTo>
                  <a:lnTo>
                    <a:pt x="68" y="126"/>
                  </a:lnTo>
                  <a:lnTo>
                    <a:pt x="69" y="128"/>
                  </a:lnTo>
                  <a:lnTo>
                    <a:pt x="71" y="131"/>
                  </a:lnTo>
                  <a:lnTo>
                    <a:pt x="73" y="134"/>
                  </a:lnTo>
                  <a:lnTo>
                    <a:pt x="72" y="136"/>
                  </a:lnTo>
                  <a:lnTo>
                    <a:pt x="69" y="136"/>
                  </a:lnTo>
                  <a:lnTo>
                    <a:pt x="67" y="136"/>
                  </a:lnTo>
                  <a:lnTo>
                    <a:pt x="60" y="134"/>
                  </a:lnTo>
                  <a:lnTo>
                    <a:pt x="58" y="133"/>
                  </a:lnTo>
                  <a:lnTo>
                    <a:pt x="56" y="131"/>
                  </a:lnTo>
                  <a:lnTo>
                    <a:pt x="59" y="127"/>
                  </a:lnTo>
                  <a:lnTo>
                    <a:pt x="60" y="124"/>
                  </a:lnTo>
                  <a:close/>
                  <a:moveTo>
                    <a:pt x="28" y="92"/>
                  </a:moveTo>
                  <a:lnTo>
                    <a:pt x="31" y="93"/>
                  </a:lnTo>
                  <a:lnTo>
                    <a:pt x="31" y="96"/>
                  </a:lnTo>
                  <a:lnTo>
                    <a:pt x="33" y="98"/>
                  </a:lnTo>
                  <a:lnTo>
                    <a:pt x="39" y="98"/>
                  </a:lnTo>
                  <a:lnTo>
                    <a:pt x="44" y="99"/>
                  </a:lnTo>
                  <a:lnTo>
                    <a:pt x="45" y="103"/>
                  </a:lnTo>
                  <a:lnTo>
                    <a:pt x="47" y="105"/>
                  </a:lnTo>
                  <a:lnTo>
                    <a:pt x="49" y="108"/>
                  </a:lnTo>
                  <a:lnTo>
                    <a:pt x="51" y="111"/>
                  </a:lnTo>
                  <a:lnTo>
                    <a:pt x="48" y="111"/>
                  </a:lnTo>
                  <a:lnTo>
                    <a:pt x="46" y="112"/>
                  </a:lnTo>
                  <a:lnTo>
                    <a:pt x="44" y="113"/>
                  </a:lnTo>
                  <a:lnTo>
                    <a:pt x="45" y="116"/>
                  </a:lnTo>
                  <a:lnTo>
                    <a:pt x="43" y="119"/>
                  </a:lnTo>
                  <a:lnTo>
                    <a:pt x="40" y="119"/>
                  </a:lnTo>
                  <a:lnTo>
                    <a:pt x="41" y="116"/>
                  </a:lnTo>
                  <a:lnTo>
                    <a:pt x="38" y="116"/>
                  </a:lnTo>
                  <a:lnTo>
                    <a:pt x="37" y="119"/>
                  </a:lnTo>
                  <a:lnTo>
                    <a:pt x="36" y="125"/>
                  </a:lnTo>
                  <a:lnTo>
                    <a:pt x="34" y="129"/>
                  </a:lnTo>
                  <a:lnTo>
                    <a:pt x="31" y="129"/>
                  </a:lnTo>
                  <a:lnTo>
                    <a:pt x="28" y="129"/>
                  </a:lnTo>
                  <a:lnTo>
                    <a:pt x="26" y="127"/>
                  </a:lnTo>
                  <a:lnTo>
                    <a:pt x="27" y="124"/>
                  </a:lnTo>
                  <a:lnTo>
                    <a:pt x="24" y="121"/>
                  </a:lnTo>
                  <a:lnTo>
                    <a:pt x="23" y="118"/>
                  </a:lnTo>
                  <a:lnTo>
                    <a:pt x="20" y="113"/>
                  </a:lnTo>
                  <a:lnTo>
                    <a:pt x="17" y="112"/>
                  </a:lnTo>
                  <a:lnTo>
                    <a:pt x="12" y="114"/>
                  </a:lnTo>
                  <a:lnTo>
                    <a:pt x="3" y="112"/>
                  </a:lnTo>
                  <a:lnTo>
                    <a:pt x="4" y="109"/>
                  </a:lnTo>
                  <a:lnTo>
                    <a:pt x="8" y="109"/>
                  </a:lnTo>
                  <a:lnTo>
                    <a:pt x="22" y="104"/>
                  </a:lnTo>
                  <a:lnTo>
                    <a:pt x="22" y="100"/>
                  </a:lnTo>
                  <a:lnTo>
                    <a:pt x="26" y="96"/>
                  </a:lnTo>
                  <a:lnTo>
                    <a:pt x="26" y="93"/>
                  </a:lnTo>
                  <a:lnTo>
                    <a:pt x="26" y="92"/>
                  </a:lnTo>
                  <a:lnTo>
                    <a:pt x="28" y="92"/>
                  </a:lnTo>
                  <a:close/>
                  <a:moveTo>
                    <a:pt x="63" y="91"/>
                  </a:moveTo>
                  <a:lnTo>
                    <a:pt x="65" y="94"/>
                  </a:lnTo>
                  <a:lnTo>
                    <a:pt x="61" y="97"/>
                  </a:lnTo>
                  <a:lnTo>
                    <a:pt x="58" y="97"/>
                  </a:lnTo>
                  <a:lnTo>
                    <a:pt x="55" y="98"/>
                  </a:lnTo>
                  <a:lnTo>
                    <a:pt x="52" y="95"/>
                  </a:lnTo>
                  <a:lnTo>
                    <a:pt x="53" y="92"/>
                  </a:lnTo>
                  <a:lnTo>
                    <a:pt x="55" y="91"/>
                  </a:lnTo>
                  <a:lnTo>
                    <a:pt x="59" y="92"/>
                  </a:lnTo>
                  <a:lnTo>
                    <a:pt x="63" y="91"/>
                  </a:lnTo>
                  <a:close/>
                  <a:moveTo>
                    <a:pt x="106" y="29"/>
                  </a:moveTo>
                  <a:lnTo>
                    <a:pt x="109" y="32"/>
                  </a:lnTo>
                  <a:lnTo>
                    <a:pt x="109" y="33"/>
                  </a:lnTo>
                  <a:lnTo>
                    <a:pt x="106" y="32"/>
                  </a:lnTo>
                  <a:lnTo>
                    <a:pt x="106" y="29"/>
                  </a:lnTo>
                  <a:close/>
                  <a:moveTo>
                    <a:pt x="270" y="0"/>
                  </a:moveTo>
                  <a:lnTo>
                    <a:pt x="274" y="2"/>
                  </a:lnTo>
                  <a:lnTo>
                    <a:pt x="277" y="6"/>
                  </a:lnTo>
                  <a:lnTo>
                    <a:pt x="280" y="7"/>
                  </a:lnTo>
                  <a:lnTo>
                    <a:pt x="278" y="11"/>
                  </a:lnTo>
                  <a:lnTo>
                    <a:pt x="274" y="13"/>
                  </a:lnTo>
                  <a:lnTo>
                    <a:pt x="277" y="14"/>
                  </a:lnTo>
                  <a:lnTo>
                    <a:pt x="272" y="18"/>
                  </a:lnTo>
                  <a:lnTo>
                    <a:pt x="270" y="20"/>
                  </a:lnTo>
                  <a:lnTo>
                    <a:pt x="270" y="23"/>
                  </a:lnTo>
                  <a:lnTo>
                    <a:pt x="270" y="32"/>
                  </a:lnTo>
                  <a:lnTo>
                    <a:pt x="269" y="40"/>
                  </a:lnTo>
                  <a:lnTo>
                    <a:pt x="268" y="47"/>
                  </a:lnTo>
                  <a:lnTo>
                    <a:pt x="268" y="50"/>
                  </a:lnTo>
                  <a:lnTo>
                    <a:pt x="264" y="55"/>
                  </a:lnTo>
                  <a:lnTo>
                    <a:pt x="260" y="62"/>
                  </a:lnTo>
                  <a:lnTo>
                    <a:pt x="260" y="73"/>
                  </a:lnTo>
                  <a:lnTo>
                    <a:pt x="264" y="82"/>
                  </a:lnTo>
                  <a:lnTo>
                    <a:pt x="269" y="93"/>
                  </a:lnTo>
                  <a:lnTo>
                    <a:pt x="275" y="105"/>
                  </a:lnTo>
                  <a:lnTo>
                    <a:pt x="274" y="112"/>
                  </a:lnTo>
                  <a:lnTo>
                    <a:pt x="274" y="117"/>
                  </a:lnTo>
                  <a:lnTo>
                    <a:pt x="276" y="121"/>
                  </a:lnTo>
                  <a:lnTo>
                    <a:pt x="279" y="125"/>
                  </a:lnTo>
                  <a:lnTo>
                    <a:pt x="282" y="129"/>
                  </a:lnTo>
                  <a:lnTo>
                    <a:pt x="286" y="131"/>
                  </a:lnTo>
                  <a:lnTo>
                    <a:pt x="287" y="134"/>
                  </a:lnTo>
                  <a:lnTo>
                    <a:pt x="288" y="139"/>
                  </a:lnTo>
                  <a:lnTo>
                    <a:pt x="291" y="143"/>
                  </a:lnTo>
                  <a:lnTo>
                    <a:pt x="291" y="146"/>
                  </a:lnTo>
                  <a:lnTo>
                    <a:pt x="298" y="147"/>
                  </a:lnTo>
                  <a:lnTo>
                    <a:pt x="300" y="150"/>
                  </a:lnTo>
                  <a:lnTo>
                    <a:pt x="299" y="153"/>
                  </a:lnTo>
                  <a:lnTo>
                    <a:pt x="296" y="155"/>
                  </a:lnTo>
                  <a:lnTo>
                    <a:pt x="288" y="158"/>
                  </a:lnTo>
                  <a:lnTo>
                    <a:pt x="287" y="161"/>
                  </a:lnTo>
                  <a:lnTo>
                    <a:pt x="288" y="166"/>
                  </a:lnTo>
                  <a:lnTo>
                    <a:pt x="284" y="171"/>
                  </a:lnTo>
                  <a:lnTo>
                    <a:pt x="284" y="174"/>
                  </a:lnTo>
                  <a:lnTo>
                    <a:pt x="285" y="177"/>
                  </a:lnTo>
                  <a:lnTo>
                    <a:pt x="285" y="179"/>
                  </a:lnTo>
                  <a:lnTo>
                    <a:pt x="284" y="184"/>
                  </a:lnTo>
                  <a:lnTo>
                    <a:pt x="284" y="187"/>
                  </a:lnTo>
                  <a:lnTo>
                    <a:pt x="276" y="186"/>
                  </a:lnTo>
                  <a:lnTo>
                    <a:pt x="272" y="187"/>
                  </a:lnTo>
                  <a:lnTo>
                    <a:pt x="270" y="186"/>
                  </a:lnTo>
                  <a:lnTo>
                    <a:pt x="267" y="184"/>
                  </a:lnTo>
                  <a:lnTo>
                    <a:pt x="264" y="183"/>
                  </a:lnTo>
                  <a:lnTo>
                    <a:pt x="262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3" y="190"/>
                  </a:lnTo>
                  <a:lnTo>
                    <a:pt x="250" y="192"/>
                  </a:lnTo>
                  <a:lnTo>
                    <a:pt x="249" y="194"/>
                  </a:lnTo>
                  <a:lnTo>
                    <a:pt x="245" y="197"/>
                  </a:lnTo>
                  <a:lnTo>
                    <a:pt x="241" y="194"/>
                  </a:lnTo>
                  <a:lnTo>
                    <a:pt x="236" y="193"/>
                  </a:lnTo>
                  <a:lnTo>
                    <a:pt x="233" y="192"/>
                  </a:lnTo>
                  <a:lnTo>
                    <a:pt x="225" y="184"/>
                  </a:lnTo>
                  <a:lnTo>
                    <a:pt x="215" y="179"/>
                  </a:lnTo>
                  <a:lnTo>
                    <a:pt x="214" y="176"/>
                  </a:lnTo>
                  <a:lnTo>
                    <a:pt x="214" y="173"/>
                  </a:lnTo>
                  <a:lnTo>
                    <a:pt x="203" y="174"/>
                  </a:lnTo>
                  <a:lnTo>
                    <a:pt x="200" y="172"/>
                  </a:lnTo>
                  <a:lnTo>
                    <a:pt x="198" y="169"/>
                  </a:lnTo>
                  <a:lnTo>
                    <a:pt x="195" y="171"/>
                  </a:lnTo>
                  <a:lnTo>
                    <a:pt x="192" y="171"/>
                  </a:lnTo>
                  <a:lnTo>
                    <a:pt x="190" y="170"/>
                  </a:lnTo>
                  <a:lnTo>
                    <a:pt x="188" y="167"/>
                  </a:lnTo>
                  <a:lnTo>
                    <a:pt x="186" y="167"/>
                  </a:lnTo>
                  <a:lnTo>
                    <a:pt x="184" y="166"/>
                  </a:lnTo>
                  <a:lnTo>
                    <a:pt x="180" y="163"/>
                  </a:lnTo>
                  <a:lnTo>
                    <a:pt x="176" y="163"/>
                  </a:lnTo>
                  <a:lnTo>
                    <a:pt x="174" y="160"/>
                  </a:lnTo>
                  <a:lnTo>
                    <a:pt x="174" y="165"/>
                  </a:lnTo>
                  <a:lnTo>
                    <a:pt x="174" y="167"/>
                  </a:lnTo>
                  <a:lnTo>
                    <a:pt x="170" y="166"/>
                  </a:lnTo>
                  <a:lnTo>
                    <a:pt x="168" y="163"/>
                  </a:lnTo>
                  <a:lnTo>
                    <a:pt x="165" y="163"/>
                  </a:lnTo>
                  <a:lnTo>
                    <a:pt x="160" y="168"/>
                  </a:lnTo>
                  <a:lnTo>
                    <a:pt x="156" y="171"/>
                  </a:lnTo>
                  <a:lnTo>
                    <a:pt x="153" y="174"/>
                  </a:lnTo>
                  <a:lnTo>
                    <a:pt x="151" y="173"/>
                  </a:lnTo>
                  <a:lnTo>
                    <a:pt x="147" y="177"/>
                  </a:lnTo>
                  <a:lnTo>
                    <a:pt x="144" y="178"/>
                  </a:lnTo>
                  <a:lnTo>
                    <a:pt x="140" y="179"/>
                  </a:lnTo>
                  <a:lnTo>
                    <a:pt x="137" y="182"/>
                  </a:lnTo>
                  <a:lnTo>
                    <a:pt x="135" y="187"/>
                  </a:lnTo>
                  <a:lnTo>
                    <a:pt x="132" y="189"/>
                  </a:lnTo>
                  <a:lnTo>
                    <a:pt x="130" y="188"/>
                  </a:lnTo>
                  <a:lnTo>
                    <a:pt x="131" y="186"/>
                  </a:lnTo>
                  <a:lnTo>
                    <a:pt x="131" y="177"/>
                  </a:lnTo>
                  <a:lnTo>
                    <a:pt x="132" y="174"/>
                  </a:lnTo>
                  <a:lnTo>
                    <a:pt x="133" y="170"/>
                  </a:lnTo>
                  <a:lnTo>
                    <a:pt x="133" y="164"/>
                  </a:lnTo>
                  <a:lnTo>
                    <a:pt x="133" y="161"/>
                  </a:lnTo>
                  <a:lnTo>
                    <a:pt x="131" y="158"/>
                  </a:lnTo>
                  <a:lnTo>
                    <a:pt x="131" y="155"/>
                  </a:lnTo>
                  <a:lnTo>
                    <a:pt x="131" y="151"/>
                  </a:lnTo>
                  <a:lnTo>
                    <a:pt x="132" y="149"/>
                  </a:lnTo>
                  <a:lnTo>
                    <a:pt x="134" y="145"/>
                  </a:lnTo>
                  <a:lnTo>
                    <a:pt x="131" y="142"/>
                  </a:lnTo>
                  <a:lnTo>
                    <a:pt x="127" y="139"/>
                  </a:lnTo>
                  <a:lnTo>
                    <a:pt x="123" y="139"/>
                  </a:lnTo>
                  <a:lnTo>
                    <a:pt x="120" y="145"/>
                  </a:lnTo>
                  <a:lnTo>
                    <a:pt x="120" y="150"/>
                  </a:lnTo>
                  <a:lnTo>
                    <a:pt x="116" y="153"/>
                  </a:lnTo>
                  <a:lnTo>
                    <a:pt x="114" y="156"/>
                  </a:lnTo>
                  <a:lnTo>
                    <a:pt x="108" y="151"/>
                  </a:lnTo>
                  <a:lnTo>
                    <a:pt x="103" y="149"/>
                  </a:lnTo>
                  <a:lnTo>
                    <a:pt x="98" y="148"/>
                  </a:lnTo>
                  <a:lnTo>
                    <a:pt x="95" y="150"/>
                  </a:lnTo>
                  <a:lnTo>
                    <a:pt x="93" y="147"/>
                  </a:lnTo>
                  <a:lnTo>
                    <a:pt x="91" y="144"/>
                  </a:lnTo>
                  <a:lnTo>
                    <a:pt x="89" y="141"/>
                  </a:lnTo>
                  <a:lnTo>
                    <a:pt x="89" y="136"/>
                  </a:lnTo>
                  <a:lnTo>
                    <a:pt x="87" y="133"/>
                  </a:lnTo>
                  <a:lnTo>
                    <a:pt x="83" y="133"/>
                  </a:lnTo>
                  <a:lnTo>
                    <a:pt x="82" y="130"/>
                  </a:lnTo>
                  <a:lnTo>
                    <a:pt x="79" y="129"/>
                  </a:lnTo>
                  <a:lnTo>
                    <a:pt x="78" y="127"/>
                  </a:lnTo>
                  <a:lnTo>
                    <a:pt x="75" y="122"/>
                  </a:lnTo>
                  <a:lnTo>
                    <a:pt x="75" y="119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3" y="114"/>
                  </a:lnTo>
                  <a:lnTo>
                    <a:pt x="88" y="114"/>
                  </a:lnTo>
                  <a:lnTo>
                    <a:pt x="90" y="114"/>
                  </a:lnTo>
                  <a:lnTo>
                    <a:pt x="88" y="111"/>
                  </a:lnTo>
                  <a:lnTo>
                    <a:pt x="92" y="110"/>
                  </a:lnTo>
                  <a:lnTo>
                    <a:pt x="89" y="108"/>
                  </a:lnTo>
                  <a:lnTo>
                    <a:pt x="87" y="110"/>
                  </a:lnTo>
                  <a:lnTo>
                    <a:pt x="83" y="110"/>
                  </a:lnTo>
                  <a:lnTo>
                    <a:pt x="79" y="110"/>
                  </a:lnTo>
                  <a:lnTo>
                    <a:pt x="74" y="113"/>
                  </a:lnTo>
                  <a:lnTo>
                    <a:pt x="71" y="115"/>
                  </a:lnTo>
                  <a:lnTo>
                    <a:pt x="72" y="111"/>
                  </a:lnTo>
                  <a:lnTo>
                    <a:pt x="74" y="110"/>
                  </a:lnTo>
                  <a:lnTo>
                    <a:pt x="71" y="105"/>
                  </a:lnTo>
                  <a:lnTo>
                    <a:pt x="68" y="102"/>
                  </a:lnTo>
                  <a:lnTo>
                    <a:pt x="68" y="98"/>
                  </a:lnTo>
                  <a:lnTo>
                    <a:pt x="71" y="98"/>
                  </a:lnTo>
                  <a:lnTo>
                    <a:pt x="76" y="95"/>
                  </a:lnTo>
                  <a:lnTo>
                    <a:pt x="75" y="90"/>
                  </a:lnTo>
                  <a:lnTo>
                    <a:pt x="73" y="88"/>
                  </a:lnTo>
                  <a:lnTo>
                    <a:pt x="75" y="91"/>
                  </a:lnTo>
                  <a:lnTo>
                    <a:pt x="73" y="93"/>
                  </a:lnTo>
                  <a:lnTo>
                    <a:pt x="68" y="94"/>
                  </a:lnTo>
                  <a:lnTo>
                    <a:pt x="65" y="91"/>
                  </a:lnTo>
                  <a:lnTo>
                    <a:pt x="66" y="88"/>
                  </a:lnTo>
                  <a:lnTo>
                    <a:pt x="67" y="85"/>
                  </a:lnTo>
                  <a:lnTo>
                    <a:pt x="68" y="80"/>
                  </a:lnTo>
                  <a:lnTo>
                    <a:pt x="66" y="76"/>
                  </a:lnTo>
                  <a:lnTo>
                    <a:pt x="65" y="73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3" y="67"/>
                  </a:lnTo>
                  <a:lnTo>
                    <a:pt x="76" y="69"/>
                  </a:lnTo>
                  <a:lnTo>
                    <a:pt x="75" y="66"/>
                  </a:lnTo>
                  <a:lnTo>
                    <a:pt x="82" y="63"/>
                  </a:lnTo>
                  <a:lnTo>
                    <a:pt x="86" y="62"/>
                  </a:lnTo>
                  <a:lnTo>
                    <a:pt x="88" y="61"/>
                  </a:lnTo>
                  <a:lnTo>
                    <a:pt x="90" y="60"/>
                  </a:lnTo>
                  <a:lnTo>
                    <a:pt x="93" y="62"/>
                  </a:lnTo>
                  <a:lnTo>
                    <a:pt x="92" y="58"/>
                  </a:lnTo>
                  <a:lnTo>
                    <a:pt x="89" y="55"/>
                  </a:lnTo>
                  <a:lnTo>
                    <a:pt x="88" y="52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95" y="50"/>
                  </a:lnTo>
                  <a:lnTo>
                    <a:pt x="99" y="47"/>
                  </a:lnTo>
                  <a:lnTo>
                    <a:pt x="100" y="42"/>
                  </a:lnTo>
                  <a:lnTo>
                    <a:pt x="103" y="40"/>
                  </a:lnTo>
                  <a:lnTo>
                    <a:pt x="108" y="42"/>
                  </a:lnTo>
                  <a:lnTo>
                    <a:pt x="111" y="40"/>
                  </a:lnTo>
                  <a:lnTo>
                    <a:pt x="115" y="42"/>
                  </a:lnTo>
                  <a:lnTo>
                    <a:pt x="115" y="38"/>
                  </a:lnTo>
                  <a:lnTo>
                    <a:pt x="119" y="39"/>
                  </a:lnTo>
                  <a:lnTo>
                    <a:pt x="121" y="39"/>
                  </a:lnTo>
                  <a:lnTo>
                    <a:pt x="122" y="36"/>
                  </a:lnTo>
                  <a:lnTo>
                    <a:pt x="121" y="33"/>
                  </a:lnTo>
                  <a:lnTo>
                    <a:pt x="119" y="31"/>
                  </a:lnTo>
                  <a:lnTo>
                    <a:pt x="122" y="29"/>
                  </a:lnTo>
                  <a:lnTo>
                    <a:pt x="126" y="32"/>
                  </a:lnTo>
                  <a:lnTo>
                    <a:pt x="131" y="31"/>
                  </a:lnTo>
                  <a:lnTo>
                    <a:pt x="134" y="32"/>
                  </a:lnTo>
                  <a:lnTo>
                    <a:pt x="135" y="28"/>
                  </a:lnTo>
                  <a:lnTo>
                    <a:pt x="139" y="29"/>
                  </a:lnTo>
                  <a:lnTo>
                    <a:pt x="149" y="29"/>
                  </a:lnTo>
                  <a:lnTo>
                    <a:pt x="149" y="26"/>
                  </a:lnTo>
                  <a:lnTo>
                    <a:pt x="155" y="24"/>
                  </a:lnTo>
                  <a:lnTo>
                    <a:pt x="153" y="21"/>
                  </a:lnTo>
                  <a:lnTo>
                    <a:pt x="151" y="18"/>
                  </a:lnTo>
                  <a:lnTo>
                    <a:pt x="149" y="13"/>
                  </a:lnTo>
                  <a:lnTo>
                    <a:pt x="153" y="16"/>
                  </a:lnTo>
                  <a:lnTo>
                    <a:pt x="158" y="19"/>
                  </a:lnTo>
                  <a:lnTo>
                    <a:pt x="161" y="20"/>
                  </a:lnTo>
                  <a:lnTo>
                    <a:pt x="162" y="17"/>
                  </a:lnTo>
                  <a:lnTo>
                    <a:pt x="161" y="14"/>
                  </a:lnTo>
                  <a:lnTo>
                    <a:pt x="160" y="11"/>
                  </a:lnTo>
                  <a:lnTo>
                    <a:pt x="164" y="11"/>
                  </a:lnTo>
                  <a:lnTo>
                    <a:pt x="166" y="16"/>
                  </a:lnTo>
                  <a:lnTo>
                    <a:pt x="167" y="17"/>
                  </a:lnTo>
                  <a:lnTo>
                    <a:pt x="168" y="17"/>
                  </a:lnTo>
                  <a:lnTo>
                    <a:pt x="169" y="13"/>
                  </a:lnTo>
                  <a:lnTo>
                    <a:pt x="172" y="13"/>
                  </a:lnTo>
                  <a:lnTo>
                    <a:pt x="173" y="10"/>
                  </a:lnTo>
                  <a:lnTo>
                    <a:pt x="176" y="10"/>
                  </a:lnTo>
                  <a:lnTo>
                    <a:pt x="188" y="11"/>
                  </a:lnTo>
                  <a:lnTo>
                    <a:pt x="191" y="11"/>
                  </a:lnTo>
                  <a:lnTo>
                    <a:pt x="194" y="11"/>
                  </a:lnTo>
                  <a:lnTo>
                    <a:pt x="197" y="12"/>
                  </a:lnTo>
                  <a:lnTo>
                    <a:pt x="201" y="12"/>
                  </a:lnTo>
                  <a:lnTo>
                    <a:pt x="204" y="9"/>
                  </a:lnTo>
                  <a:lnTo>
                    <a:pt x="208" y="10"/>
                  </a:lnTo>
                  <a:lnTo>
                    <a:pt x="215" y="14"/>
                  </a:lnTo>
                  <a:lnTo>
                    <a:pt x="218" y="16"/>
                  </a:lnTo>
                  <a:lnTo>
                    <a:pt x="220" y="17"/>
                  </a:lnTo>
                  <a:lnTo>
                    <a:pt x="230" y="14"/>
                  </a:lnTo>
                  <a:lnTo>
                    <a:pt x="237" y="12"/>
                  </a:lnTo>
                  <a:lnTo>
                    <a:pt x="243" y="10"/>
                  </a:lnTo>
                  <a:lnTo>
                    <a:pt x="251" y="10"/>
                  </a:lnTo>
                  <a:lnTo>
                    <a:pt x="258" y="9"/>
                  </a:lnTo>
                  <a:lnTo>
                    <a:pt x="265" y="9"/>
                  </a:lnTo>
                  <a:lnTo>
                    <a:pt x="269" y="6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AB5905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57" name="FI">
              <a:extLst>
                <a:ext uri="{FF2B5EF4-FFF2-40B4-BE49-F238E27FC236}">
                  <a16:creationId xmlns:a16="http://schemas.microsoft.com/office/drawing/2014/main" id="{767EC9CE-E088-C1FD-5CC6-3F1A4BCFEE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17222" y="1019662"/>
              <a:ext cx="1045244" cy="1774756"/>
            </a:xfrm>
            <a:custGeom>
              <a:avLst/>
              <a:gdLst>
                <a:gd name="T0" fmla="*/ 175 w 548"/>
                <a:gd name="T1" fmla="*/ 954 h 974"/>
                <a:gd name="T2" fmla="*/ 168 w 548"/>
                <a:gd name="T3" fmla="*/ 949 h 974"/>
                <a:gd name="T4" fmla="*/ 199 w 548"/>
                <a:gd name="T5" fmla="*/ 943 h 974"/>
                <a:gd name="T6" fmla="*/ 193 w 548"/>
                <a:gd name="T7" fmla="*/ 935 h 974"/>
                <a:gd name="T8" fmla="*/ 215 w 548"/>
                <a:gd name="T9" fmla="*/ 932 h 974"/>
                <a:gd name="T10" fmla="*/ 228 w 548"/>
                <a:gd name="T11" fmla="*/ 954 h 974"/>
                <a:gd name="T12" fmla="*/ 206 w 548"/>
                <a:gd name="T13" fmla="*/ 927 h 974"/>
                <a:gd name="T14" fmla="*/ 189 w 548"/>
                <a:gd name="T15" fmla="*/ 932 h 974"/>
                <a:gd name="T16" fmla="*/ 162 w 548"/>
                <a:gd name="T17" fmla="*/ 917 h 974"/>
                <a:gd name="T18" fmla="*/ 371 w 548"/>
                <a:gd name="T19" fmla="*/ 910 h 974"/>
                <a:gd name="T20" fmla="*/ 401 w 548"/>
                <a:gd name="T21" fmla="*/ 879 h 974"/>
                <a:gd name="T22" fmla="*/ 153 w 548"/>
                <a:gd name="T23" fmla="*/ 816 h 974"/>
                <a:gd name="T24" fmla="*/ 111 w 548"/>
                <a:gd name="T25" fmla="*/ 674 h 974"/>
                <a:gd name="T26" fmla="*/ 155 w 548"/>
                <a:gd name="T27" fmla="*/ 660 h 974"/>
                <a:gd name="T28" fmla="*/ 167 w 548"/>
                <a:gd name="T29" fmla="*/ 615 h 974"/>
                <a:gd name="T30" fmla="*/ 220 w 548"/>
                <a:gd name="T31" fmla="*/ 484 h 974"/>
                <a:gd name="T32" fmla="*/ 265 w 548"/>
                <a:gd name="T33" fmla="*/ 67 h 974"/>
                <a:gd name="T34" fmla="*/ 286 w 548"/>
                <a:gd name="T35" fmla="*/ 160 h 974"/>
                <a:gd name="T36" fmla="*/ 336 w 548"/>
                <a:gd name="T37" fmla="*/ 271 h 974"/>
                <a:gd name="T38" fmla="*/ 404 w 548"/>
                <a:gd name="T39" fmla="*/ 358 h 974"/>
                <a:gd name="T40" fmla="*/ 412 w 548"/>
                <a:gd name="T41" fmla="*/ 415 h 974"/>
                <a:gd name="T42" fmla="*/ 436 w 548"/>
                <a:gd name="T43" fmla="*/ 472 h 974"/>
                <a:gd name="T44" fmla="*/ 474 w 548"/>
                <a:gd name="T45" fmla="*/ 513 h 974"/>
                <a:gd name="T46" fmla="*/ 529 w 548"/>
                <a:gd name="T47" fmla="*/ 585 h 974"/>
                <a:gd name="T48" fmla="*/ 535 w 548"/>
                <a:gd name="T49" fmla="*/ 667 h 974"/>
                <a:gd name="T50" fmla="*/ 488 w 548"/>
                <a:gd name="T51" fmla="*/ 787 h 974"/>
                <a:gd name="T52" fmla="*/ 451 w 548"/>
                <a:gd name="T53" fmla="*/ 861 h 974"/>
                <a:gd name="T54" fmla="*/ 411 w 548"/>
                <a:gd name="T55" fmla="*/ 876 h 974"/>
                <a:gd name="T56" fmla="*/ 394 w 548"/>
                <a:gd name="T57" fmla="*/ 878 h 974"/>
                <a:gd name="T58" fmla="*/ 381 w 548"/>
                <a:gd name="T59" fmla="*/ 894 h 974"/>
                <a:gd name="T60" fmla="*/ 362 w 548"/>
                <a:gd name="T61" fmla="*/ 904 h 974"/>
                <a:gd name="T62" fmla="*/ 329 w 548"/>
                <a:gd name="T63" fmla="*/ 925 h 974"/>
                <a:gd name="T64" fmla="*/ 306 w 548"/>
                <a:gd name="T65" fmla="*/ 936 h 974"/>
                <a:gd name="T66" fmla="*/ 267 w 548"/>
                <a:gd name="T67" fmla="*/ 951 h 974"/>
                <a:gd name="T68" fmla="*/ 261 w 548"/>
                <a:gd name="T69" fmla="*/ 951 h 974"/>
                <a:gd name="T70" fmla="*/ 242 w 548"/>
                <a:gd name="T71" fmla="*/ 944 h 974"/>
                <a:gd name="T72" fmla="*/ 224 w 548"/>
                <a:gd name="T73" fmla="*/ 933 h 974"/>
                <a:gd name="T74" fmla="*/ 189 w 548"/>
                <a:gd name="T75" fmla="*/ 916 h 974"/>
                <a:gd name="T76" fmla="*/ 172 w 548"/>
                <a:gd name="T77" fmla="*/ 915 h 974"/>
                <a:gd name="T78" fmla="*/ 159 w 548"/>
                <a:gd name="T79" fmla="*/ 882 h 974"/>
                <a:gd name="T80" fmla="*/ 154 w 548"/>
                <a:gd name="T81" fmla="*/ 839 h 974"/>
                <a:gd name="T82" fmla="*/ 147 w 548"/>
                <a:gd name="T83" fmla="*/ 804 h 974"/>
                <a:gd name="T84" fmla="*/ 129 w 548"/>
                <a:gd name="T85" fmla="*/ 749 h 974"/>
                <a:gd name="T86" fmla="*/ 124 w 548"/>
                <a:gd name="T87" fmla="*/ 706 h 974"/>
                <a:gd name="T88" fmla="*/ 135 w 548"/>
                <a:gd name="T89" fmla="*/ 671 h 974"/>
                <a:gd name="T90" fmla="*/ 156 w 548"/>
                <a:gd name="T91" fmla="*/ 646 h 974"/>
                <a:gd name="T92" fmla="*/ 171 w 548"/>
                <a:gd name="T93" fmla="*/ 625 h 974"/>
                <a:gd name="T94" fmla="*/ 189 w 548"/>
                <a:gd name="T95" fmla="*/ 588 h 974"/>
                <a:gd name="T96" fmla="*/ 206 w 548"/>
                <a:gd name="T97" fmla="*/ 546 h 974"/>
                <a:gd name="T98" fmla="*/ 226 w 548"/>
                <a:gd name="T99" fmla="*/ 499 h 974"/>
                <a:gd name="T100" fmla="*/ 247 w 548"/>
                <a:gd name="T101" fmla="*/ 473 h 974"/>
                <a:gd name="T102" fmla="*/ 224 w 548"/>
                <a:gd name="T103" fmla="*/ 427 h 974"/>
                <a:gd name="T104" fmla="*/ 192 w 548"/>
                <a:gd name="T105" fmla="*/ 415 h 974"/>
                <a:gd name="T106" fmla="*/ 154 w 548"/>
                <a:gd name="T107" fmla="*/ 366 h 974"/>
                <a:gd name="T108" fmla="*/ 144 w 548"/>
                <a:gd name="T109" fmla="*/ 310 h 974"/>
                <a:gd name="T110" fmla="*/ 123 w 548"/>
                <a:gd name="T111" fmla="*/ 261 h 974"/>
                <a:gd name="T112" fmla="*/ 105 w 548"/>
                <a:gd name="T113" fmla="*/ 208 h 974"/>
                <a:gd name="T114" fmla="*/ 55 w 548"/>
                <a:gd name="T115" fmla="*/ 183 h 974"/>
                <a:gd name="T116" fmla="*/ 0 w 548"/>
                <a:gd name="T117" fmla="*/ 144 h 974"/>
                <a:gd name="T118" fmla="*/ 86 w 548"/>
                <a:gd name="T119" fmla="*/ 161 h 974"/>
                <a:gd name="T120" fmla="*/ 152 w 548"/>
                <a:gd name="T121" fmla="*/ 157 h 974"/>
                <a:gd name="T122" fmla="*/ 166 w 548"/>
                <a:gd name="T123" fmla="*/ 99 h 974"/>
                <a:gd name="T124" fmla="*/ 171 w 548"/>
                <a:gd name="T125" fmla="*/ 33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8" h="974">
                  <a:moveTo>
                    <a:pt x="218" y="952"/>
                  </a:moveTo>
                  <a:lnTo>
                    <a:pt x="220" y="953"/>
                  </a:lnTo>
                  <a:lnTo>
                    <a:pt x="220" y="957"/>
                  </a:lnTo>
                  <a:lnTo>
                    <a:pt x="221" y="959"/>
                  </a:lnTo>
                  <a:lnTo>
                    <a:pt x="218" y="959"/>
                  </a:lnTo>
                  <a:lnTo>
                    <a:pt x="216" y="957"/>
                  </a:lnTo>
                  <a:lnTo>
                    <a:pt x="215" y="954"/>
                  </a:lnTo>
                  <a:lnTo>
                    <a:pt x="218" y="952"/>
                  </a:lnTo>
                  <a:close/>
                  <a:moveTo>
                    <a:pt x="178" y="951"/>
                  </a:moveTo>
                  <a:lnTo>
                    <a:pt x="182" y="951"/>
                  </a:lnTo>
                  <a:lnTo>
                    <a:pt x="182" y="953"/>
                  </a:lnTo>
                  <a:lnTo>
                    <a:pt x="182" y="956"/>
                  </a:lnTo>
                  <a:lnTo>
                    <a:pt x="179" y="956"/>
                  </a:lnTo>
                  <a:lnTo>
                    <a:pt x="176" y="957"/>
                  </a:lnTo>
                  <a:lnTo>
                    <a:pt x="178" y="955"/>
                  </a:lnTo>
                  <a:lnTo>
                    <a:pt x="175" y="954"/>
                  </a:lnTo>
                  <a:lnTo>
                    <a:pt x="178" y="951"/>
                  </a:lnTo>
                  <a:close/>
                  <a:moveTo>
                    <a:pt x="242" y="949"/>
                  </a:moveTo>
                  <a:lnTo>
                    <a:pt x="242" y="952"/>
                  </a:lnTo>
                  <a:lnTo>
                    <a:pt x="241" y="955"/>
                  </a:lnTo>
                  <a:lnTo>
                    <a:pt x="240" y="952"/>
                  </a:lnTo>
                  <a:lnTo>
                    <a:pt x="242" y="949"/>
                  </a:lnTo>
                  <a:close/>
                  <a:moveTo>
                    <a:pt x="288" y="949"/>
                  </a:moveTo>
                  <a:lnTo>
                    <a:pt x="289" y="950"/>
                  </a:lnTo>
                  <a:lnTo>
                    <a:pt x="287" y="952"/>
                  </a:lnTo>
                  <a:lnTo>
                    <a:pt x="288" y="949"/>
                  </a:lnTo>
                  <a:close/>
                  <a:moveTo>
                    <a:pt x="168" y="949"/>
                  </a:moveTo>
                  <a:lnTo>
                    <a:pt x="169" y="950"/>
                  </a:lnTo>
                  <a:lnTo>
                    <a:pt x="172" y="950"/>
                  </a:lnTo>
                  <a:lnTo>
                    <a:pt x="169" y="952"/>
                  </a:lnTo>
                  <a:lnTo>
                    <a:pt x="167" y="952"/>
                  </a:lnTo>
                  <a:lnTo>
                    <a:pt x="168" y="949"/>
                  </a:lnTo>
                  <a:close/>
                  <a:moveTo>
                    <a:pt x="191" y="946"/>
                  </a:moveTo>
                  <a:lnTo>
                    <a:pt x="192" y="947"/>
                  </a:lnTo>
                  <a:lnTo>
                    <a:pt x="191" y="949"/>
                  </a:lnTo>
                  <a:lnTo>
                    <a:pt x="188" y="950"/>
                  </a:lnTo>
                  <a:lnTo>
                    <a:pt x="189" y="953"/>
                  </a:lnTo>
                  <a:lnTo>
                    <a:pt x="186" y="955"/>
                  </a:lnTo>
                  <a:lnTo>
                    <a:pt x="185" y="952"/>
                  </a:lnTo>
                  <a:lnTo>
                    <a:pt x="184" y="949"/>
                  </a:lnTo>
                  <a:lnTo>
                    <a:pt x="188" y="946"/>
                  </a:lnTo>
                  <a:lnTo>
                    <a:pt x="191" y="946"/>
                  </a:lnTo>
                  <a:close/>
                  <a:moveTo>
                    <a:pt x="199" y="943"/>
                  </a:moveTo>
                  <a:lnTo>
                    <a:pt x="198" y="947"/>
                  </a:lnTo>
                  <a:lnTo>
                    <a:pt x="199" y="950"/>
                  </a:lnTo>
                  <a:lnTo>
                    <a:pt x="196" y="950"/>
                  </a:lnTo>
                  <a:lnTo>
                    <a:pt x="195" y="947"/>
                  </a:lnTo>
                  <a:lnTo>
                    <a:pt x="199" y="943"/>
                  </a:lnTo>
                  <a:close/>
                  <a:moveTo>
                    <a:pt x="178" y="943"/>
                  </a:moveTo>
                  <a:lnTo>
                    <a:pt x="179" y="945"/>
                  </a:lnTo>
                  <a:lnTo>
                    <a:pt x="177" y="943"/>
                  </a:lnTo>
                  <a:lnTo>
                    <a:pt x="178" y="943"/>
                  </a:lnTo>
                  <a:close/>
                  <a:moveTo>
                    <a:pt x="214" y="941"/>
                  </a:moveTo>
                  <a:lnTo>
                    <a:pt x="213" y="945"/>
                  </a:lnTo>
                  <a:lnTo>
                    <a:pt x="213" y="947"/>
                  </a:lnTo>
                  <a:lnTo>
                    <a:pt x="211" y="944"/>
                  </a:lnTo>
                  <a:lnTo>
                    <a:pt x="214" y="941"/>
                  </a:lnTo>
                  <a:close/>
                  <a:moveTo>
                    <a:pt x="208" y="938"/>
                  </a:moveTo>
                  <a:lnTo>
                    <a:pt x="210" y="940"/>
                  </a:lnTo>
                  <a:lnTo>
                    <a:pt x="209" y="943"/>
                  </a:lnTo>
                  <a:lnTo>
                    <a:pt x="208" y="944"/>
                  </a:lnTo>
                  <a:lnTo>
                    <a:pt x="207" y="941"/>
                  </a:lnTo>
                  <a:lnTo>
                    <a:pt x="208" y="938"/>
                  </a:lnTo>
                  <a:close/>
                  <a:moveTo>
                    <a:pt x="193" y="935"/>
                  </a:moveTo>
                  <a:lnTo>
                    <a:pt x="194" y="938"/>
                  </a:lnTo>
                  <a:lnTo>
                    <a:pt x="190" y="936"/>
                  </a:lnTo>
                  <a:lnTo>
                    <a:pt x="193" y="935"/>
                  </a:lnTo>
                  <a:close/>
                  <a:moveTo>
                    <a:pt x="207" y="933"/>
                  </a:moveTo>
                  <a:lnTo>
                    <a:pt x="210" y="933"/>
                  </a:lnTo>
                  <a:lnTo>
                    <a:pt x="211" y="934"/>
                  </a:lnTo>
                  <a:lnTo>
                    <a:pt x="209" y="936"/>
                  </a:lnTo>
                  <a:lnTo>
                    <a:pt x="206" y="938"/>
                  </a:lnTo>
                  <a:lnTo>
                    <a:pt x="204" y="936"/>
                  </a:lnTo>
                  <a:lnTo>
                    <a:pt x="200" y="938"/>
                  </a:lnTo>
                  <a:lnTo>
                    <a:pt x="199" y="935"/>
                  </a:lnTo>
                  <a:lnTo>
                    <a:pt x="207" y="933"/>
                  </a:lnTo>
                  <a:close/>
                  <a:moveTo>
                    <a:pt x="210" y="929"/>
                  </a:moveTo>
                  <a:lnTo>
                    <a:pt x="214" y="929"/>
                  </a:lnTo>
                  <a:lnTo>
                    <a:pt x="216" y="929"/>
                  </a:lnTo>
                  <a:lnTo>
                    <a:pt x="215" y="932"/>
                  </a:lnTo>
                  <a:lnTo>
                    <a:pt x="212" y="933"/>
                  </a:lnTo>
                  <a:lnTo>
                    <a:pt x="209" y="931"/>
                  </a:lnTo>
                  <a:lnTo>
                    <a:pt x="210" y="929"/>
                  </a:lnTo>
                  <a:close/>
                  <a:moveTo>
                    <a:pt x="238" y="928"/>
                  </a:moveTo>
                  <a:lnTo>
                    <a:pt x="239" y="932"/>
                  </a:lnTo>
                  <a:lnTo>
                    <a:pt x="237" y="934"/>
                  </a:lnTo>
                  <a:lnTo>
                    <a:pt x="236" y="938"/>
                  </a:lnTo>
                  <a:lnTo>
                    <a:pt x="236" y="939"/>
                  </a:lnTo>
                  <a:lnTo>
                    <a:pt x="236" y="941"/>
                  </a:lnTo>
                  <a:lnTo>
                    <a:pt x="238" y="946"/>
                  </a:lnTo>
                  <a:lnTo>
                    <a:pt x="237" y="949"/>
                  </a:lnTo>
                  <a:lnTo>
                    <a:pt x="234" y="953"/>
                  </a:lnTo>
                  <a:lnTo>
                    <a:pt x="235" y="956"/>
                  </a:lnTo>
                  <a:lnTo>
                    <a:pt x="231" y="955"/>
                  </a:lnTo>
                  <a:lnTo>
                    <a:pt x="229" y="958"/>
                  </a:lnTo>
                  <a:lnTo>
                    <a:pt x="228" y="954"/>
                  </a:lnTo>
                  <a:lnTo>
                    <a:pt x="226" y="957"/>
                  </a:lnTo>
                  <a:lnTo>
                    <a:pt x="222" y="959"/>
                  </a:lnTo>
                  <a:lnTo>
                    <a:pt x="221" y="956"/>
                  </a:lnTo>
                  <a:lnTo>
                    <a:pt x="221" y="953"/>
                  </a:lnTo>
                  <a:lnTo>
                    <a:pt x="218" y="950"/>
                  </a:lnTo>
                  <a:lnTo>
                    <a:pt x="220" y="947"/>
                  </a:lnTo>
                  <a:lnTo>
                    <a:pt x="226" y="946"/>
                  </a:lnTo>
                  <a:lnTo>
                    <a:pt x="217" y="946"/>
                  </a:lnTo>
                  <a:lnTo>
                    <a:pt x="217" y="941"/>
                  </a:lnTo>
                  <a:lnTo>
                    <a:pt x="218" y="939"/>
                  </a:lnTo>
                  <a:lnTo>
                    <a:pt x="218" y="942"/>
                  </a:lnTo>
                  <a:lnTo>
                    <a:pt x="224" y="941"/>
                  </a:lnTo>
                  <a:lnTo>
                    <a:pt x="234" y="936"/>
                  </a:lnTo>
                  <a:lnTo>
                    <a:pt x="236" y="932"/>
                  </a:lnTo>
                  <a:lnTo>
                    <a:pt x="238" y="928"/>
                  </a:lnTo>
                  <a:close/>
                  <a:moveTo>
                    <a:pt x="206" y="927"/>
                  </a:moveTo>
                  <a:lnTo>
                    <a:pt x="204" y="930"/>
                  </a:lnTo>
                  <a:lnTo>
                    <a:pt x="202" y="930"/>
                  </a:lnTo>
                  <a:lnTo>
                    <a:pt x="206" y="927"/>
                  </a:lnTo>
                  <a:close/>
                  <a:moveTo>
                    <a:pt x="203" y="926"/>
                  </a:moveTo>
                  <a:lnTo>
                    <a:pt x="204" y="927"/>
                  </a:lnTo>
                  <a:lnTo>
                    <a:pt x="200" y="930"/>
                  </a:lnTo>
                  <a:lnTo>
                    <a:pt x="203" y="926"/>
                  </a:lnTo>
                  <a:close/>
                  <a:moveTo>
                    <a:pt x="184" y="921"/>
                  </a:moveTo>
                  <a:lnTo>
                    <a:pt x="188" y="923"/>
                  </a:lnTo>
                  <a:lnTo>
                    <a:pt x="190" y="925"/>
                  </a:lnTo>
                  <a:lnTo>
                    <a:pt x="192" y="927"/>
                  </a:lnTo>
                  <a:lnTo>
                    <a:pt x="190" y="927"/>
                  </a:lnTo>
                  <a:lnTo>
                    <a:pt x="192" y="929"/>
                  </a:lnTo>
                  <a:lnTo>
                    <a:pt x="195" y="933"/>
                  </a:lnTo>
                  <a:lnTo>
                    <a:pt x="191" y="933"/>
                  </a:lnTo>
                  <a:lnTo>
                    <a:pt x="189" y="932"/>
                  </a:lnTo>
                  <a:lnTo>
                    <a:pt x="185" y="930"/>
                  </a:lnTo>
                  <a:lnTo>
                    <a:pt x="185" y="928"/>
                  </a:lnTo>
                  <a:lnTo>
                    <a:pt x="184" y="924"/>
                  </a:lnTo>
                  <a:lnTo>
                    <a:pt x="184" y="921"/>
                  </a:lnTo>
                  <a:close/>
                  <a:moveTo>
                    <a:pt x="179" y="919"/>
                  </a:moveTo>
                  <a:lnTo>
                    <a:pt x="180" y="921"/>
                  </a:lnTo>
                  <a:lnTo>
                    <a:pt x="179" y="923"/>
                  </a:lnTo>
                  <a:lnTo>
                    <a:pt x="179" y="919"/>
                  </a:lnTo>
                  <a:close/>
                  <a:moveTo>
                    <a:pt x="157" y="918"/>
                  </a:moveTo>
                  <a:lnTo>
                    <a:pt x="159" y="919"/>
                  </a:lnTo>
                  <a:lnTo>
                    <a:pt x="161" y="922"/>
                  </a:lnTo>
                  <a:lnTo>
                    <a:pt x="162" y="924"/>
                  </a:lnTo>
                  <a:lnTo>
                    <a:pt x="159" y="924"/>
                  </a:lnTo>
                  <a:lnTo>
                    <a:pt x="159" y="921"/>
                  </a:lnTo>
                  <a:lnTo>
                    <a:pt x="157" y="918"/>
                  </a:lnTo>
                  <a:close/>
                  <a:moveTo>
                    <a:pt x="162" y="917"/>
                  </a:moveTo>
                  <a:lnTo>
                    <a:pt x="167" y="918"/>
                  </a:lnTo>
                  <a:lnTo>
                    <a:pt x="168" y="921"/>
                  </a:lnTo>
                  <a:lnTo>
                    <a:pt x="168" y="924"/>
                  </a:lnTo>
                  <a:lnTo>
                    <a:pt x="165" y="923"/>
                  </a:lnTo>
                  <a:lnTo>
                    <a:pt x="163" y="919"/>
                  </a:lnTo>
                  <a:lnTo>
                    <a:pt x="162" y="917"/>
                  </a:lnTo>
                  <a:close/>
                  <a:moveTo>
                    <a:pt x="157" y="910"/>
                  </a:moveTo>
                  <a:lnTo>
                    <a:pt x="159" y="912"/>
                  </a:lnTo>
                  <a:lnTo>
                    <a:pt x="158" y="915"/>
                  </a:lnTo>
                  <a:lnTo>
                    <a:pt x="160" y="917"/>
                  </a:lnTo>
                  <a:lnTo>
                    <a:pt x="157" y="915"/>
                  </a:lnTo>
                  <a:lnTo>
                    <a:pt x="155" y="912"/>
                  </a:lnTo>
                  <a:lnTo>
                    <a:pt x="157" y="910"/>
                  </a:lnTo>
                  <a:close/>
                  <a:moveTo>
                    <a:pt x="374" y="908"/>
                  </a:moveTo>
                  <a:lnTo>
                    <a:pt x="373" y="910"/>
                  </a:lnTo>
                  <a:lnTo>
                    <a:pt x="371" y="910"/>
                  </a:lnTo>
                  <a:lnTo>
                    <a:pt x="374" y="908"/>
                  </a:lnTo>
                  <a:close/>
                  <a:moveTo>
                    <a:pt x="358" y="906"/>
                  </a:moveTo>
                  <a:lnTo>
                    <a:pt x="364" y="908"/>
                  </a:lnTo>
                  <a:lnTo>
                    <a:pt x="362" y="911"/>
                  </a:lnTo>
                  <a:lnTo>
                    <a:pt x="360" y="909"/>
                  </a:lnTo>
                  <a:lnTo>
                    <a:pt x="358" y="906"/>
                  </a:lnTo>
                  <a:close/>
                  <a:moveTo>
                    <a:pt x="154" y="890"/>
                  </a:moveTo>
                  <a:lnTo>
                    <a:pt x="151" y="891"/>
                  </a:lnTo>
                  <a:lnTo>
                    <a:pt x="152" y="890"/>
                  </a:lnTo>
                  <a:lnTo>
                    <a:pt x="154" y="890"/>
                  </a:lnTo>
                  <a:close/>
                  <a:moveTo>
                    <a:pt x="401" y="879"/>
                  </a:moveTo>
                  <a:lnTo>
                    <a:pt x="403" y="880"/>
                  </a:lnTo>
                  <a:lnTo>
                    <a:pt x="401" y="883"/>
                  </a:lnTo>
                  <a:lnTo>
                    <a:pt x="400" y="886"/>
                  </a:lnTo>
                  <a:lnTo>
                    <a:pt x="398" y="884"/>
                  </a:lnTo>
                  <a:lnTo>
                    <a:pt x="401" y="879"/>
                  </a:lnTo>
                  <a:close/>
                  <a:moveTo>
                    <a:pt x="154" y="879"/>
                  </a:moveTo>
                  <a:lnTo>
                    <a:pt x="157" y="882"/>
                  </a:lnTo>
                  <a:lnTo>
                    <a:pt x="156" y="886"/>
                  </a:lnTo>
                  <a:lnTo>
                    <a:pt x="154" y="887"/>
                  </a:lnTo>
                  <a:lnTo>
                    <a:pt x="155" y="884"/>
                  </a:lnTo>
                  <a:lnTo>
                    <a:pt x="152" y="881"/>
                  </a:lnTo>
                  <a:lnTo>
                    <a:pt x="154" y="879"/>
                  </a:lnTo>
                  <a:close/>
                  <a:moveTo>
                    <a:pt x="152" y="857"/>
                  </a:moveTo>
                  <a:lnTo>
                    <a:pt x="154" y="858"/>
                  </a:lnTo>
                  <a:lnTo>
                    <a:pt x="156" y="860"/>
                  </a:lnTo>
                  <a:lnTo>
                    <a:pt x="153" y="860"/>
                  </a:lnTo>
                  <a:lnTo>
                    <a:pt x="152" y="857"/>
                  </a:lnTo>
                  <a:close/>
                  <a:moveTo>
                    <a:pt x="153" y="816"/>
                  </a:moveTo>
                  <a:lnTo>
                    <a:pt x="152" y="818"/>
                  </a:lnTo>
                  <a:lnTo>
                    <a:pt x="149" y="817"/>
                  </a:lnTo>
                  <a:lnTo>
                    <a:pt x="153" y="816"/>
                  </a:lnTo>
                  <a:close/>
                  <a:moveTo>
                    <a:pt x="114" y="693"/>
                  </a:moveTo>
                  <a:lnTo>
                    <a:pt x="118" y="696"/>
                  </a:lnTo>
                  <a:lnTo>
                    <a:pt x="118" y="698"/>
                  </a:lnTo>
                  <a:lnTo>
                    <a:pt x="115" y="696"/>
                  </a:lnTo>
                  <a:lnTo>
                    <a:pt x="114" y="693"/>
                  </a:lnTo>
                  <a:close/>
                  <a:moveTo>
                    <a:pt x="112" y="667"/>
                  </a:moveTo>
                  <a:lnTo>
                    <a:pt x="113" y="671"/>
                  </a:lnTo>
                  <a:lnTo>
                    <a:pt x="116" y="672"/>
                  </a:lnTo>
                  <a:lnTo>
                    <a:pt x="117" y="669"/>
                  </a:lnTo>
                  <a:lnTo>
                    <a:pt x="120" y="668"/>
                  </a:lnTo>
                  <a:lnTo>
                    <a:pt x="122" y="671"/>
                  </a:lnTo>
                  <a:lnTo>
                    <a:pt x="121" y="674"/>
                  </a:lnTo>
                  <a:lnTo>
                    <a:pt x="117" y="676"/>
                  </a:lnTo>
                  <a:lnTo>
                    <a:pt x="116" y="679"/>
                  </a:lnTo>
                  <a:lnTo>
                    <a:pt x="114" y="676"/>
                  </a:lnTo>
                  <a:lnTo>
                    <a:pt x="111" y="674"/>
                  </a:lnTo>
                  <a:lnTo>
                    <a:pt x="107" y="668"/>
                  </a:lnTo>
                  <a:lnTo>
                    <a:pt x="107" y="667"/>
                  </a:lnTo>
                  <a:lnTo>
                    <a:pt x="109" y="669"/>
                  </a:lnTo>
                  <a:lnTo>
                    <a:pt x="112" y="667"/>
                  </a:lnTo>
                  <a:close/>
                  <a:moveTo>
                    <a:pt x="117" y="659"/>
                  </a:moveTo>
                  <a:lnTo>
                    <a:pt x="118" y="661"/>
                  </a:lnTo>
                  <a:lnTo>
                    <a:pt x="118" y="663"/>
                  </a:lnTo>
                  <a:lnTo>
                    <a:pt x="117" y="666"/>
                  </a:lnTo>
                  <a:lnTo>
                    <a:pt x="113" y="663"/>
                  </a:lnTo>
                  <a:lnTo>
                    <a:pt x="117" y="659"/>
                  </a:lnTo>
                  <a:close/>
                  <a:moveTo>
                    <a:pt x="146" y="658"/>
                  </a:moveTo>
                  <a:lnTo>
                    <a:pt x="147" y="661"/>
                  </a:lnTo>
                  <a:lnTo>
                    <a:pt x="144" y="659"/>
                  </a:lnTo>
                  <a:lnTo>
                    <a:pt x="146" y="658"/>
                  </a:lnTo>
                  <a:close/>
                  <a:moveTo>
                    <a:pt x="155" y="657"/>
                  </a:moveTo>
                  <a:lnTo>
                    <a:pt x="155" y="660"/>
                  </a:lnTo>
                  <a:lnTo>
                    <a:pt x="152" y="660"/>
                  </a:lnTo>
                  <a:lnTo>
                    <a:pt x="149" y="663"/>
                  </a:lnTo>
                  <a:lnTo>
                    <a:pt x="148" y="660"/>
                  </a:lnTo>
                  <a:lnTo>
                    <a:pt x="148" y="657"/>
                  </a:lnTo>
                  <a:lnTo>
                    <a:pt x="152" y="657"/>
                  </a:lnTo>
                  <a:lnTo>
                    <a:pt x="155" y="657"/>
                  </a:lnTo>
                  <a:close/>
                  <a:moveTo>
                    <a:pt x="146" y="652"/>
                  </a:moveTo>
                  <a:lnTo>
                    <a:pt x="146" y="652"/>
                  </a:lnTo>
                  <a:lnTo>
                    <a:pt x="145" y="654"/>
                  </a:lnTo>
                  <a:lnTo>
                    <a:pt x="143" y="656"/>
                  </a:lnTo>
                  <a:lnTo>
                    <a:pt x="143" y="654"/>
                  </a:lnTo>
                  <a:lnTo>
                    <a:pt x="146" y="652"/>
                  </a:lnTo>
                  <a:close/>
                  <a:moveTo>
                    <a:pt x="167" y="610"/>
                  </a:moveTo>
                  <a:lnTo>
                    <a:pt x="170" y="610"/>
                  </a:lnTo>
                  <a:lnTo>
                    <a:pt x="171" y="613"/>
                  </a:lnTo>
                  <a:lnTo>
                    <a:pt x="167" y="615"/>
                  </a:lnTo>
                  <a:lnTo>
                    <a:pt x="166" y="613"/>
                  </a:lnTo>
                  <a:lnTo>
                    <a:pt x="167" y="610"/>
                  </a:lnTo>
                  <a:close/>
                  <a:moveTo>
                    <a:pt x="232" y="477"/>
                  </a:moveTo>
                  <a:lnTo>
                    <a:pt x="230" y="477"/>
                  </a:lnTo>
                  <a:lnTo>
                    <a:pt x="229" y="477"/>
                  </a:lnTo>
                  <a:lnTo>
                    <a:pt x="232" y="477"/>
                  </a:lnTo>
                  <a:close/>
                  <a:moveTo>
                    <a:pt x="226" y="475"/>
                  </a:moveTo>
                  <a:lnTo>
                    <a:pt x="227" y="477"/>
                  </a:lnTo>
                  <a:lnTo>
                    <a:pt x="229" y="477"/>
                  </a:lnTo>
                  <a:lnTo>
                    <a:pt x="225" y="477"/>
                  </a:lnTo>
                  <a:lnTo>
                    <a:pt x="227" y="481"/>
                  </a:lnTo>
                  <a:lnTo>
                    <a:pt x="227" y="484"/>
                  </a:lnTo>
                  <a:lnTo>
                    <a:pt x="224" y="488"/>
                  </a:lnTo>
                  <a:lnTo>
                    <a:pt x="221" y="484"/>
                  </a:lnTo>
                  <a:lnTo>
                    <a:pt x="224" y="482"/>
                  </a:lnTo>
                  <a:lnTo>
                    <a:pt x="220" y="484"/>
                  </a:lnTo>
                  <a:lnTo>
                    <a:pt x="219" y="488"/>
                  </a:lnTo>
                  <a:lnTo>
                    <a:pt x="215" y="483"/>
                  </a:lnTo>
                  <a:lnTo>
                    <a:pt x="215" y="480"/>
                  </a:lnTo>
                  <a:lnTo>
                    <a:pt x="221" y="476"/>
                  </a:lnTo>
                  <a:lnTo>
                    <a:pt x="226" y="475"/>
                  </a:lnTo>
                  <a:close/>
                  <a:moveTo>
                    <a:pt x="211" y="0"/>
                  </a:moveTo>
                  <a:lnTo>
                    <a:pt x="215" y="4"/>
                  </a:lnTo>
                  <a:lnTo>
                    <a:pt x="225" y="14"/>
                  </a:lnTo>
                  <a:lnTo>
                    <a:pt x="233" y="15"/>
                  </a:lnTo>
                  <a:lnTo>
                    <a:pt x="234" y="18"/>
                  </a:lnTo>
                  <a:lnTo>
                    <a:pt x="236" y="21"/>
                  </a:lnTo>
                  <a:lnTo>
                    <a:pt x="261" y="25"/>
                  </a:lnTo>
                  <a:lnTo>
                    <a:pt x="266" y="32"/>
                  </a:lnTo>
                  <a:lnTo>
                    <a:pt x="273" y="41"/>
                  </a:lnTo>
                  <a:lnTo>
                    <a:pt x="272" y="50"/>
                  </a:lnTo>
                  <a:lnTo>
                    <a:pt x="265" y="67"/>
                  </a:lnTo>
                  <a:lnTo>
                    <a:pt x="266" y="71"/>
                  </a:lnTo>
                  <a:lnTo>
                    <a:pt x="267" y="78"/>
                  </a:lnTo>
                  <a:lnTo>
                    <a:pt x="273" y="84"/>
                  </a:lnTo>
                  <a:lnTo>
                    <a:pt x="271" y="89"/>
                  </a:lnTo>
                  <a:lnTo>
                    <a:pt x="267" y="91"/>
                  </a:lnTo>
                  <a:lnTo>
                    <a:pt x="261" y="100"/>
                  </a:lnTo>
                  <a:lnTo>
                    <a:pt x="261" y="103"/>
                  </a:lnTo>
                  <a:lnTo>
                    <a:pt x="268" y="100"/>
                  </a:lnTo>
                  <a:lnTo>
                    <a:pt x="271" y="100"/>
                  </a:lnTo>
                  <a:lnTo>
                    <a:pt x="274" y="102"/>
                  </a:lnTo>
                  <a:lnTo>
                    <a:pt x="274" y="109"/>
                  </a:lnTo>
                  <a:lnTo>
                    <a:pt x="274" y="112"/>
                  </a:lnTo>
                  <a:lnTo>
                    <a:pt x="271" y="131"/>
                  </a:lnTo>
                  <a:lnTo>
                    <a:pt x="272" y="136"/>
                  </a:lnTo>
                  <a:lnTo>
                    <a:pt x="273" y="138"/>
                  </a:lnTo>
                  <a:lnTo>
                    <a:pt x="286" y="160"/>
                  </a:lnTo>
                  <a:lnTo>
                    <a:pt x="289" y="162"/>
                  </a:lnTo>
                  <a:lnTo>
                    <a:pt x="312" y="165"/>
                  </a:lnTo>
                  <a:lnTo>
                    <a:pt x="315" y="166"/>
                  </a:lnTo>
                  <a:lnTo>
                    <a:pt x="319" y="171"/>
                  </a:lnTo>
                  <a:lnTo>
                    <a:pt x="321" y="174"/>
                  </a:lnTo>
                  <a:lnTo>
                    <a:pt x="331" y="184"/>
                  </a:lnTo>
                  <a:lnTo>
                    <a:pt x="334" y="186"/>
                  </a:lnTo>
                  <a:lnTo>
                    <a:pt x="347" y="192"/>
                  </a:lnTo>
                  <a:lnTo>
                    <a:pt x="347" y="196"/>
                  </a:lnTo>
                  <a:lnTo>
                    <a:pt x="348" y="202"/>
                  </a:lnTo>
                  <a:lnTo>
                    <a:pt x="349" y="207"/>
                  </a:lnTo>
                  <a:lnTo>
                    <a:pt x="341" y="232"/>
                  </a:lnTo>
                  <a:lnTo>
                    <a:pt x="341" y="236"/>
                  </a:lnTo>
                  <a:lnTo>
                    <a:pt x="340" y="239"/>
                  </a:lnTo>
                  <a:lnTo>
                    <a:pt x="335" y="263"/>
                  </a:lnTo>
                  <a:lnTo>
                    <a:pt x="336" y="271"/>
                  </a:lnTo>
                  <a:lnTo>
                    <a:pt x="339" y="277"/>
                  </a:lnTo>
                  <a:lnTo>
                    <a:pt x="352" y="290"/>
                  </a:lnTo>
                  <a:lnTo>
                    <a:pt x="355" y="294"/>
                  </a:lnTo>
                  <a:lnTo>
                    <a:pt x="357" y="296"/>
                  </a:lnTo>
                  <a:lnTo>
                    <a:pt x="364" y="304"/>
                  </a:lnTo>
                  <a:lnTo>
                    <a:pt x="367" y="311"/>
                  </a:lnTo>
                  <a:lnTo>
                    <a:pt x="370" y="313"/>
                  </a:lnTo>
                  <a:lnTo>
                    <a:pt x="372" y="316"/>
                  </a:lnTo>
                  <a:lnTo>
                    <a:pt x="375" y="321"/>
                  </a:lnTo>
                  <a:lnTo>
                    <a:pt x="383" y="328"/>
                  </a:lnTo>
                  <a:lnTo>
                    <a:pt x="388" y="332"/>
                  </a:lnTo>
                  <a:lnTo>
                    <a:pt x="391" y="337"/>
                  </a:lnTo>
                  <a:lnTo>
                    <a:pt x="394" y="343"/>
                  </a:lnTo>
                  <a:lnTo>
                    <a:pt x="398" y="348"/>
                  </a:lnTo>
                  <a:lnTo>
                    <a:pt x="401" y="355"/>
                  </a:lnTo>
                  <a:lnTo>
                    <a:pt x="404" y="358"/>
                  </a:lnTo>
                  <a:lnTo>
                    <a:pt x="408" y="367"/>
                  </a:lnTo>
                  <a:lnTo>
                    <a:pt x="409" y="371"/>
                  </a:lnTo>
                  <a:lnTo>
                    <a:pt x="405" y="371"/>
                  </a:lnTo>
                  <a:lnTo>
                    <a:pt x="397" y="377"/>
                  </a:lnTo>
                  <a:lnTo>
                    <a:pt x="396" y="379"/>
                  </a:lnTo>
                  <a:lnTo>
                    <a:pt x="401" y="382"/>
                  </a:lnTo>
                  <a:lnTo>
                    <a:pt x="402" y="384"/>
                  </a:lnTo>
                  <a:lnTo>
                    <a:pt x="400" y="389"/>
                  </a:lnTo>
                  <a:lnTo>
                    <a:pt x="401" y="394"/>
                  </a:lnTo>
                  <a:lnTo>
                    <a:pt x="404" y="402"/>
                  </a:lnTo>
                  <a:lnTo>
                    <a:pt x="405" y="405"/>
                  </a:lnTo>
                  <a:lnTo>
                    <a:pt x="402" y="411"/>
                  </a:lnTo>
                  <a:lnTo>
                    <a:pt x="402" y="415"/>
                  </a:lnTo>
                  <a:lnTo>
                    <a:pt x="404" y="416"/>
                  </a:lnTo>
                  <a:lnTo>
                    <a:pt x="409" y="414"/>
                  </a:lnTo>
                  <a:lnTo>
                    <a:pt x="412" y="415"/>
                  </a:lnTo>
                  <a:lnTo>
                    <a:pt x="413" y="419"/>
                  </a:lnTo>
                  <a:lnTo>
                    <a:pt x="413" y="422"/>
                  </a:lnTo>
                  <a:lnTo>
                    <a:pt x="410" y="429"/>
                  </a:lnTo>
                  <a:lnTo>
                    <a:pt x="409" y="437"/>
                  </a:lnTo>
                  <a:lnTo>
                    <a:pt x="413" y="444"/>
                  </a:lnTo>
                  <a:lnTo>
                    <a:pt x="417" y="449"/>
                  </a:lnTo>
                  <a:lnTo>
                    <a:pt x="422" y="452"/>
                  </a:lnTo>
                  <a:lnTo>
                    <a:pt x="426" y="452"/>
                  </a:lnTo>
                  <a:lnTo>
                    <a:pt x="433" y="450"/>
                  </a:lnTo>
                  <a:lnTo>
                    <a:pt x="436" y="453"/>
                  </a:lnTo>
                  <a:lnTo>
                    <a:pt x="437" y="456"/>
                  </a:lnTo>
                  <a:lnTo>
                    <a:pt x="441" y="458"/>
                  </a:lnTo>
                  <a:lnTo>
                    <a:pt x="442" y="461"/>
                  </a:lnTo>
                  <a:lnTo>
                    <a:pt x="441" y="464"/>
                  </a:lnTo>
                  <a:lnTo>
                    <a:pt x="435" y="469"/>
                  </a:lnTo>
                  <a:lnTo>
                    <a:pt x="436" y="472"/>
                  </a:lnTo>
                  <a:lnTo>
                    <a:pt x="437" y="475"/>
                  </a:lnTo>
                  <a:lnTo>
                    <a:pt x="441" y="476"/>
                  </a:lnTo>
                  <a:lnTo>
                    <a:pt x="443" y="480"/>
                  </a:lnTo>
                  <a:lnTo>
                    <a:pt x="443" y="485"/>
                  </a:lnTo>
                  <a:lnTo>
                    <a:pt x="447" y="488"/>
                  </a:lnTo>
                  <a:lnTo>
                    <a:pt x="450" y="489"/>
                  </a:lnTo>
                  <a:lnTo>
                    <a:pt x="457" y="489"/>
                  </a:lnTo>
                  <a:lnTo>
                    <a:pt x="459" y="490"/>
                  </a:lnTo>
                  <a:lnTo>
                    <a:pt x="462" y="493"/>
                  </a:lnTo>
                  <a:lnTo>
                    <a:pt x="466" y="494"/>
                  </a:lnTo>
                  <a:lnTo>
                    <a:pt x="469" y="495"/>
                  </a:lnTo>
                  <a:lnTo>
                    <a:pt x="469" y="499"/>
                  </a:lnTo>
                  <a:lnTo>
                    <a:pt x="470" y="502"/>
                  </a:lnTo>
                  <a:lnTo>
                    <a:pt x="474" y="507"/>
                  </a:lnTo>
                  <a:lnTo>
                    <a:pt x="474" y="510"/>
                  </a:lnTo>
                  <a:lnTo>
                    <a:pt x="474" y="513"/>
                  </a:lnTo>
                  <a:lnTo>
                    <a:pt x="473" y="516"/>
                  </a:lnTo>
                  <a:lnTo>
                    <a:pt x="469" y="526"/>
                  </a:lnTo>
                  <a:lnTo>
                    <a:pt x="468" y="533"/>
                  </a:lnTo>
                  <a:lnTo>
                    <a:pt x="467" y="537"/>
                  </a:lnTo>
                  <a:lnTo>
                    <a:pt x="462" y="541"/>
                  </a:lnTo>
                  <a:lnTo>
                    <a:pt x="460" y="544"/>
                  </a:lnTo>
                  <a:lnTo>
                    <a:pt x="475" y="556"/>
                  </a:lnTo>
                  <a:lnTo>
                    <a:pt x="481" y="559"/>
                  </a:lnTo>
                  <a:lnTo>
                    <a:pt x="485" y="561"/>
                  </a:lnTo>
                  <a:lnTo>
                    <a:pt x="488" y="563"/>
                  </a:lnTo>
                  <a:lnTo>
                    <a:pt x="503" y="567"/>
                  </a:lnTo>
                  <a:lnTo>
                    <a:pt x="512" y="573"/>
                  </a:lnTo>
                  <a:lnTo>
                    <a:pt x="523" y="576"/>
                  </a:lnTo>
                  <a:lnTo>
                    <a:pt x="525" y="578"/>
                  </a:lnTo>
                  <a:lnTo>
                    <a:pt x="527" y="581"/>
                  </a:lnTo>
                  <a:lnTo>
                    <a:pt x="529" y="585"/>
                  </a:lnTo>
                  <a:lnTo>
                    <a:pt x="531" y="587"/>
                  </a:lnTo>
                  <a:lnTo>
                    <a:pt x="534" y="588"/>
                  </a:lnTo>
                  <a:lnTo>
                    <a:pt x="540" y="592"/>
                  </a:lnTo>
                  <a:lnTo>
                    <a:pt x="545" y="596"/>
                  </a:lnTo>
                  <a:lnTo>
                    <a:pt x="548" y="599"/>
                  </a:lnTo>
                  <a:lnTo>
                    <a:pt x="547" y="607"/>
                  </a:lnTo>
                  <a:lnTo>
                    <a:pt x="546" y="611"/>
                  </a:lnTo>
                  <a:lnTo>
                    <a:pt x="546" y="615"/>
                  </a:lnTo>
                  <a:lnTo>
                    <a:pt x="547" y="625"/>
                  </a:lnTo>
                  <a:lnTo>
                    <a:pt x="546" y="630"/>
                  </a:lnTo>
                  <a:lnTo>
                    <a:pt x="547" y="637"/>
                  </a:lnTo>
                  <a:lnTo>
                    <a:pt x="546" y="641"/>
                  </a:lnTo>
                  <a:lnTo>
                    <a:pt x="544" y="647"/>
                  </a:lnTo>
                  <a:lnTo>
                    <a:pt x="540" y="655"/>
                  </a:lnTo>
                  <a:lnTo>
                    <a:pt x="540" y="660"/>
                  </a:lnTo>
                  <a:lnTo>
                    <a:pt x="535" y="667"/>
                  </a:lnTo>
                  <a:lnTo>
                    <a:pt x="533" y="672"/>
                  </a:lnTo>
                  <a:lnTo>
                    <a:pt x="531" y="678"/>
                  </a:lnTo>
                  <a:lnTo>
                    <a:pt x="528" y="687"/>
                  </a:lnTo>
                  <a:lnTo>
                    <a:pt x="524" y="697"/>
                  </a:lnTo>
                  <a:lnTo>
                    <a:pt x="516" y="724"/>
                  </a:lnTo>
                  <a:lnTo>
                    <a:pt x="512" y="732"/>
                  </a:lnTo>
                  <a:lnTo>
                    <a:pt x="511" y="737"/>
                  </a:lnTo>
                  <a:lnTo>
                    <a:pt x="507" y="748"/>
                  </a:lnTo>
                  <a:lnTo>
                    <a:pt x="504" y="751"/>
                  </a:lnTo>
                  <a:lnTo>
                    <a:pt x="503" y="754"/>
                  </a:lnTo>
                  <a:lnTo>
                    <a:pt x="502" y="758"/>
                  </a:lnTo>
                  <a:lnTo>
                    <a:pt x="498" y="768"/>
                  </a:lnTo>
                  <a:lnTo>
                    <a:pt x="497" y="773"/>
                  </a:lnTo>
                  <a:lnTo>
                    <a:pt x="496" y="777"/>
                  </a:lnTo>
                  <a:lnTo>
                    <a:pt x="493" y="781"/>
                  </a:lnTo>
                  <a:lnTo>
                    <a:pt x="488" y="787"/>
                  </a:lnTo>
                  <a:lnTo>
                    <a:pt x="486" y="789"/>
                  </a:lnTo>
                  <a:lnTo>
                    <a:pt x="484" y="793"/>
                  </a:lnTo>
                  <a:lnTo>
                    <a:pt x="481" y="799"/>
                  </a:lnTo>
                  <a:lnTo>
                    <a:pt x="479" y="803"/>
                  </a:lnTo>
                  <a:lnTo>
                    <a:pt x="479" y="807"/>
                  </a:lnTo>
                  <a:lnTo>
                    <a:pt x="478" y="810"/>
                  </a:lnTo>
                  <a:lnTo>
                    <a:pt x="474" y="812"/>
                  </a:lnTo>
                  <a:lnTo>
                    <a:pt x="468" y="822"/>
                  </a:lnTo>
                  <a:lnTo>
                    <a:pt x="466" y="830"/>
                  </a:lnTo>
                  <a:lnTo>
                    <a:pt x="463" y="834"/>
                  </a:lnTo>
                  <a:lnTo>
                    <a:pt x="458" y="846"/>
                  </a:lnTo>
                  <a:lnTo>
                    <a:pt x="455" y="851"/>
                  </a:lnTo>
                  <a:lnTo>
                    <a:pt x="453" y="856"/>
                  </a:lnTo>
                  <a:lnTo>
                    <a:pt x="450" y="854"/>
                  </a:lnTo>
                  <a:lnTo>
                    <a:pt x="450" y="858"/>
                  </a:lnTo>
                  <a:lnTo>
                    <a:pt x="451" y="861"/>
                  </a:lnTo>
                  <a:lnTo>
                    <a:pt x="447" y="864"/>
                  </a:lnTo>
                  <a:lnTo>
                    <a:pt x="446" y="861"/>
                  </a:lnTo>
                  <a:lnTo>
                    <a:pt x="446" y="864"/>
                  </a:lnTo>
                  <a:lnTo>
                    <a:pt x="441" y="863"/>
                  </a:lnTo>
                  <a:lnTo>
                    <a:pt x="439" y="867"/>
                  </a:lnTo>
                  <a:lnTo>
                    <a:pt x="434" y="866"/>
                  </a:lnTo>
                  <a:lnTo>
                    <a:pt x="428" y="867"/>
                  </a:lnTo>
                  <a:lnTo>
                    <a:pt x="431" y="864"/>
                  </a:lnTo>
                  <a:lnTo>
                    <a:pt x="425" y="862"/>
                  </a:lnTo>
                  <a:lnTo>
                    <a:pt x="426" y="866"/>
                  </a:lnTo>
                  <a:lnTo>
                    <a:pt x="424" y="866"/>
                  </a:lnTo>
                  <a:lnTo>
                    <a:pt x="419" y="866"/>
                  </a:lnTo>
                  <a:lnTo>
                    <a:pt x="418" y="871"/>
                  </a:lnTo>
                  <a:lnTo>
                    <a:pt x="415" y="872"/>
                  </a:lnTo>
                  <a:lnTo>
                    <a:pt x="417" y="875"/>
                  </a:lnTo>
                  <a:lnTo>
                    <a:pt x="411" y="876"/>
                  </a:lnTo>
                  <a:lnTo>
                    <a:pt x="409" y="874"/>
                  </a:lnTo>
                  <a:lnTo>
                    <a:pt x="407" y="878"/>
                  </a:lnTo>
                  <a:lnTo>
                    <a:pt x="406" y="880"/>
                  </a:lnTo>
                  <a:lnTo>
                    <a:pt x="403" y="879"/>
                  </a:lnTo>
                  <a:lnTo>
                    <a:pt x="401" y="879"/>
                  </a:lnTo>
                  <a:lnTo>
                    <a:pt x="399" y="881"/>
                  </a:lnTo>
                  <a:lnTo>
                    <a:pt x="397" y="880"/>
                  </a:lnTo>
                  <a:lnTo>
                    <a:pt x="395" y="877"/>
                  </a:lnTo>
                  <a:lnTo>
                    <a:pt x="397" y="871"/>
                  </a:lnTo>
                  <a:lnTo>
                    <a:pt x="397" y="868"/>
                  </a:lnTo>
                  <a:lnTo>
                    <a:pt x="399" y="864"/>
                  </a:lnTo>
                  <a:lnTo>
                    <a:pt x="405" y="866"/>
                  </a:lnTo>
                  <a:lnTo>
                    <a:pt x="403" y="863"/>
                  </a:lnTo>
                  <a:lnTo>
                    <a:pt x="399" y="860"/>
                  </a:lnTo>
                  <a:lnTo>
                    <a:pt x="394" y="875"/>
                  </a:lnTo>
                  <a:lnTo>
                    <a:pt x="394" y="878"/>
                  </a:lnTo>
                  <a:lnTo>
                    <a:pt x="396" y="881"/>
                  </a:lnTo>
                  <a:lnTo>
                    <a:pt x="394" y="884"/>
                  </a:lnTo>
                  <a:lnTo>
                    <a:pt x="391" y="887"/>
                  </a:lnTo>
                  <a:lnTo>
                    <a:pt x="387" y="884"/>
                  </a:lnTo>
                  <a:lnTo>
                    <a:pt x="385" y="883"/>
                  </a:lnTo>
                  <a:lnTo>
                    <a:pt x="388" y="887"/>
                  </a:lnTo>
                  <a:lnTo>
                    <a:pt x="383" y="887"/>
                  </a:lnTo>
                  <a:lnTo>
                    <a:pt x="379" y="887"/>
                  </a:lnTo>
                  <a:lnTo>
                    <a:pt x="377" y="886"/>
                  </a:lnTo>
                  <a:lnTo>
                    <a:pt x="373" y="883"/>
                  </a:lnTo>
                  <a:lnTo>
                    <a:pt x="370" y="883"/>
                  </a:lnTo>
                  <a:lnTo>
                    <a:pt x="373" y="884"/>
                  </a:lnTo>
                  <a:lnTo>
                    <a:pt x="376" y="886"/>
                  </a:lnTo>
                  <a:lnTo>
                    <a:pt x="377" y="889"/>
                  </a:lnTo>
                  <a:lnTo>
                    <a:pt x="379" y="892"/>
                  </a:lnTo>
                  <a:lnTo>
                    <a:pt x="381" y="894"/>
                  </a:lnTo>
                  <a:lnTo>
                    <a:pt x="382" y="896"/>
                  </a:lnTo>
                  <a:lnTo>
                    <a:pt x="380" y="899"/>
                  </a:lnTo>
                  <a:lnTo>
                    <a:pt x="376" y="894"/>
                  </a:lnTo>
                  <a:lnTo>
                    <a:pt x="371" y="892"/>
                  </a:lnTo>
                  <a:lnTo>
                    <a:pt x="369" y="891"/>
                  </a:lnTo>
                  <a:lnTo>
                    <a:pt x="373" y="894"/>
                  </a:lnTo>
                  <a:lnTo>
                    <a:pt x="372" y="899"/>
                  </a:lnTo>
                  <a:lnTo>
                    <a:pt x="373" y="901"/>
                  </a:lnTo>
                  <a:lnTo>
                    <a:pt x="376" y="905"/>
                  </a:lnTo>
                  <a:lnTo>
                    <a:pt x="374" y="905"/>
                  </a:lnTo>
                  <a:lnTo>
                    <a:pt x="372" y="902"/>
                  </a:lnTo>
                  <a:lnTo>
                    <a:pt x="366" y="901"/>
                  </a:lnTo>
                  <a:lnTo>
                    <a:pt x="367" y="903"/>
                  </a:lnTo>
                  <a:lnTo>
                    <a:pt x="372" y="904"/>
                  </a:lnTo>
                  <a:lnTo>
                    <a:pt x="369" y="906"/>
                  </a:lnTo>
                  <a:lnTo>
                    <a:pt x="362" y="904"/>
                  </a:lnTo>
                  <a:lnTo>
                    <a:pt x="361" y="901"/>
                  </a:lnTo>
                  <a:lnTo>
                    <a:pt x="361" y="896"/>
                  </a:lnTo>
                  <a:lnTo>
                    <a:pt x="355" y="902"/>
                  </a:lnTo>
                  <a:lnTo>
                    <a:pt x="357" y="905"/>
                  </a:lnTo>
                  <a:lnTo>
                    <a:pt x="356" y="909"/>
                  </a:lnTo>
                  <a:lnTo>
                    <a:pt x="349" y="911"/>
                  </a:lnTo>
                  <a:lnTo>
                    <a:pt x="347" y="909"/>
                  </a:lnTo>
                  <a:lnTo>
                    <a:pt x="342" y="913"/>
                  </a:lnTo>
                  <a:lnTo>
                    <a:pt x="343" y="916"/>
                  </a:lnTo>
                  <a:lnTo>
                    <a:pt x="340" y="920"/>
                  </a:lnTo>
                  <a:lnTo>
                    <a:pt x="337" y="920"/>
                  </a:lnTo>
                  <a:lnTo>
                    <a:pt x="337" y="923"/>
                  </a:lnTo>
                  <a:lnTo>
                    <a:pt x="336" y="920"/>
                  </a:lnTo>
                  <a:lnTo>
                    <a:pt x="334" y="917"/>
                  </a:lnTo>
                  <a:lnTo>
                    <a:pt x="333" y="923"/>
                  </a:lnTo>
                  <a:lnTo>
                    <a:pt x="329" y="925"/>
                  </a:lnTo>
                  <a:lnTo>
                    <a:pt x="329" y="922"/>
                  </a:lnTo>
                  <a:lnTo>
                    <a:pt x="326" y="921"/>
                  </a:lnTo>
                  <a:lnTo>
                    <a:pt x="327" y="924"/>
                  </a:lnTo>
                  <a:lnTo>
                    <a:pt x="323" y="927"/>
                  </a:lnTo>
                  <a:lnTo>
                    <a:pt x="321" y="931"/>
                  </a:lnTo>
                  <a:lnTo>
                    <a:pt x="319" y="928"/>
                  </a:lnTo>
                  <a:lnTo>
                    <a:pt x="316" y="927"/>
                  </a:lnTo>
                  <a:lnTo>
                    <a:pt x="317" y="930"/>
                  </a:lnTo>
                  <a:lnTo>
                    <a:pt x="319" y="934"/>
                  </a:lnTo>
                  <a:lnTo>
                    <a:pt x="316" y="938"/>
                  </a:lnTo>
                  <a:lnTo>
                    <a:pt x="315" y="941"/>
                  </a:lnTo>
                  <a:lnTo>
                    <a:pt x="313" y="938"/>
                  </a:lnTo>
                  <a:lnTo>
                    <a:pt x="310" y="942"/>
                  </a:lnTo>
                  <a:lnTo>
                    <a:pt x="309" y="939"/>
                  </a:lnTo>
                  <a:lnTo>
                    <a:pt x="308" y="936"/>
                  </a:lnTo>
                  <a:lnTo>
                    <a:pt x="306" y="936"/>
                  </a:lnTo>
                  <a:lnTo>
                    <a:pt x="303" y="940"/>
                  </a:lnTo>
                  <a:lnTo>
                    <a:pt x="300" y="940"/>
                  </a:lnTo>
                  <a:lnTo>
                    <a:pt x="300" y="943"/>
                  </a:lnTo>
                  <a:lnTo>
                    <a:pt x="298" y="942"/>
                  </a:lnTo>
                  <a:lnTo>
                    <a:pt x="293" y="945"/>
                  </a:lnTo>
                  <a:lnTo>
                    <a:pt x="292" y="942"/>
                  </a:lnTo>
                  <a:lnTo>
                    <a:pt x="289" y="947"/>
                  </a:lnTo>
                  <a:lnTo>
                    <a:pt x="287" y="948"/>
                  </a:lnTo>
                  <a:lnTo>
                    <a:pt x="284" y="952"/>
                  </a:lnTo>
                  <a:lnTo>
                    <a:pt x="275" y="953"/>
                  </a:lnTo>
                  <a:lnTo>
                    <a:pt x="273" y="952"/>
                  </a:lnTo>
                  <a:lnTo>
                    <a:pt x="270" y="953"/>
                  </a:lnTo>
                  <a:lnTo>
                    <a:pt x="269" y="949"/>
                  </a:lnTo>
                  <a:lnTo>
                    <a:pt x="270" y="945"/>
                  </a:lnTo>
                  <a:lnTo>
                    <a:pt x="267" y="948"/>
                  </a:lnTo>
                  <a:lnTo>
                    <a:pt x="267" y="951"/>
                  </a:lnTo>
                  <a:lnTo>
                    <a:pt x="265" y="954"/>
                  </a:lnTo>
                  <a:lnTo>
                    <a:pt x="264" y="956"/>
                  </a:lnTo>
                  <a:lnTo>
                    <a:pt x="263" y="959"/>
                  </a:lnTo>
                  <a:lnTo>
                    <a:pt x="259" y="962"/>
                  </a:lnTo>
                  <a:lnTo>
                    <a:pt x="259" y="966"/>
                  </a:lnTo>
                  <a:lnTo>
                    <a:pt x="254" y="971"/>
                  </a:lnTo>
                  <a:lnTo>
                    <a:pt x="250" y="971"/>
                  </a:lnTo>
                  <a:lnTo>
                    <a:pt x="246" y="974"/>
                  </a:lnTo>
                  <a:lnTo>
                    <a:pt x="246" y="970"/>
                  </a:lnTo>
                  <a:lnTo>
                    <a:pt x="249" y="969"/>
                  </a:lnTo>
                  <a:lnTo>
                    <a:pt x="255" y="964"/>
                  </a:lnTo>
                  <a:lnTo>
                    <a:pt x="256" y="961"/>
                  </a:lnTo>
                  <a:lnTo>
                    <a:pt x="258" y="960"/>
                  </a:lnTo>
                  <a:lnTo>
                    <a:pt x="260" y="958"/>
                  </a:lnTo>
                  <a:lnTo>
                    <a:pt x="261" y="954"/>
                  </a:lnTo>
                  <a:lnTo>
                    <a:pt x="261" y="951"/>
                  </a:lnTo>
                  <a:lnTo>
                    <a:pt x="259" y="957"/>
                  </a:lnTo>
                  <a:lnTo>
                    <a:pt x="254" y="959"/>
                  </a:lnTo>
                  <a:lnTo>
                    <a:pt x="252" y="956"/>
                  </a:lnTo>
                  <a:lnTo>
                    <a:pt x="256" y="953"/>
                  </a:lnTo>
                  <a:lnTo>
                    <a:pt x="257" y="950"/>
                  </a:lnTo>
                  <a:lnTo>
                    <a:pt x="251" y="950"/>
                  </a:lnTo>
                  <a:lnTo>
                    <a:pt x="247" y="950"/>
                  </a:lnTo>
                  <a:lnTo>
                    <a:pt x="245" y="947"/>
                  </a:lnTo>
                  <a:lnTo>
                    <a:pt x="247" y="943"/>
                  </a:lnTo>
                  <a:lnTo>
                    <a:pt x="244" y="946"/>
                  </a:lnTo>
                  <a:lnTo>
                    <a:pt x="243" y="945"/>
                  </a:lnTo>
                  <a:lnTo>
                    <a:pt x="243" y="946"/>
                  </a:lnTo>
                  <a:lnTo>
                    <a:pt x="241" y="948"/>
                  </a:lnTo>
                  <a:lnTo>
                    <a:pt x="239" y="946"/>
                  </a:lnTo>
                  <a:lnTo>
                    <a:pt x="243" y="945"/>
                  </a:lnTo>
                  <a:lnTo>
                    <a:pt x="242" y="944"/>
                  </a:lnTo>
                  <a:lnTo>
                    <a:pt x="239" y="943"/>
                  </a:lnTo>
                  <a:lnTo>
                    <a:pt x="238" y="940"/>
                  </a:lnTo>
                  <a:lnTo>
                    <a:pt x="239" y="934"/>
                  </a:lnTo>
                  <a:lnTo>
                    <a:pt x="242" y="930"/>
                  </a:lnTo>
                  <a:lnTo>
                    <a:pt x="243" y="925"/>
                  </a:lnTo>
                  <a:lnTo>
                    <a:pt x="244" y="923"/>
                  </a:lnTo>
                  <a:lnTo>
                    <a:pt x="241" y="927"/>
                  </a:lnTo>
                  <a:lnTo>
                    <a:pt x="239" y="927"/>
                  </a:lnTo>
                  <a:lnTo>
                    <a:pt x="236" y="928"/>
                  </a:lnTo>
                  <a:lnTo>
                    <a:pt x="231" y="935"/>
                  </a:lnTo>
                  <a:lnTo>
                    <a:pt x="225" y="938"/>
                  </a:lnTo>
                  <a:lnTo>
                    <a:pt x="222" y="940"/>
                  </a:lnTo>
                  <a:lnTo>
                    <a:pt x="224" y="937"/>
                  </a:lnTo>
                  <a:lnTo>
                    <a:pt x="224" y="934"/>
                  </a:lnTo>
                  <a:lnTo>
                    <a:pt x="226" y="932"/>
                  </a:lnTo>
                  <a:lnTo>
                    <a:pt x="224" y="933"/>
                  </a:lnTo>
                  <a:lnTo>
                    <a:pt x="220" y="936"/>
                  </a:lnTo>
                  <a:lnTo>
                    <a:pt x="217" y="937"/>
                  </a:lnTo>
                  <a:lnTo>
                    <a:pt x="217" y="934"/>
                  </a:lnTo>
                  <a:lnTo>
                    <a:pt x="218" y="931"/>
                  </a:lnTo>
                  <a:lnTo>
                    <a:pt x="219" y="928"/>
                  </a:lnTo>
                  <a:lnTo>
                    <a:pt x="221" y="925"/>
                  </a:lnTo>
                  <a:lnTo>
                    <a:pt x="222" y="922"/>
                  </a:lnTo>
                  <a:lnTo>
                    <a:pt x="220" y="924"/>
                  </a:lnTo>
                  <a:lnTo>
                    <a:pt x="215" y="925"/>
                  </a:lnTo>
                  <a:lnTo>
                    <a:pt x="209" y="926"/>
                  </a:lnTo>
                  <a:lnTo>
                    <a:pt x="201" y="922"/>
                  </a:lnTo>
                  <a:lnTo>
                    <a:pt x="198" y="922"/>
                  </a:lnTo>
                  <a:lnTo>
                    <a:pt x="196" y="923"/>
                  </a:lnTo>
                  <a:lnTo>
                    <a:pt x="194" y="921"/>
                  </a:lnTo>
                  <a:lnTo>
                    <a:pt x="189" y="919"/>
                  </a:lnTo>
                  <a:lnTo>
                    <a:pt x="189" y="916"/>
                  </a:lnTo>
                  <a:lnTo>
                    <a:pt x="186" y="916"/>
                  </a:lnTo>
                  <a:lnTo>
                    <a:pt x="187" y="920"/>
                  </a:lnTo>
                  <a:lnTo>
                    <a:pt x="185" y="920"/>
                  </a:lnTo>
                  <a:lnTo>
                    <a:pt x="183" y="917"/>
                  </a:lnTo>
                  <a:lnTo>
                    <a:pt x="182" y="913"/>
                  </a:lnTo>
                  <a:lnTo>
                    <a:pt x="184" y="911"/>
                  </a:lnTo>
                  <a:lnTo>
                    <a:pt x="183" y="908"/>
                  </a:lnTo>
                  <a:lnTo>
                    <a:pt x="180" y="910"/>
                  </a:lnTo>
                  <a:lnTo>
                    <a:pt x="179" y="912"/>
                  </a:lnTo>
                  <a:lnTo>
                    <a:pt x="177" y="913"/>
                  </a:lnTo>
                  <a:lnTo>
                    <a:pt x="177" y="916"/>
                  </a:lnTo>
                  <a:lnTo>
                    <a:pt x="177" y="919"/>
                  </a:lnTo>
                  <a:lnTo>
                    <a:pt x="172" y="922"/>
                  </a:lnTo>
                  <a:lnTo>
                    <a:pt x="172" y="918"/>
                  </a:lnTo>
                  <a:lnTo>
                    <a:pt x="169" y="915"/>
                  </a:lnTo>
                  <a:lnTo>
                    <a:pt x="172" y="915"/>
                  </a:lnTo>
                  <a:lnTo>
                    <a:pt x="168" y="915"/>
                  </a:lnTo>
                  <a:lnTo>
                    <a:pt x="164" y="912"/>
                  </a:lnTo>
                  <a:lnTo>
                    <a:pt x="166" y="912"/>
                  </a:lnTo>
                  <a:lnTo>
                    <a:pt x="164" y="910"/>
                  </a:lnTo>
                  <a:lnTo>
                    <a:pt x="162" y="909"/>
                  </a:lnTo>
                  <a:lnTo>
                    <a:pt x="160" y="906"/>
                  </a:lnTo>
                  <a:lnTo>
                    <a:pt x="164" y="905"/>
                  </a:lnTo>
                  <a:lnTo>
                    <a:pt x="163" y="902"/>
                  </a:lnTo>
                  <a:lnTo>
                    <a:pt x="161" y="899"/>
                  </a:lnTo>
                  <a:lnTo>
                    <a:pt x="160" y="894"/>
                  </a:lnTo>
                  <a:lnTo>
                    <a:pt x="158" y="893"/>
                  </a:lnTo>
                  <a:lnTo>
                    <a:pt x="156" y="888"/>
                  </a:lnTo>
                  <a:lnTo>
                    <a:pt x="159" y="888"/>
                  </a:lnTo>
                  <a:lnTo>
                    <a:pt x="158" y="883"/>
                  </a:lnTo>
                  <a:lnTo>
                    <a:pt x="160" y="884"/>
                  </a:lnTo>
                  <a:lnTo>
                    <a:pt x="159" y="882"/>
                  </a:lnTo>
                  <a:lnTo>
                    <a:pt x="155" y="876"/>
                  </a:lnTo>
                  <a:lnTo>
                    <a:pt x="153" y="873"/>
                  </a:lnTo>
                  <a:lnTo>
                    <a:pt x="155" y="872"/>
                  </a:lnTo>
                  <a:lnTo>
                    <a:pt x="159" y="870"/>
                  </a:lnTo>
                  <a:lnTo>
                    <a:pt x="158" y="867"/>
                  </a:lnTo>
                  <a:lnTo>
                    <a:pt x="158" y="864"/>
                  </a:lnTo>
                  <a:lnTo>
                    <a:pt x="157" y="861"/>
                  </a:lnTo>
                  <a:lnTo>
                    <a:pt x="159" y="859"/>
                  </a:lnTo>
                  <a:lnTo>
                    <a:pt x="161" y="856"/>
                  </a:lnTo>
                  <a:lnTo>
                    <a:pt x="159" y="853"/>
                  </a:lnTo>
                  <a:lnTo>
                    <a:pt x="157" y="853"/>
                  </a:lnTo>
                  <a:lnTo>
                    <a:pt x="158" y="849"/>
                  </a:lnTo>
                  <a:lnTo>
                    <a:pt x="159" y="846"/>
                  </a:lnTo>
                  <a:lnTo>
                    <a:pt x="158" y="844"/>
                  </a:lnTo>
                  <a:lnTo>
                    <a:pt x="157" y="841"/>
                  </a:lnTo>
                  <a:lnTo>
                    <a:pt x="154" y="839"/>
                  </a:lnTo>
                  <a:lnTo>
                    <a:pt x="157" y="838"/>
                  </a:lnTo>
                  <a:lnTo>
                    <a:pt x="157" y="834"/>
                  </a:lnTo>
                  <a:lnTo>
                    <a:pt x="152" y="832"/>
                  </a:lnTo>
                  <a:lnTo>
                    <a:pt x="157" y="831"/>
                  </a:lnTo>
                  <a:lnTo>
                    <a:pt x="157" y="827"/>
                  </a:lnTo>
                  <a:lnTo>
                    <a:pt x="152" y="825"/>
                  </a:lnTo>
                  <a:lnTo>
                    <a:pt x="153" y="822"/>
                  </a:lnTo>
                  <a:lnTo>
                    <a:pt x="159" y="823"/>
                  </a:lnTo>
                  <a:lnTo>
                    <a:pt x="162" y="825"/>
                  </a:lnTo>
                  <a:lnTo>
                    <a:pt x="159" y="822"/>
                  </a:lnTo>
                  <a:lnTo>
                    <a:pt x="156" y="816"/>
                  </a:lnTo>
                  <a:lnTo>
                    <a:pt x="153" y="813"/>
                  </a:lnTo>
                  <a:lnTo>
                    <a:pt x="151" y="810"/>
                  </a:lnTo>
                  <a:lnTo>
                    <a:pt x="154" y="810"/>
                  </a:lnTo>
                  <a:lnTo>
                    <a:pt x="149" y="807"/>
                  </a:lnTo>
                  <a:lnTo>
                    <a:pt x="147" y="804"/>
                  </a:lnTo>
                  <a:lnTo>
                    <a:pt x="147" y="800"/>
                  </a:lnTo>
                  <a:lnTo>
                    <a:pt x="144" y="796"/>
                  </a:lnTo>
                  <a:lnTo>
                    <a:pt x="143" y="794"/>
                  </a:lnTo>
                  <a:lnTo>
                    <a:pt x="141" y="790"/>
                  </a:lnTo>
                  <a:lnTo>
                    <a:pt x="138" y="790"/>
                  </a:lnTo>
                  <a:lnTo>
                    <a:pt x="136" y="789"/>
                  </a:lnTo>
                  <a:lnTo>
                    <a:pt x="136" y="787"/>
                  </a:lnTo>
                  <a:lnTo>
                    <a:pt x="135" y="780"/>
                  </a:lnTo>
                  <a:lnTo>
                    <a:pt x="134" y="774"/>
                  </a:lnTo>
                  <a:lnTo>
                    <a:pt x="135" y="768"/>
                  </a:lnTo>
                  <a:lnTo>
                    <a:pt x="135" y="763"/>
                  </a:lnTo>
                  <a:lnTo>
                    <a:pt x="135" y="759"/>
                  </a:lnTo>
                  <a:lnTo>
                    <a:pt x="134" y="763"/>
                  </a:lnTo>
                  <a:lnTo>
                    <a:pt x="133" y="758"/>
                  </a:lnTo>
                  <a:lnTo>
                    <a:pt x="132" y="753"/>
                  </a:lnTo>
                  <a:lnTo>
                    <a:pt x="129" y="749"/>
                  </a:lnTo>
                  <a:lnTo>
                    <a:pt x="127" y="752"/>
                  </a:lnTo>
                  <a:lnTo>
                    <a:pt x="126" y="749"/>
                  </a:lnTo>
                  <a:lnTo>
                    <a:pt x="125" y="746"/>
                  </a:lnTo>
                  <a:lnTo>
                    <a:pt x="121" y="742"/>
                  </a:lnTo>
                  <a:lnTo>
                    <a:pt x="121" y="739"/>
                  </a:lnTo>
                  <a:lnTo>
                    <a:pt x="120" y="735"/>
                  </a:lnTo>
                  <a:lnTo>
                    <a:pt x="122" y="732"/>
                  </a:lnTo>
                  <a:lnTo>
                    <a:pt x="119" y="730"/>
                  </a:lnTo>
                  <a:lnTo>
                    <a:pt x="117" y="725"/>
                  </a:lnTo>
                  <a:lnTo>
                    <a:pt x="118" y="722"/>
                  </a:lnTo>
                  <a:lnTo>
                    <a:pt x="119" y="719"/>
                  </a:lnTo>
                  <a:lnTo>
                    <a:pt x="116" y="714"/>
                  </a:lnTo>
                  <a:lnTo>
                    <a:pt x="119" y="713"/>
                  </a:lnTo>
                  <a:lnTo>
                    <a:pt x="120" y="709"/>
                  </a:lnTo>
                  <a:lnTo>
                    <a:pt x="120" y="705"/>
                  </a:lnTo>
                  <a:lnTo>
                    <a:pt x="124" y="706"/>
                  </a:lnTo>
                  <a:lnTo>
                    <a:pt x="127" y="700"/>
                  </a:lnTo>
                  <a:lnTo>
                    <a:pt x="127" y="697"/>
                  </a:lnTo>
                  <a:lnTo>
                    <a:pt x="127" y="693"/>
                  </a:lnTo>
                  <a:lnTo>
                    <a:pt x="126" y="689"/>
                  </a:lnTo>
                  <a:lnTo>
                    <a:pt x="128" y="684"/>
                  </a:lnTo>
                  <a:lnTo>
                    <a:pt x="131" y="686"/>
                  </a:lnTo>
                  <a:lnTo>
                    <a:pt x="134" y="688"/>
                  </a:lnTo>
                  <a:lnTo>
                    <a:pt x="136" y="687"/>
                  </a:lnTo>
                  <a:lnTo>
                    <a:pt x="134" y="685"/>
                  </a:lnTo>
                  <a:lnTo>
                    <a:pt x="131" y="683"/>
                  </a:lnTo>
                  <a:lnTo>
                    <a:pt x="130" y="679"/>
                  </a:lnTo>
                  <a:lnTo>
                    <a:pt x="127" y="677"/>
                  </a:lnTo>
                  <a:lnTo>
                    <a:pt x="128" y="674"/>
                  </a:lnTo>
                  <a:lnTo>
                    <a:pt x="126" y="671"/>
                  </a:lnTo>
                  <a:lnTo>
                    <a:pt x="130" y="671"/>
                  </a:lnTo>
                  <a:lnTo>
                    <a:pt x="135" y="671"/>
                  </a:lnTo>
                  <a:lnTo>
                    <a:pt x="136" y="667"/>
                  </a:lnTo>
                  <a:lnTo>
                    <a:pt x="140" y="665"/>
                  </a:lnTo>
                  <a:lnTo>
                    <a:pt x="142" y="670"/>
                  </a:lnTo>
                  <a:lnTo>
                    <a:pt x="147" y="674"/>
                  </a:lnTo>
                  <a:lnTo>
                    <a:pt x="145" y="671"/>
                  </a:lnTo>
                  <a:lnTo>
                    <a:pt x="146" y="666"/>
                  </a:lnTo>
                  <a:lnTo>
                    <a:pt x="151" y="665"/>
                  </a:lnTo>
                  <a:lnTo>
                    <a:pt x="155" y="664"/>
                  </a:lnTo>
                  <a:lnTo>
                    <a:pt x="156" y="661"/>
                  </a:lnTo>
                  <a:lnTo>
                    <a:pt x="157" y="658"/>
                  </a:lnTo>
                  <a:lnTo>
                    <a:pt x="159" y="659"/>
                  </a:lnTo>
                  <a:lnTo>
                    <a:pt x="161" y="655"/>
                  </a:lnTo>
                  <a:lnTo>
                    <a:pt x="158" y="652"/>
                  </a:lnTo>
                  <a:lnTo>
                    <a:pt x="154" y="649"/>
                  </a:lnTo>
                  <a:lnTo>
                    <a:pt x="151" y="644"/>
                  </a:lnTo>
                  <a:lnTo>
                    <a:pt x="156" y="646"/>
                  </a:lnTo>
                  <a:lnTo>
                    <a:pt x="158" y="646"/>
                  </a:lnTo>
                  <a:lnTo>
                    <a:pt x="156" y="643"/>
                  </a:lnTo>
                  <a:lnTo>
                    <a:pt x="154" y="641"/>
                  </a:lnTo>
                  <a:lnTo>
                    <a:pt x="153" y="638"/>
                  </a:lnTo>
                  <a:lnTo>
                    <a:pt x="156" y="640"/>
                  </a:lnTo>
                  <a:lnTo>
                    <a:pt x="159" y="643"/>
                  </a:lnTo>
                  <a:lnTo>
                    <a:pt x="160" y="638"/>
                  </a:lnTo>
                  <a:lnTo>
                    <a:pt x="160" y="634"/>
                  </a:lnTo>
                  <a:lnTo>
                    <a:pt x="161" y="631"/>
                  </a:lnTo>
                  <a:lnTo>
                    <a:pt x="163" y="631"/>
                  </a:lnTo>
                  <a:lnTo>
                    <a:pt x="160" y="627"/>
                  </a:lnTo>
                  <a:lnTo>
                    <a:pt x="161" y="624"/>
                  </a:lnTo>
                  <a:lnTo>
                    <a:pt x="163" y="619"/>
                  </a:lnTo>
                  <a:lnTo>
                    <a:pt x="166" y="618"/>
                  </a:lnTo>
                  <a:lnTo>
                    <a:pt x="169" y="622"/>
                  </a:lnTo>
                  <a:lnTo>
                    <a:pt x="171" y="625"/>
                  </a:lnTo>
                  <a:lnTo>
                    <a:pt x="173" y="619"/>
                  </a:lnTo>
                  <a:lnTo>
                    <a:pt x="175" y="617"/>
                  </a:lnTo>
                  <a:lnTo>
                    <a:pt x="172" y="614"/>
                  </a:lnTo>
                  <a:lnTo>
                    <a:pt x="175" y="614"/>
                  </a:lnTo>
                  <a:lnTo>
                    <a:pt x="175" y="611"/>
                  </a:lnTo>
                  <a:lnTo>
                    <a:pt x="174" y="608"/>
                  </a:lnTo>
                  <a:lnTo>
                    <a:pt x="177" y="609"/>
                  </a:lnTo>
                  <a:lnTo>
                    <a:pt x="177" y="607"/>
                  </a:lnTo>
                  <a:lnTo>
                    <a:pt x="179" y="602"/>
                  </a:lnTo>
                  <a:lnTo>
                    <a:pt x="181" y="601"/>
                  </a:lnTo>
                  <a:lnTo>
                    <a:pt x="182" y="598"/>
                  </a:lnTo>
                  <a:lnTo>
                    <a:pt x="187" y="596"/>
                  </a:lnTo>
                  <a:lnTo>
                    <a:pt x="188" y="594"/>
                  </a:lnTo>
                  <a:lnTo>
                    <a:pt x="192" y="592"/>
                  </a:lnTo>
                  <a:lnTo>
                    <a:pt x="190" y="590"/>
                  </a:lnTo>
                  <a:lnTo>
                    <a:pt x="189" y="588"/>
                  </a:lnTo>
                  <a:lnTo>
                    <a:pt x="188" y="581"/>
                  </a:lnTo>
                  <a:lnTo>
                    <a:pt x="191" y="581"/>
                  </a:lnTo>
                  <a:lnTo>
                    <a:pt x="195" y="581"/>
                  </a:lnTo>
                  <a:lnTo>
                    <a:pt x="197" y="581"/>
                  </a:lnTo>
                  <a:lnTo>
                    <a:pt x="197" y="578"/>
                  </a:lnTo>
                  <a:lnTo>
                    <a:pt x="194" y="575"/>
                  </a:lnTo>
                  <a:lnTo>
                    <a:pt x="197" y="572"/>
                  </a:lnTo>
                  <a:lnTo>
                    <a:pt x="199" y="568"/>
                  </a:lnTo>
                  <a:lnTo>
                    <a:pt x="199" y="564"/>
                  </a:lnTo>
                  <a:lnTo>
                    <a:pt x="202" y="562"/>
                  </a:lnTo>
                  <a:lnTo>
                    <a:pt x="203" y="558"/>
                  </a:lnTo>
                  <a:lnTo>
                    <a:pt x="206" y="558"/>
                  </a:lnTo>
                  <a:lnTo>
                    <a:pt x="205" y="556"/>
                  </a:lnTo>
                  <a:lnTo>
                    <a:pt x="205" y="552"/>
                  </a:lnTo>
                  <a:lnTo>
                    <a:pt x="206" y="548"/>
                  </a:lnTo>
                  <a:lnTo>
                    <a:pt x="206" y="546"/>
                  </a:lnTo>
                  <a:lnTo>
                    <a:pt x="208" y="543"/>
                  </a:lnTo>
                  <a:lnTo>
                    <a:pt x="209" y="540"/>
                  </a:lnTo>
                  <a:lnTo>
                    <a:pt x="211" y="538"/>
                  </a:lnTo>
                  <a:lnTo>
                    <a:pt x="212" y="535"/>
                  </a:lnTo>
                  <a:lnTo>
                    <a:pt x="215" y="531"/>
                  </a:lnTo>
                  <a:lnTo>
                    <a:pt x="217" y="527"/>
                  </a:lnTo>
                  <a:lnTo>
                    <a:pt x="217" y="524"/>
                  </a:lnTo>
                  <a:lnTo>
                    <a:pt x="216" y="521"/>
                  </a:lnTo>
                  <a:lnTo>
                    <a:pt x="217" y="518"/>
                  </a:lnTo>
                  <a:lnTo>
                    <a:pt x="217" y="515"/>
                  </a:lnTo>
                  <a:lnTo>
                    <a:pt x="219" y="512"/>
                  </a:lnTo>
                  <a:lnTo>
                    <a:pt x="220" y="509"/>
                  </a:lnTo>
                  <a:lnTo>
                    <a:pt x="221" y="505"/>
                  </a:lnTo>
                  <a:lnTo>
                    <a:pt x="224" y="504"/>
                  </a:lnTo>
                  <a:lnTo>
                    <a:pt x="224" y="500"/>
                  </a:lnTo>
                  <a:lnTo>
                    <a:pt x="226" y="499"/>
                  </a:lnTo>
                  <a:lnTo>
                    <a:pt x="227" y="496"/>
                  </a:lnTo>
                  <a:lnTo>
                    <a:pt x="232" y="494"/>
                  </a:lnTo>
                  <a:lnTo>
                    <a:pt x="238" y="489"/>
                  </a:lnTo>
                  <a:lnTo>
                    <a:pt x="241" y="491"/>
                  </a:lnTo>
                  <a:lnTo>
                    <a:pt x="244" y="494"/>
                  </a:lnTo>
                  <a:lnTo>
                    <a:pt x="247" y="494"/>
                  </a:lnTo>
                  <a:lnTo>
                    <a:pt x="250" y="494"/>
                  </a:lnTo>
                  <a:lnTo>
                    <a:pt x="250" y="491"/>
                  </a:lnTo>
                  <a:lnTo>
                    <a:pt x="249" y="488"/>
                  </a:lnTo>
                  <a:lnTo>
                    <a:pt x="245" y="485"/>
                  </a:lnTo>
                  <a:lnTo>
                    <a:pt x="241" y="482"/>
                  </a:lnTo>
                  <a:lnTo>
                    <a:pt x="246" y="479"/>
                  </a:lnTo>
                  <a:lnTo>
                    <a:pt x="248" y="481"/>
                  </a:lnTo>
                  <a:lnTo>
                    <a:pt x="250" y="479"/>
                  </a:lnTo>
                  <a:lnTo>
                    <a:pt x="249" y="476"/>
                  </a:lnTo>
                  <a:lnTo>
                    <a:pt x="247" y="473"/>
                  </a:lnTo>
                  <a:lnTo>
                    <a:pt x="246" y="471"/>
                  </a:lnTo>
                  <a:lnTo>
                    <a:pt x="243" y="468"/>
                  </a:lnTo>
                  <a:lnTo>
                    <a:pt x="238" y="468"/>
                  </a:lnTo>
                  <a:lnTo>
                    <a:pt x="238" y="465"/>
                  </a:lnTo>
                  <a:lnTo>
                    <a:pt x="240" y="462"/>
                  </a:lnTo>
                  <a:lnTo>
                    <a:pt x="239" y="459"/>
                  </a:lnTo>
                  <a:lnTo>
                    <a:pt x="240" y="455"/>
                  </a:lnTo>
                  <a:lnTo>
                    <a:pt x="238" y="451"/>
                  </a:lnTo>
                  <a:lnTo>
                    <a:pt x="238" y="448"/>
                  </a:lnTo>
                  <a:lnTo>
                    <a:pt x="235" y="445"/>
                  </a:lnTo>
                  <a:lnTo>
                    <a:pt x="237" y="442"/>
                  </a:lnTo>
                  <a:lnTo>
                    <a:pt x="237" y="436"/>
                  </a:lnTo>
                  <a:lnTo>
                    <a:pt x="234" y="433"/>
                  </a:lnTo>
                  <a:lnTo>
                    <a:pt x="229" y="429"/>
                  </a:lnTo>
                  <a:lnTo>
                    <a:pt x="226" y="430"/>
                  </a:lnTo>
                  <a:lnTo>
                    <a:pt x="224" y="427"/>
                  </a:lnTo>
                  <a:lnTo>
                    <a:pt x="220" y="426"/>
                  </a:lnTo>
                  <a:lnTo>
                    <a:pt x="217" y="425"/>
                  </a:lnTo>
                  <a:lnTo>
                    <a:pt x="215" y="424"/>
                  </a:lnTo>
                  <a:lnTo>
                    <a:pt x="211" y="423"/>
                  </a:lnTo>
                  <a:lnTo>
                    <a:pt x="208" y="426"/>
                  </a:lnTo>
                  <a:lnTo>
                    <a:pt x="205" y="422"/>
                  </a:lnTo>
                  <a:lnTo>
                    <a:pt x="202" y="421"/>
                  </a:lnTo>
                  <a:lnTo>
                    <a:pt x="200" y="417"/>
                  </a:lnTo>
                  <a:lnTo>
                    <a:pt x="199" y="413"/>
                  </a:lnTo>
                  <a:lnTo>
                    <a:pt x="200" y="406"/>
                  </a:lnTo>
                  <a:lnTo>
                    <a:pt x="201" y="403"/>
                  </a:lnTo>
                  <a:lnTo>
                    <a:pt x="199" y="407"/>
                  </a:lnTo>
                  <a:lnTo>
                    <a:pt x="198" y="411"/>
                  </a:lnTo>
                  <a:lnTo>
                    <a:pt x="195" y="413"/>
                  </a:lnTo>
                  <a:lnTo>
                    <a:pt x="194" y="415"/>
                  </a:lnTo>
                  <a:lnTo>
                    <a:pt x="192" y="415"/>
                  </a:lnTo>
                  <a:lnTo>
                    <a:pt x="188" y="413"/>
                  </a:lnTo>
                  <a:lnTo>
                    <a:pt x="186" y="416"/>
                  </a:lnTo>
                  <a:lnTo>
                    <a:pt x="184" y="413"/>
                  </a:lnTo>
                  <a:lnTo>
                    <a:pt x="181" y="409"/>
                  </a:lnTo>
                  <a:lnTo>
                    <a:pt x="179" y="406"/>
                  </a:lnTo>
                  <a:lnTo>
                    <a:pt x="177" y="402"/>
                  </a:lnTo>
                  <a:lnTo>
                    <a:pt x="176" y="399"/>
                  </a:lnTo>
                  <a:lnTo>
                    <a:pt x="174" y="395"/>
                  </a:lnTo>
                  <a:lnTo>
                    <a:pt x="172" y="392"/>
                  </a:lnTo>
                  <a:lnTo>
                    <a:pt x="168" y="385"/>
                  </a:lnTo>
                  <a:lnTo>
                    <a:pt x="162" y="384"/>
                  </a:lnTo>
                  <a:lnTo>
                    <a:pt x="159" y="382"/>
                  </a:lnTo>
                  <a:lnTo>
                    <a:pt x="157" y="377"/>
                  </a:lnTo>
                  <a:lnTo>
                    <a:pt x="155" y="373"/>
                  </a:lnTo>
                  <a:lnTo>
                    <a:pt x="155" y="370"/>
                  </a:lnTo>
                  <a:lnTo>
                    <a:pt x="154" y="366"/>
                  </a:lnTo>
                  <a:lnTo>
                    <a:pt x="152" y="363"/>
                  </a:lnTo>
                  <a:lnTo>
                    <a:pt x="152" y="360"/>
                  </a:lnTo>
                  <a:lnTo>
                    <a:pt x="153" y="357"/>
                  </a:lnTo>
                  <a:lnTo>
                    <a:pt x="155" y="354"/>
                  </a:lnTo>
                  <a:lnTo>
                    <a:pt x="158" y="348"/>
                  </a:lnTo>
                  <a:lnTo>
                    <a:pt x="158" y="345"/>
                  </a:lnTo>
                  <a:lnTo>
                    <a:pt x="157" y="341"/>
                  </a:lnTo>
                  <a:lnTo>
                    <a:pt x="157" y="338"/>
                  </a:lnTo>
                  <a:lnTo>
                    <a:pt x="156" y="335"/>
                  </a:lnTo>
                  <a:lnTo>
                    <a:pt x="155" y="331"/>
                  </a:lnTo>
                  <a:lnTo>
                    <a:pt x="156" y="328"/>
                  </a:lnTo>
                  <a:lnTo>
                    <a:pt x="158" y="326"/>
                  </a:lnTo>
                  <a:lnTo>
                    <a:pt x="155" y="320"/>
                  </a:lnTo>
                  <a:lnTo>
                    <a:pt x="152" y="317"/>
                  </a:lnTo>
                  <a:lnTo>
                    <a:pt x="147" y="311"/>
                  </a:lnTo>
                  <a:lnTo>
                    <a:pt x="144" y="310"/>
                  </a:lnTo>
                  <a:lnTo>
                    <a:pt x="140" y="305"/>
                  </a:lnTo>
                  <a:lnTo>
                    <a:pt x="139" y="302"/>
                  </a:lnTo>
                  <a:lnTo>
                    <a:pt x="137" y="299"/>
                  </a:lnTo>
                  <a:lnTo>
                    <a:pt x="135" y="293"/>
                  </a:lnTo>
                  <a:lnTo>
                    <a:pt x="134" y="290"/>
                  </a:lnTo>
                  <a:lnTo>
                    <a:pt x="133" y="287"/>
                  </a:lnTo>
                  <a:lnTo>
                    <a:pt x="137" y="284"/>
                  </a:lnTo>
                  <a:lnTo>
                    <a:pt x="138" y="278"/>
                  </a:lnTo>
                  <a:lnTo>
                    <a:pt x="136" y="275"/>
                  </a:lnTo>
                  <a:lnTo>
                    <a:pt x="136" y="271"/>
                  </a:lnTo>
                  <a:lnTo>
                    <a:pt x="132" y="270"/>
                  </a:lnTo>
                  <a:lnTo>
                    <a:pt x="129" y="269"/>
                  </a:lnTo>
                  <a:lnTo>
                    <a:pt x="127" y="270"/>
                  </a:lnTo>
                  <a:lnTo>
                    <a:pt x="123" y="267"/>
                  </a:lnTo>
                  <a:lnTo>
                    <a:pt x="123" y="264"/>
                  </a:lnTo>
                  <a:lnTo>
                    <a:pt x="123" y="261"/>
                  </a:lnTo>
                  <a:lnTo>
                    <a:pt x="125" y="258"/>
                  </a:lnTo>
                  <a:lnTo>
                    <a:pt x="125" y="255"/>
                  </a:lnTo>
                  <a:lnTo>
                    <a:pt x="123" y="252"/>
                  </a:lnTo>
                  <a:lnTo>
                    <a:pt x="121" y="247"/>
                  </a:lnTo>
                  <a:lnTo>
                    <a:pt x="120" y="244"/>
                  </a:lnTo>
                  <a:lnTo>
                    <a:pt x="119" y="239"/>
                  </a:lnTo>
                  <a:lnTo>
                    <a:pt x="118" y="235"/>
                  </a:lnTo>
                  <a:lnTo>
                    <a:pt x="118" y="231"/>
                  </a:lnTo>
                  <a:lnTo>
                    <a:pt x="121" y="229"/>
                  </a:lnTo>
                  <a:lnTo>
                    <a:pt x="122" y="225"/>
                  </a:lnTo>
                  <a:lnTo>
                    <a:pt x="121" y="223"/>
                  </a:lnTo>
                  <a:lnTo>
                    <a:pt x="118" y="222"/>
                  </a:lnTo>
                  <a:lnTo>
                    <a:pt x="114" y="219"/>
                  </a:lnTo>
                  <a:lnTo>
                    <a:pt x="110" y="217"/>
                  </a:lnTo>
                  <a:lnTo>
                    <a:pt x="107" y="209"/>
                  </a:lnTo>
                  <a:lnTo>
                    <a:pt x="105" y="208"/>
                  </a:lnTo>
                  <a:lnTo>
                    <a:pt x="102" y="211"/>
                  </a:lnTo>
                  <a:lnTo>
                    <a:pt x="100" y="206"/>
                  </a:lnTo>
                  <a:lnTo>
                    <a:pt x="99" y="202"/>
                  </a:lnTo>
                  <a:lnTo>
                    <a:pt x="97" y="199"/>
                  </a:lnTo>
                  <a:lnTo>
                    <a:pt x="95" y="196"/>
                  </a:lnTo>
                  <a:lnTo>
                    <a:pt x="89" y="193"/>
                  </a:lnTo>
                  <a:lnTo>
                    <a:pt x="85" y="189"/>
                  </a:lnTo>
                  <a:lnTo>
                    <a:pt x="82" y="190"/>
                  </a:lnTo>
                  <a:lnTo>
                    <a:pt x="80" y="187"/>
                  </a:lnTo>
                  <a:lnTo>
                    <a:pt x="76" y="187"/>
                  </a:lnTo>
                  <a:lnTo>
                    <a:pt x="73" y="187"/>
                  </a:lnTo>
                  <a:lnTo>
                    <a:pt x="70" y="186"/>
                  </a:lnTo>
                  <a:lnTo>
                    <a:pt x="68" y="186"/>
                  </a:lnTo>
                  <a:lnTo>
                    <a:pt x="65" y="185"/>
                  </a:lnTo>
                  <a:lnTo>
                    <a:pt x="57" y="186"/>
                  </a:lnTo>
                  <a:lnTo>
                    <a:pt x="55" y="183"/>
                  </a:lnTo>
                  <a:lnTo>
                    <a:pt x="50" y="179"/>
                  </a:lnTo>
                  <a:lnTo>
                    <a:pt x="44" y="178"/>
                  </a:lnTo>
                  <a:lnTo>
                    <a:pt x="43" y="175"/>
                  </a:lnTo>
                  <a:lnTo>
                    <a:pt x="37" y="172"/>
                  </a:lnTo>
                  <a:lnTo>
                    <a:pt x="34" y="171"/>
                  </a:lnTo>
                  <a:lnTo>
                    <a:pt x="31" y="167"/>
                  </a:lnTo>
                  <a:lnTo>
                    <a:pt x="27" y="165"/>
                  </a:lnTo>
                  <a:lnTo>
                    <a:pt x="23" y="160"/>
                  </a:lnTo>
                  <a:lnTo>
                    <a:pt x="20" y="158"/>
                  </a:lnTo>
                  <a:lnTo>
                    <a:pt x="17" y="156"/>
                  </a:lnTo>
                  <a:lnTo>
                    <a:pt x="11" y="155"/>
                  </a:lnTo>
                  <a:lnTo>
                    <a:pt x="10" y="152"/>
                  </a:lnTo>
                  <a:lnTo>
                    <a:pt x="11" y="150"/>
                  </a:lnTo>
                  <a:lnTo>
                    <a:pt x="10" y="147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13" y="140"/>
                  </a:lnTo>
                  <a:lnTo>
                    <a:pt x="16" y="135"/>
                  </a:lnTo>
                  <a:lnTo>
                    <a:pt x="11" y="127"/>
                  </a:lnTo>
                  <a:lnTo>
                    <a:pt x="11" y="124"/>
                  </a:lnTo>
                  <a:lnTo>
                    <a:pt x="18" y="116"/>
                  </a:lnTo>
                  <a:lnTo>
                    <a:pt x="29" y="116"/>
                  </a:lnTo>
                  <a:lnTo>
                    <a:pt x="46" y="137"/>
                  </a:lnTo>
                  <a:lnTo>
                    <a:pt x="51" y="141"/>
                  </a:lnTo>
                  <a:lnTo>
                    <a:pt x="53" y="146"/>
                  </a:lnTo>
                  <a:lnTo>
                    <a:pt x="57" y="150"/>
                  </a:lnTo>
                  <a:lnTo>
                    <a:pt x="60" y="152"/>
                  </a:lnTo>
                  <a:lnTo>
                    <a:pt x="63" y="161"/>
                  </a:lnTo>
                  <a:lnTo>
                    <a:pt x="68" y="161"/>
                  </a:lnTo>
                  <a:lnTo>
                    <a:pt x="80" y="163"/>
                  </a:lnTo>
                  <a:lnTo>
                    <a:pt x="86" y="161"/>
                  </a:lnTo>
                  <a:lnTo>
                    <a:pt x="92" y="166"/>
                  </a:lnTo>
                  <a:lnTo>
                    <a:pt x="101" y="158"/>
                  </a:lnTo>
                  <a:lnTo>
                    <a:pt x="106" y="156"/>
                  </a:lnTo>
                  <a:lnTo>
                    <a:pt x="109" y="154"/>
                  </a:lnTo>
                  <a:lnTo>
                    <a:pt x="109" y="150"/>
                  </a:lnTo>
                  <a:lnTo>
                    <a:pt x="109" y="146"/>
                  </a:lnTo>
                  <a:lnTo>
                    <a:pt x="113" y="143"/>
                  </a:lnTo>
                  <a:lnTo>
                    <a:pt x="121" y="146"/>
                  </a:lnTo>
                  <a:lnTo>
                    <a:pt x="123" y="148"/>
                  </a:lnTo>
                  <a:lnTo>
                    <a:pt x="129" y="150"/>
                  </a:lnTo>
                  <a:lnTo>
                    <a:pt x="134" y="151"/>
                  </a:lnTo>
                  <a:lnTo>
                    <a:pt x="141" y="152"/>
                  </a:lnTo>
                  <a:lnTo>
                    <a:pt x="144" y="154"/>
                  </a:lnTo>
                  <a:lnTo>
                    <a:pt x="148" y="157"/>
                  </a:lnTo>
                  <a:lnTo>
                    <a:pt x="149" y="160"/>
                  </a:lnTo>
                  <a:lnTo>
                    <a:pt x="152" y="157"/>
                  </a:lnTo>
                  <a:lnTo>
                    <a:pt x="153" y="154"/>
                  </a:lnTo>
                  <a:lnTo>
                    <a:pt x="156" y="152"/>
                  </a:lnTo>
                  <a:lnTo>
                    <a:pt x="158" y="148"/>
                  </a:lnTo>
                  <a:lnTo>
                    <a:pt x="156" y="141"/>
                  </a:lnTo>
                  <a:lnTo>
                    <a:pt x="156" y="137"/>
                  </a:lnTo>
                  <a:lnTo>
                    <a:pt x="156" y="134"/>
                  </a:lnTo>
                  <a:lnTo>
                    <a:pt x="161" y="127"/>
                  </a:lnTo>
                  <a:lnTo>
                    <a:pt x="164" y="125"/>
                  </a:lnTo>
                  <a:lnTo>
                    <a:pt x="168" y="126"/>
                  </a:lnTo>
                  <a:lnTo>
                    <a:pt x="170" y="122"/>
                  </a:lnTo>
                  <a:lnTo>
                    <a:pt x="170" y="118"/>
                  </a:lnTo>
                  <a:lnTo>
                    <a:pt x="170" y="115"/>
                  </a:lnTo>
                  <a:lnTo>
                    <a:pt x="170" y="111"/>
                  </a:lnTo>
                  <a:lnTo>
                    <a:pt x="168" y="108"/>
                  </a:lnTo>
                  <a:lnTo>
                    <a:pt x="168" y="103"/>
                  </a:lnTo>
                  <a:lnTo>
                    <a:pt x="166" y="99"/>
                  </a:lnTo>
                  <a:lnTo>
                    <a:pt x="165" y="96"/>
                  </a:lnTo>
                  <a:lnTo>
                    <a:pt x="164" y="86"/>
                  </a:lnTo>
                  <a:lnTo>
                    <a:pt x="165" y="79"/>
                  </a:lnTo>
                  <a:lnTo>
                    <a:pt x="163" y="74"/>
                  </a:lnTo>
                  <a:lnTo>
                    <a:pt x="164" y="72"/>
                  </a:lnTo>
                  <a:lnTo>
                    <a:pt x="163" y="69"/>
                  </a:lnTo>
                  <a:lnTo>
                    <a:pt x="163" y="66"/>
                  </a:lnTo>
                  <a:lnTo>
                    <a:pt x="164" y="62"/>
                  </a:lnTo>
                  <a:lnTo>
                    <a:pt x="164" y="58"/>
                  </a:lnTo>
                  <a:lnTo>
                    <a:pt x="162" y="54"/>
                  </a:lnTo>
                  <a:lnTo>
                    <a:pt x="161" y="52"/>
                  </a:lnTo>
                  <a:lnTo>
                    <a:pt x="162" y="49"/>
                  </a:lnTo>
                  <a:lnTo>
                    <a:pt x="167" y="46"/>
                  </a:lnTo>
                  <a:lnTo>
                    <a:pt x="169" y="41"/>
                  </a:lnTo>
                  <a:lnTo>
                    <a:pt x="169" y="37"/>
                  </a:lnTo>
                  <a:lnTo>
                    <a:pt x="171" y="33"/>
                  </a:lnTo>
                  <a:lnTo>
                    <a:pt x="171" y="30"/>
                  </a:lnTo>
                  <a:lnTo>
                    <a:pt x="172" y="27"/>
                  </a:lnTo>
                  <a:lnTo>
                    <a:pt x="173" y="24"/>
                  </a:lnTo>
                  <a:lnTo>
                    <a:pt x="178" y="22"/>
                  </a:lnTo>
                  <a:lnTo>
                    <a:pt x="180" y="22"/>
                  </a:lnTo>
                  <a:lnTo>
                    <a:pt x="183" y="21"/>
                  </a:lnTo>
                  <a:lnTo>
                    <a:pt x="186" y="21"/>
                  </a:lnTo>
                  <a:lnTo>
                    <a:pt x="190" y="22"/>
                  </a:lnTo>
                  <a:lnTo>
                    <a:pt x="197" y="18"/>
                  </a:lnTo>
                  <a:lnTo>
                    <a:pt x="199" y="10"/>
                  </a:lnTo>
                  <a:lnTo>
                    <a:pt x="202" y="7"/>
                  </a:lnTo>
                  <a:lnTo>
                    <a:pt x="203" y="3"/>
                  </a:lnTo>
                  <a:lnTo>
                    <a:pt x="208" y="2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58" name="FR">
              <a:extLst>
                <a:ext uri="{FF2B5EF4-FFF2-40B4-BE49-F238E27FC236}">
                  <a16:creationId xmlns:a16="http://schemas.microsoft.com/office/drawing/2014/main" id="{8BA9BD23-E176-2ABB-6B67-C33AEC5EE8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6510" y="4304554"/>
              <a:ext cx="1709859" cy="1643138"/>
            </a:xfrm>
            <a:custGeom>
              <a:avLst/>
              <a:gdLst>
                <a:gd name="T0" fmla="*/ 900 w 900"/>
                <a:gd name="T1" fmla="*/ 839 h 927"/>
                <a:gd name="T2" fmla="*/ 877 w 900"/>
                <a:gd name="T3" fmla="*/ 923 h 927"/>
                <a:gd name="T4" fmla="*/ 839 w 900"/>
                <a:gd name="T5" fmla="*/ 891 h 927"/>
                <a:gd name="T6" fmla="*/ 832 w 900"/>
                <a:gd name="T7" fmla="*/ 847 h 927"/>
                <a:gd name="T8" fmla="*/ 864 w 900"/>
                <a:gd name="T9" fmla="*/ 808 h 927"/>
                <a:gd name="T10" fmla="*/ 203 w 900"/>
                <a:gd name="T11" fmla="*/ 448 h 927"/>
                <a:gd name="T12" fmla="*/ 190 w 900"/>
                <a:gd name="T13" fmla="*/ 414 h 927"/>
                <a:gd name="T14" fmla="*/ 105 w 900"/>
                <a:gd name="T15" fmla="*/ 302 h 927"/>
                <a:gd name="T16" fmla="*/ 504 w 900"/>
                <a:gd name="T17" fmla="*/ 34 h 927"/>
                <a:gd name="T18" fmla="*/ 553 w 900"/>
                <a:gd name="T19" fmla="*/ 69 h 927"/>
                <a:gd name="T20" fmla="*/ 579 w 900"/>
                <a:gd name="T21" fmla="*/ 111 h 927"/>
                <a:gd name="T22" fmla="*/ 624 w 900"/>
                <a:gd name="T23" fmla="*/ 133 h 927"/>
                <a:gd name="T24" fmla="*/ 675 w 900"/>
                <a:gd name="T25" fmla="*/ 159 h 927"/>
                <a:gd name="T26" fmla="*/ 734 w 900"/>
                <a:gd name="T27" fmla="*/ 198 h 927"/>
                <a:gd name="T28" fmla="*/ 789 w 900"/>
                <a:gd name="T29" fmla="*/ 211 h 927"/>
                <a:gd name="T30" fmla="*/ 792 w 900"/>
                <a:gd name="T31" fmla="*/ 268 h 927"/>
                <a:gd name="T32" fmla="*/ 778 w 900"/>
                <a:gd name="T33" fmla="*/ 346 h 927"/>
                <a:gd name="T34" fmla="*/ 740 w 900"/>
                <a:gd name="T35" fmla="*/ 365 h 927"/>
                <a:gd name="T36" fmla="*/ 691 w 900"/>
                <a:gd name="T37" fmla="*/ 427 h 927"/>
                <a:gd name="T38" fmla="*/ 688 w 900"/>
                <a:gd name="T39" fmla="*/ 465 h 927"/>
                <a:gd name="T40" fmla="*/ 736 w 900"/>
                <a:gd name="T41" fmla="*/ 496 h 927"/>
                <a:gd name="T42" fmla="*/ 744 w 900"/>
                <a:gd name="T43" fmla="*/ 550 h 927"/>
                <a:gd name="T44" fmla="*/ 722 w 900"/>
                <a:gd name="T45" fmla="*/ 598 h 927"/>
                <a:gd name="T46" fmla="*/ 731 w 900"/>
                <a:gd name="T47" fmla="*/ 657 h 927"/>
                <a:gd name="T48" fmla="*/ 754 w 900"/>
                <a:gd name="T49" fmla="*/ 702 h 927"/>
                <a:gd name="T50" fmla="*/ 705 w 900"/>
                <a:gd name="T51" fmla="*/ 744 h 927"/>
                <a:gd name="T52" fmla="*/ 650 w 900"/>
                <a:gd name="T53" fmla="*/ 757 h 927"/>
                <a:gd name="T54" fmla="*/ 595 w 900"/>
                <a:gd name="T55" fmla="*/ 733 h 927"/>
                <a:gd name="T56" fmla="*/ 574 w 900"/>
                <a:gd name="T57" fmla="*/ 712 h 927"/>
                <a:gd name="T58" fmla="*/ 518 w 900"/>
                <a:gd name="T59" fmla="*/ 706 h 927"/>
                <a:gd name="T60" fmla="*/ 459 w 900"/>
                <a:gd name="T61" fmla="*/ 754 h 927"/>
                <a:gd name="T62" fmla="*/ 447 w 900"/>
                <a:gd name="T63" fmla="*/ 803 h 927"/>
                <a:gd name="T64" fmla="*/ 382 w 900"/>
                <a:gd name="T65" fmla="*/ 807 h 927"/>
                <a:gd name="T66" fmla="*/ 306 w 900"/>
                <a:gd name="T67" fmla="*/ 756 h 927"/>
                <a:gd name="T68" fmla="*/ 239 w 900"/>
                <a:gd name="T69" fmla="*/ 757 h 927"/>
                <a:gd name="T70" fmla="*/ 174 w 900"/>
                <a:gd name="T71" fmla="*/ 721 h 927"/>
                <a:gd name="T72" fmla="*/ 140 w 900"/>
                <a:gd name="T73" fmla="*/ 688 h 927"/>
                <a:gd name="T74" fmla="*/ 187 w 900"/>
                <a:gd name="T75" fmla="*/ 566 h 927"/>
                <a:gd name="T76" fmla="*/ 225 w 900"/>
                <a:gd name="T77" fmla="*/ 510 h 927"/>
                <a:gd name="T78" fmla="*/ 227 w 900"/>
                <a:gd name="T79" fmla="*/ 499 h 927"/>
                <a:gd name="T80" fmla="*/ 214 w 900"/>
                <a:gd name="T81" fmla="*/ 443 h 927"/>
                <a:gd name="T82" fmla="*/ 190 w 900"/>
                <a:gd name="T83" fmla="*/ 399 h 927"/>
                <a:gd name="T84" fmla="*/ 169 w 900"/>
                <a:gd name="T85" fmla="*/ 334 h 927"/>
                <a:gd name="T86" fmla="*/ 164 w 900"/>
                <a:gd name="T87" fmla="*/ 311 h 927"/>
                <a:gd name="T88" fmla="*/ 145 w 900"/>
                <a:gd name="T89" fmla="*/ 287 h 927"/>
                <a:gd name="T90" fmla="*/ 129 w 900"/>
                <a:gd name="T91" fmla="*/ 274 h 927"/>
                <a:gd name="T92" fmla="*/ 110 w 900"/>
                <a:gd name="T93" fmla="*/ 265 h 927"/>
                <a:gd name="T94" fmla="*/ 66 w 900"/>
                <a:gd name="T95" fmla="*/ 247 h 927"/>
                <a:gd name="T96" fmla="*/ 16 w 900"/>
                <a:gd name="T97" fmla="*/ 214 h 927"/>
                <a:gd name="T98" fmla="*/ 54 w 900"/>
                <a:gd name="T99" fmla="*/ 197 h 927"/>
                <a:gd name="T100" fmla="*/ 23 w 900"/>
                <a:gd name="T101" fmla="*/ 171 h 927"/>
                <a:gd name="T102" fmla="*/ 75 w 900"/>
                <a:gd name="T103" fmla="*/ 166 h 927"/>
                <a:gd name="T104" fmla="*/ 120 w 900"/>
                <a:gd name="T105" fmla="*/ 161 h 927"/>
                <a:gd name="T106" fmla="*/ 153 w 900"/>
                <a:gd name="T107" fmla="*/ 193 h 927"/>
                <a:gd name="T108" fmla="*/ 195 w 900"/>
                <a:gd name="T109" fmla="*/ 200 h 927"/>
                <a:gd name="T110" fmla="*/ 222 w 900"/>
                <a:gd name="T111" fmla="*/ 173 h 927"/>
                <a:gd name="T112" fmla="*/ 215 w 900"/>
                <a:gd name="T113" fmla="*/ 115 h 927"/>
                <a:gd name="T114" fmla="*/ 248 w 900"/>
                <a:gd name="T115" fmla="*/ 112 h 927"/>
                <a:gd name="T116" fmla="*/ 334 w 900"/>
                <a:gd name="T117" fmla="*/ 138 h 927"/>
                <a:gd name="T118" fmla="*/ 407 w 900"/>
                <a:gd name="T119" fmla="*/ 91 h 927"/>
                <a:gd name="T120" fmla="*/ 435 w 900"/>
                <a:gd name="T121" fmla="*/ 24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0" h="927">
                  <a:moveTo>
                    <a:pt x="891" y="774"/>
                  </a:moveTo>
                  <a:lnTo>
                    <a:pt x="893" y="775"/>
                  </a:lnTo>
                  <a:lnTo>
                    <a:pt x="894" y="778"/>
                  </a:lnTo>
                  <a:lnTo>
                    <a:pt x="895" y="782"/>
                  </a:lnTo>
                  <a:lnTo>
                    <a:pt x="896" y="792"/>
                  </a:lnTo>
                  <a:lnTo>
                    <a:pt x="896" y="794"/>
                  </a:lnTo>
                  <a:lnTo>
                    <a:pt x="893" y="803"/>
                  </a:lnTo>
                  <a:lnTo>
                    <a:pt x="893" y="805"/>
                  </a:lnTo>
                  <a:lnTo>
                    <a:pt x="893" y="808"/>
                  </a:lnTo>
                  <a:lnTo>
                    <a:pt x="894" y="810"/>
                  </a:lnTo>
                  <a:lnTo>
                    <a:pt x="895" y="813"/>
                  </a:lnTo>
                  <a:lnTo>
                    <a:pt x="898" y="816"/>
                  </a:lnTo>
                  <a:lnTo>
                    <a:pt x="896" y="812"/>
                  </a:lnTo>
                  <a:lnTo>
                    <a:pt x="898" y="815"/>
                  </a:lnTo>
                  <a:lnTo>
                    <a:pt x="899" y="818"/>
                  </a:lnTo>
                  <a:lnTo>
                    <a:pt x="899" y="823"/>
                  </a:lnTo>
                  <a:lnTo>
                    <a:pt x="899" y="826"/>
                  </a:lnTo>
                  <a:lnTo>
                    <a:pt x="899" y="829"/>
                  </a:lnTo>
                  <a:lnTo>
                    <a:pt x="899" y="832"/>
                  </a:lnTo>
                  <a:lnTo>
                    <a:pt x="899" y="835"/>
                  </a:lnTo>
                  <a:lnTo>
                    <a:pt x="900" y="839"/>
                  </a:lnTo>
                  <a:lnTo>
                    <a:pt x="900" y="853"/>
                  </a:lnTo>
                  <a:lnTo>
                    <a:pt x="900" y="856"/>
                  </a:lnTo>
                  <a:lnTo>
                    <a:pt x="900" y="859"/>
                  </a:lnTo>
                  <a:lnTo>
                    <a:pt x="897" y="862"/>
                  </a:lnTo>
                  <a:lnTo>
                    <a:pt x="891" y="871"/>
                  </a:lnTo>
                  <a:lnTo>
                    <a:pt x="890" y="876"/>
                  </a:lnTo>
                  <a:lnTo>
                    <a:pt x="889" y="883"/>
                  </a:lnTo>
                  <a:lnTo>
                    <a:pt x="890" y="889"/>
                  </a:lnTo>
                  <a:lnTo>
                    <a:pt x="890" y="896"/>
                  </a:lnTo>
                  <a:lnTo>
                    <a:pt x="887" y="898"/>
                  </a:lnTo>
                  <a:lnTo>
                    <a:pt x="887" y="901"/>
                  </a:lnTo>
                  <a:lnTo>
                    <a:pt x="885" y="903"/>
                  </a:lnTo>
                  <a:lnTo>
                    <a:pt x="882" y="903"/>
                  </a:lnTo>
                  <a:lnTo>
                    <a:pt x="882" y="906"/>
                  </a:lnTo>
                  <a:lnTo>
                    <a:pt x="886" y="905"/>
                  </a:lnTo>
                  <a:lnTo>
                    <a:pt x="885" y="908"/>
                  </a:lnTo>
                  <a:lnTo>
                    <a:pt x="882" y="910"/>
                  </a:lnTo>
                  <a:lnTo>
                    <a:pt x="880" y="912"/>
                  </a:lnTo>
                  <a:lnTo>
                    <a:pt x="881" y="915"/>
                  </a:lnTo>
                  <a:lnTo>
                    <a:pt x="877" y="919"/>
                  </a:lnTo>
                  <a:lnTo>
                    <a:pt x="877" y="923"/>
                  </a:lnTo>
                  <a:lnTo>
                    <a:pt x="877" y="926"/>
                  </a:lnTo>
                  <a:lnTo>
                    <a:pt x="875" y="927"/>
                  </a:lnTo>
                  <a:lnTo>
                    <a:pt x="872" y="925"/>
                  </a:lnTo>
                  <a:lnTo>
                    <a:pt x="868" y="924"/>
                  </a:lnTo>
                  <a:lnTo>
                    <a:pt x="869" y="920"/>
                  </a:lnTo>
                  <a:lnTo>
                    <a:pt x="866" y="918"/>
                  </a:lnTo>
                  <a:lnTo>
                    <a:pt x="863" y="917"/>
                  </a:lnTo>
                  <a:lnTo>
                    <a:pt x="859" y="915"/>
                  </a:lnTo>
                  <a:lnTo>
                    <a:pt x="856" y="915"/>
                  </a:lnTo>
                  <a:lnTo>
                    <a:pt x="852" y="913"/>
                  </a:lnTo>
                  <a:lnTo>
                    <a:pt x="849" y="911"/>
                  </a:lnTo>
                  <a:lnTo>
                    <a:pt x="847" y="909"/>
                  </a:lnTo>
                  <a:lnTo>
                    <a:pt x="846" y="906"/>
                  </a:lnTo>
                  <a:lnTo>
                    <a:pt x="846" y="902"/>
                  </a:lnTo>
                  <a:lnTo>
                    <a:pt x="852" y="900"/>
                  </a:lnTo>
                  <a:lnTo>
                    <a:pt x="855" y="897"/>
                  </a:lnTo>
                  <a:lnTo>
                    <a:pt x="849" y="895"/>
                  </a:lnTo>
                  <a:lnTo>
                    <a:pt x="846" y="894"/>
                  </a:lnTo>
                  <a:lnTo>
                    <a:pt x="846" y="892"/>
                  </a:lnTo>
                  <a:lnTo>
                    <a:pt x="841" y="893"/>
                  </a:lnTo>
                  <a:lnTo>
                    <a:pt x="839" y="891"/>
                  </a:lnTo>
                  <a:lnTo>
                    <a:pt x="841" y="889"/>
                  </a:lnTo>
                  <a:lnTo>
                    <a:pt x="841" y="886"/>
                  </a:lnTo>
                  <a:lnTo>
                    <a:pt x="844" y="886"/>
                  </a:lnTo>
                  <a:lnTo>
                    <a:pt x="845" y="883"/>
                  </a:lnTo>
                  <a:lnTo>
                    <a:pt x="846" y="880"/>
                  </a:lnTo>
                  <a:lnTo>
                    <a:pt x="848" y="877"/>
                  </a:lnTo>
                  <a:lnTo>
                    <a:pt x="845" y="874"/>
                  </a:lnTo>
                  <a:lnTo>
                    <a:pt x="841" y="876"/>
                  </a:lnTo>
                  <a:lnTo>
                    <a:pt x="837" y="876"/>
                  </a:lnTo>
                  <a:lnTo>
                    <a:pt x="834" y="876"/>
                  </a:lnTo>
                  <a:lnTo>
                    <a:pt x="834" y="873"/>
                  </a:lnTo>
                  <a:lnTo>
                    <a:pt x="836" y="871"/>
                  </a:lnTo>
                  <a:lnTo>
                    <a:pt x="837" y="868"/>
                  </a:lnTo>
                  <a:lnTo>
                    <a:pt x="841" y="865"/>
                  </a:lnTo>
                  <a:lnTo>
                    <a:pt x="843" y="864"/>
                  </a:lnTo>
                  <a:lnTo>
                    <a:pt x="841" y="859"/>
                  </a:lnTo>
                  <a:lnTo>
                    <a:pt x="838" y="858"/>
                  </a:lnTo>
                  <a:lnTo>
                    <a:pt x="834" y="856"/>
                  </a:lnTo>
                  <a:lnTo>
                    <a:pt x="832" y="854"/>
                  </a:lnTo>
                  <a:lnTo>
                    <a:pt x="832" y="850"/>
                  </a:lnTo>
                  <a:lnTo>
                    <a:pt x="832" y="847"/>
                  </a:lnTo>
                  <a:lnTo>
                    <a:pt x="834" y="844"/>
                  </a:lnTo>
                  <a:lnTo>
                    <a:pt x="837" y="843"/>
                  </a:lnTo>
                  <a:lnTo>
                    <a:pt x="840" y="842"/>
                  </a:lnTo>
                  <a:lnTo>
                    <a:pt x="836" y="839"/>
                  </a:lnTo>
                  <a:lnTo>
                    <a:pt x="836" y="836"/>
                  </a:lnTo>
                  <a:lnTo>
                    <a:pt x="834" y="835"/>
                  </a:lnTo>
                  <a:lnTo>
                    <a:pt x="831" y="836"/>
                  </a:lnTo>
                  <a:lnTo>
                    <a:pt x="831" y="832"/>
                  </a:lnTo>
                  <a:lnTo>
                    <a:pt x="833" y="831"/>
                  </a:lnTo>
                  <a:lnTo>
                    <a:pt x="838" y="828"/>
                  </a:lnTo>
                  <a:lnTo>
                    <a:pt x="838" y="826"/>
                  </a:lnTo>
                  <a:lnTo>
                    <a:pt x="838" y="823"/>
                  </a:lnTo>
                  <a:lnTo>
                    <a:pt x="839" y="820"/>
                  </a:lnTo>
                  <a:lnTo>
                    <a:pt x="842" y="819"/>
                  </a:lnTo>
                  <a:lnTo>
                    <a:pt x="842" y="816"/>
                  </a:lnTo>
                  <a:lnTo>
                    <a:pt x="845" y="816"/>
                  </a:lnTo>
                  <a:lnTo>
                    <a:pt x="848" y="815"/>
                  </a:lnTo>
                  <a:lnTo>
                    <a:pt x="848" y="812"/>
                  </a:lnTo>
                  <a:lnTo>
                    <a:pt x="851" y="812"/>
                  </a:lnTo>
                  <a:lnTo>
                    <a:pt x="855" y="809"/>
                  </a:lnTo>
                  <a:lnTo>
                    <a:pt x="864" y="808"/>
                  </a:lnTo>
                  <a:lnTo>
                    <a:pt x="866" y="805"/>
                  </a:lnTo>
                  <a:lnTo>
                    <a:pt x="870" y="801"/>
                  </a:lnTo>
                  <a:lnTo>
                    <a:pt x="874" y="800"/>
                  </a:lnTo>
                  <a:lnTo>
                    <a:pt x="879" y="801"/>
                  </a:lnTo>
                  <a:lnTo>
                    <a:pt x="882" y="804"/>
                  </a:lnTo>
                  <a:lnTo>
                    <a:pt x="885" y="802"/>
                  </a:lnTo>
                  <a:lnTo>
                    <a:pt x="886" y="799"/>
                  </a:lnTo>
                  <a:lnTo>
                    <a:pt x="886" y="795"/>
                  </a:lnTo>
                  <a:lnTo>
                    <a:pt x="885" y="792"/>
                  </a:lnTo>
                  <a:lnTo>
                    <a:pt x="886" y="788"/>
                  </a:lnTo>
                  <a:lnTo>
                    <a:pt x="885" y="785"/>
                  </a:lnTo>
                  <a:lnTo>
                    <a:pt x="887" y="781"/>
                  </a:lnTo>
                  <a:lnTo>
                    <a:pt x="886" y="778"/>
                  </a:lnTo>
                  <a:lnTo>
                    <a:pt x="887" y="775"/>
                  </a:lnTo>
                  <a:lnTo>
                    <a:pt x="891" y="774"/>
                  </a:lnTo>
                  <a:close/>
                  <a:moveTo>
                    <a:pt x="193" y="434"/>
                  </a:moveTo>
                  <a:lnTo>
                    <a:pt x="197" y="436"/>
                  </a:lnTo>
                  <a:lnTo>
                    <a:pt x="200" y="440"/>
                  </a:lnTo>
                  <a:lnTo>
                    <a:pt x="202" y="441"/>
                  </a:lnTo>
                  <a:lnTo>
                    <a:pt x="203" y="445"/>
                  </a:lnTo>
                  <a:lnTo>
                    <a:pt x="203" y="448"/>
                  </a:lnTo>
                  <a:lnTo>
                    <a:pt x="205" y="450"/>
                  </a:lnTo>
                  <a:lnTo>
                    <a:pt x="204" y="455"/>
                  </a:lnTo>
                  <a:lnTo>
                    <a:pt x="202" y="459"/>
                  </a:lnTo>
                  <a:lnTo>
                    <a:pt x="201" y="455"/>
                  </a:lnTo>
                  <a:lnTo>
                    <a:pt x="197" y="448"/>
                  </a:lnTo>
                  <a:lnTo>
                    <a:pt x="194" y="445"/>
                  </a:lnTo>
                  <a:lnTo>
                    <a:pt x="194" y="441"/>
                  </a:lnTo>
                  <a:lnTo>
                    <a:pt x="194" y="438"/>
                  </a:lnTo>
                  <a:lnTo>
                    <a:pt x="193" y="434"/>
                  </a:lnTo>
                  <a:close/>
                  <a:moveTo>
                    <a:pt x="190" y="414"/>
                  </a:moveTo>
                  <a:lnTo>
                    <a:pt x="191" y="416"/>
                  </a:lnTo>
                  <a:lnTo>
                    <a:pt x="189" y="416"/>
                  </a:lnTo>
                  <a:lnTo>
                    <a:pt x="191" y="418"/>
                  </a:lnTo>
                  <a:lnTo>
                    <a:pt x="195" y="417"/>
                  </a:lnTo>
                  <a:lnTo>
                    <a:pt x="201" y="421"/>
                  </a:lnTo>
                  <a:lnTo>
                    <a:pt x="203" y="424"/>
                  </a:lnTo>
                  <a:lnTo>
                    <a:pt x="199" y="425"/>
                  </a:lnTo>
                  <a:lnTo>
                    <a:pt x="193" y="420"/>
                  </a:lnTo>
                  <a:lnTo>
                    <a:pt x="190" y="420"/>
                  </a:lnTo>
                  <a:lnTo>
                    <a:pt x="186" y="416"/>
                  </a:lnTo>
                  <a:lnTo>
                    <a:pt x="190" y="414"/>
                  </a:lnTo>
                  <a:close/>
                  <a:moveTo>
                    <a:pt x="143" y="362"/>
                  </a:moveTo>
                  <a:lnTo>
                    <a:pt x="146" y="364"/>
                  </a:lnTo>
                  <a:lnTo>
                    <a:pt x="147" y="365"/>
                  </a:lnTo>
                  <a:lnTo>
                    <a:pt x="141" y="364"/>
                  </a:lnTo>
                  <a:lnTo>
                    <a:pt x="143" y="362"/>
                  </a:lnTo>
                  <a:close/>
                  <a:moveTo>
                    <a:pt x="154" y="336"/>
                  </a:moveTo>
                  <a:lnTo>
                    <a:pt x="157" y="337"/>
                  </a:lnTo>
                  <a:lnTo>
                    <a:pt x="156" y="341"/>
                  </a:lnTo>
                  <a:lnTo>
                    <a:pt x="157" y="341"/>
                  </a:lnTo>
                  <a:lnTo>
                    <a:pt x="159" y="344"/>
                  </a:lnTo>
                  <a:lnTo>
                    <a:pt x="159" y="347"/>
                  </a:lnTo>
                  <a:lnTo>
                    <a:pt x="155" y="341"/>
                  </a:lnTo>
                  <a:lnTo>
                    <a:pt x="152" y="340"/>
                  </a:lnTo>
                  <a:lnTo>
                    <a:pt x="152" y="337"/>
                  </a:lnTo>
                  <a:lnTo>
                    <a:pt x="154" y="336"/>
                  </a:lnTo>
                  <a:close/>
                  <a:moveTo>
                    <a:pt x="96" y="292"/>
                  </a:moveTo>
                  <a:lnTo>
                    <a:pt x="98" y="292"/>
                  </a:lnTo>
                  <a:lnTo>
                    <a:pt x="101" y="294"/>
                  </a:lnTo>
                  <a:lnTo>
                    <a:pt x="104" y="298"/>
                  </a:lnTo>
                  <a:lnTo>
                    <a:pt x="106" y="299"/>
                  </a:lnTo>
                  <a:lnTo>
                    <a:pt x="105" y="302"/>
                  </a:lnTo>
                  <a:lnTo>
                    <a:pt x="100" y="300"/>
                  </a:lnTo>
                  <a:lnTo>
                    <a:pt x="97" y="299"/>
                  </a:lnTo>
                  <a:lnTo>
                    <a:pt x="96" y="295"/>
                  </a:lnTo>
                  <a:lnTo>
                    <a:pt x="96" y="292"/>
                  </a:lnTo>
                  <a:close/>
                  <a:moveTo>
                    <a:pt x="3" y="170"/>
                  </a:moveTo>
                  <a:lnTo>
                    <a:pt x="5" y="171"/>
                  </a:lnTo>
                  <a:lnTo>
                    <a:pt x="5" y="171"/>
                  </a:lnTo>
                  <a:lnTo>
                    <a:pt x="2" y="173"/>
                  </a:lnTo>
                  <a:lnTo>
                    <a:pt x="0" y="172"/>
                  </a:lnTo>
                  <a:lnTo>
                    <a:pt x="3" y="170"/>
                  </a:lnTo>
                  <a:close/>
                  <a:moveTo>
                    <a:pt x="491" y="0"/>
                  </a:moveTo>
                  <a:lnTo>
                    <a:pt x="493" y="2"/>
                  </a:lnTo>
                  <a:lnTo>
                    <a:pt x="493" y="6"/>
                  </a:lnTo>
                  <a:lnTo>
                    <a:pt x="495" y="10"/>
                  </a:lnTo>
                  <a:lnTo>
                    <a:pt x="496" y="13"/>
                  </a:lnTo>
                  <a:lnTo>
                    <a:pt x="494" y="16"/>
                  </a:lnTo>
                  <a:lnTo>
                    <a:pt x="494" y="20"/>
                  </a:lnTo>
                  <a:lnTo>
                    <a:pt x="494" y="23"/>
                  </a:lnTo>
                  <a:lnTo>
                    <a:pt x="496" y="25"/>
                  </a:lnTo>
                  <a:lnTo>
                    <a:pt x="503" y="30"/>
                  </a:lnTo>
                  <a:lnTo>
                    <a:pt x="504" y="34"/>
                  </a:lnTo>
                  <a:lnTo>
                    <a:pt x="510" y="38"/>
                  </a:lnTo>
                  <a:lnTo>
                    <a:pt x="514" y="35"/>
                  </a:lnTo>
                  <a:lnTo>
                    <a:pt x="516" y="33"/>
                  </a:lnTo>
                  <a:lnTo>
                    <a:pt x="524" y="30"/>
                  </a:lnTo>
                  <a:lnTo>
                    <a:pt x="526" y="33"/>
                  </a:lnTo>
                  <a:lnTo>
                    <a:pt x="528" y="36"/>
                  </a:lnTo>
                  <a:lnTo>
                    <a:pt x="530" y="39"/>
                  </a:lnTo>
                  <a:lnTo>
                    <a:pt x="531" y="43"/>
                  </a:lnTo>
                  <a:lnTo>
                    <a:pt x="530" y="47"/>
                  </a:lnTo>
                  <a:lnTo>
                    <a:pt x="532" y="52"/>
                  </a:lnTo>
                  <a:lnTo>
                    <a:pt x="531" y="55"/>
                  </a:lnTo>
                  <a:lnTo>
                    <a:pt x="533" y="58"/>
                  </a:lnTo>
                  <a:lnTo>
                    <a:pt x="536" y="59"/>
                  </a:lnTo>
                  <a:lnTo>
                    <a:pt x="538" y="60"/>
                  </a:lnTo>
                  <a:lnTo>
                    <a:pt x="541" y="59"/>
                  </a:lnTo>
                  <a:lnTo>
                    <a:pt x="544" y="58"/>
                  </a:lnTo>
                  <a:lnTo>
                    <a:pt x="545" y="61"/>
                  </a:lnTo>
                  <a:lnTo>
                    <a:pt x="548" y="61"/>
                  </a:lnTo>
                  <a:lnTo>
                    <a:pt x="551" y="62"/>
                  </a:lnTo>
                  <a:lnTo>
                    <a:pt x="553" y="65"/>
                  </a:lnTo>
                  <a:lnTo>
                    <a:pt x="553" y="69"/>
                  </a:lnTo>
                  <a:lnTo>
                    <a:pt x="553" y="73"/>
                  </a:lnTo>
                  <a:lnTo>
                    <a:pt x="553" y="77"/>
                  </a:lnTo>
                  <a:lnTo>
                    <a:pt x="555" y="79"/>
                  </a:lnTo>
                  <a:lnTo>
                    <a:pt x="557" y="76"/>
                  </a:lnTo>
                  <a:lnTo>
                    <a:pt x="561" y="75"/>
                  </a:lnTo>
                  <a:lnTo>
                    <a:pt x="563" y="76"/>
                  </a:lnTo>
                  <a:lnTo>
                    <a:pt x="568" y="78"/>
                  </a:lnTo>
                  <a:lnTo>
                    <a:pt x="573" y="77"/>
                  </a:lnTo>
                  <a:lnTo>
                    <a:pt x="575" y="77"/>
                  </a:lnTo>
                  <a:lnTo>
                    <a:pt x="578" y="80"/>
                  </a:lnTo>
                  <a:lnTo>
                    <a:pt x="581" y="85"/>
                  </a:lnTo>
                  <a:lnTo>
                    <a:pt x="583" y="84"/>
                  </a:lnTo>
                  <a:lnTo>
                    <a:pt x="585" y="86"/>
                  </a:lnTo>
                  <a:lnTo>
                    <a:pt x="583" y="88"/>
                  </a:lnTo>
                  <a:lnTo>
                    <a:pt x="581" y="92"/>
                  </a:lnTo>
                  <a:lnTo>
                    <a:pt x="580" y="95"/>
                  </a:lnTo>
                  <a:lnTo>
                    <a:pt x="582" y="97"/>
                  </a:lnTo>
                  <a:lnTo>
                    <a:pt x="584" y="102"/>
                  </a:lnTo>
                  <a:lnTo>
                    <a:pt x="583" y="105"/>
                  </a:lnTo>
                  <a:lnTo>
                    <a:pt x="580" y="107"/>
                  </a:lnTo>
                  <a:lnTo>
                    <a:pt x="579" y="111"/>
                  </a:lnTo>
                  <a:lnTo>
                    <a:pt x="582" y="114"/>
                  </a:lnTo>
                  <a:lnTo>
                    <a:pt x="587" y="114"/>
                  </a:lnTo>
                  <a:lnTo>
                    <a:pt x="597" y="117"/>
                  </a:lnTo>
                  <a:lnTo>
                    <a:pt x="607" y="114"/>
                  </a:lnTo>
                  <a:lnTo>
                    <a:pt x="609" y="113"/>
                  </a:lnTo>
                  <a:lnTo>
                    <a:pt x="611" y="111"/>
                  </a:lnTo>
                  <a:lnTo>
                    <a:pt x="612" y="108"/>
                  </a:lnTo>
                  <a:lnTo>
                    <a:pt x="612" y="104"/>
                  </a:lnTo>
                  <a:lnTo>
                    <a:pt x="619" y="98"/>
                  </a:lnTo>
                  <a:lnTo>
                    <a:pt x="621" y="99"/>
                  </a:lnTo>
                  <a:lnTo>
                    <a:pt x="624" y="99"/>
                  </a:lnTo>
                  <a:lnTo>
                    <a:pt x="623" y="104"/>
                  </a:lnTo>
                  <a:lnTo>
                    <a:pt x="621" y="107"/>
                  </a:lnTo>
                  <a:lnTo>
                    <a:pt x="618" y="115"/>
                  </a:lnTo>
                  <a:lnTo>
                    <a:pt x="618" y="118"/>
                  </a:lnTo>
                  <a:lnTo>
                    <a:pt x="621" y="119"/>
                  </a:lnTo>
                  <a:lnTo>
                    <a:pt x="622" y="122"/>
                  </a:lnTo>
                  <a:lnTo>
                    <a:pt x="621" y="125"/>
                  </a:lnTo>
                  <a:lnTo>
                    <a:pt x="620" y="128"/>
                  </a:lnTo>
                  <a:lnTo>
                    <a:pt x="620" y="132"/>
                  </a:lnTo>
                  <a:lnTo>
                    <a:pt x="624" y="133"/>
                  </a:lnTo>
                  <a:lnTo>
                    <a:pt x="626" y="132"/>
                  </a:lnTo>
                  <a:lnTo>
                    <a:pt x="628" y="133"/>
                  </a:lnTo>
                  <a:lnTo>
                    <a:pt x="631" y="135"/>
                  </a:lnTo>
                  <a:lnTo>
                    <a:pt x="634" y="136"/>
                  </a:lnTo>
                  <a:lnTo>
                    <a:pt x="637" y="141"/>
                  </a:lnTo>
                  <a:lnTo>
                    <a:pt x="640" y="143"/>
                  </a:lnTo>
                  <a:lnTo>
                    <a:pt x="644" y="143"/>
                  </a:lnTo>
                  <a:lnTo>
                    <a:pt x="646" y="144"/>
                  </a:lnTo>
                  <a:lnTo>
                    <a:pt x="647" y="147"/>
                  </a:lnTo>
                  <a:lnTo>
                    <a:pt x="647" y="150"/>
                  </a:lnTo>
                  <a:lnTo>
                    <a:pt x="649" y="149"/>
                  </a:lnTo>
                  <a:lnTo>
                    <a:pt x="652" y="150"/>
                  </a:lnTo>
                  <a:lnTo>
                    <a:pt x="655" y="157"/>
                  </a:lnTo>
                  <a:lnTo>
                    <a:pt x="655" y="160"/>
                  </a:lnTo>
                  <a:lnTo>
                    <a:pt x="658" y="161"/>
                  </a:lnTo>
                  <a:lnTo>
                    <a:pt x="661" y="159"/>
                  </a:lnTo>
                  <a:lnTo>
                    <a:pt x="664" y="160"/>
                  </a:lnTo>
                  <a:lnTo>
                    <a:pt x="667" y="158"/>
                  </a:lnTo>
                  <a:lnTo>
                    <a:pt x="670" y="159"/>
                  </a:lnTo>
                  <a:lnTo>
                    <a:pt x="673" y="158"/>
                  </a:lnTo>
                  <a:lnTo>
                    <a:pt x="675" y="159"/>
                  </a:lnTo>
                  <a:lnTo>
                    <a:pt x="678" y="161"/>
                  </a:lnTo>
                  <a:lnTo>
                    <a:pt x="680" y="163"/>
                  </a:lnTo>
                  <a:lnTo>
                    <a:pt x="684" y="164"/>
                  </a:lnTo>
                  <a:lnTo>
                    <a:pt x="685" y="168"/>
                  </a:lnTo>
                  <a:lnTo>
                    <a:pt x="692" y="168"/>
                  </a:lnTo>
                  <a:lnTo>
                    <a:pt x="694" y="167"/>
                  </a:lnTo>
                  <a:lnTo>
                    <a:pt x="697" y="165"/>
                  </a:lnTo>
                  <a:lnTo>
                    <a:pt x="700" y="164"/>
                  </a:lnTo>
                  <a:lnTo>
                    <a:pt x="703" y="165"/>
                  </a:lnTo>
                  <a:lnTo>
                    <a:pt x="706" y="167"/>
                  </a:lnTo>
                  <a:lnTo>
                    <a:pt x="709" y="168"/>
                  </a:lnTo>
                  <a:lnTo>
                    <a:pt x="711" y="167"/>
                  </a:lnTo>
                  <a:lnTo>
                    <a:pt x="718" y="171"/>
                  </a:lnTo>
                  <a:lnTo>
                    <a:pt x="720" y="175"/>
                  </a:lnTo>
                  <a:lnTo>
                    <a:pt x="723" y="178"/>
                  </a:lnTo>
                  <a:lnTo>
                    <a:pt x="722" y="182"/>
                  </a:lnTo>
                  <a:lnTo>
                    <a:pt x="726" y="187"/>
                  </a:lnTo>
                  <a:lnTo>
                    <a:pt x="728" y="191"/>
                  </a:lnTo>
                  <a:lnTo>
                    <a:pt x="730" y="194"/>
                  </a:lnTo>
                  <a:lnTo>
                    <a:pt x="730" y="197"/>
                  </a:lnTo>
                  <a:lnTo>
                    <a:pt x="734" y="198"/>
                  </a:lnTo>
                  <a:lnTo>
                    <a:pt x="736" y="199"/>
                  </a:lnTo>
                  <a:lnTo>
                    <a:pt x="738" y="196"/>
                  </a:lnTo>
                  <a:lnTo>
                    <a:pt x="738" y="193"/>
                  </a:lnTo>
                  <a:lnTo>
                    <a:pt x="741" y="194"/>
                  </a:lnTo>
                  <a:lnTo>
                    <a:pt x="743" y="194"/>
                  </a:lnTo>
                  <a:lnTo>
                    <a:pt x="747" y="196"/>
                  </a:lnTo>
                  <a:lnTo>
                    <a:pt x="748" y="199"/>
                  </a:lnTo>
                  <a:lnTo>
                    <a:pt x="750" y="203"/>
                  </a:lnTo>
                  <a:lnTo>
                    <a:pt x="752" y="200"/>
                  </a:lnTo>
                  <a:lnTo>
                    <a:pt x="755" y="202"/>
                  </a:lnTo>
                  <a:lnTo>
                    <a:pt x="762" y="203"/>
                  </a:lnTo>
                  <a:lnTo>
                    <a:pt x="765" y="203"/>
                  </a:lnTo>
                  <a:lnTo>
                    <a:pt x="767" y="201"/>
                  </a:lnTo>
                  <a:lnTo>
                    <a:pt x="770" y="198"/>
                  </a:lnTo>
                  <a:lnTo>
                    <a:pt x="773" y="198"/>
                  </a:lnTo>
                  <a:lnTo>
                    <a:pt x="775" y="200"/>
                  </a:lnTo>
                  <a:lnTo>
                    <a:pt x="777" y="203"/>
                  </a:lnTo>
                  <a:lnTo>
                    <a:pt x="779" y="206"/>
                  </a:lnTo>
                  <a:lnTo>
                    <a:pt x="783" y="208"/>
                  </a:lnTo>
                  <a:lnTo>
                    <a:pt x="785" y="210"/>
                  </a:lnTo>
                  <a:lnTo>
                    <a:pt x="789" y="211"/>
                  </a:lnTo>
                  <a:lnTo>
                    <a:pt x="792" y="211"/>
                  </a:lnTo>
                  <a:lnTo>
                    <a:pt x="794" y="210"/>
                  </a:lnTo>
                  <a:lnTo>
                    <a:pt x="800" y="212"/>
                  </a:lnTo>
                  <a:lnTo>
                    <a:pt x="804" y="211"/>
                  </a:lnTo>
                  <a:lnTo>
                    <a:pt x="814" y="217"/>
                  </a:lnTo>
                  <a:lnTo>
                    <a:pt x="820" y="218"/>
                  </a:lnTo>
                  <a:lnTo>
                    <a:pt x="817" y="224"/>
                  </a:lnTo>
                  <a:lnTo>
                    <a:pt x="815" y="231"/>
                  </a:lnTo>
                  <a:lnTo>
                    <a:pt x="811" y="234"/>
                  </a:lnTo>
                  <a:lnTo>
                    <a:pt x="809" y="238"/>
                  </a:lnTo>
                  <a:lnTo>
                    <a:pt x="807" y="238"/>
                  </a:lnTo>
                  <a:lnTo>
                    <a:pt x="806" y="241"/>
                  </a:lnTo>
                  <a:lnTo>
                    <a:pt x="803" y="243"/>
                  </a:lnTo>
                  <a:lnTo>
                    <a:pt x="801" y="246"/>
                  </a:lnTo>
                  <a:lnTo>
                    <a:pt x="796" y="251"/>
                  </a:lnTo>
                  <a:lnTo>
                    <a:pt x="796" y="254"/>
                  </a:lnTo>
                  <a:lnTo>
                    <a:pt x="795" y="257"/>
                  </a:lnTo>
                  <a:lnTo>
                    <a:pt x="796" y="260"/>
                  </a:lnTo>
                  <a:lnTo>
                    <a:pt x="794" y="262"/>
                  </a:lnTo>
                  <a:lnTo>
                    <a:pt x="793" y="264"/>
                  </a:lnTo>
                  <a:lnTo>
                    <a:pt x="792" y="268"/>
                  </a:lnTo>
                  <a:lnTo>
                    <a:pt x="791" y="271"/>
                  </a:lnTo>
                  <a:lnTo>
                    <a:pt x="792" y="275"/>
                  </a:lnTo>
                  <a:lnTo>
                    <a:pt x="791" y="277"/>
                  </a:lnTo>
                  <a:lnTo>
                    <a:pt x="787" y="281"/>
                  </a:lnTo>
                  <a:lnTo>
                    <a:pt x="787" y="284"/>
                  </a:lnTo>
                  <a:lnTo>
                    <a:pt x="782" y="291"/>
                  </a:lnTo>
                  <a:lnTo>
                    <a:pt x="781" y="294"/>
                  </a:lnTo>
                  <a:lnTo>
                    <a:pt x="780" y="296"/>
                  </a:lnTo>
                  <a:lnTo>
                    <a:pt x="779" y="302"/>
                  </a:lnTo>
                  <a:lnTo>
                    <a:pt x="782" y="308"/>
                  </a:lnTo>
                  <a:lnTo>
                    <a:pt x="782" y="311"/>
                  </a:lnTo>
                  <a:lnTo>
                    <a:pt x="779" y="313"/>
                  </a:lnTo>
                  <a:lnTo>
                    <a:pt x="779" y="316"/>
                  </a:lnTo>
                  <a:lnTo>
                    <a:pt x="778" y="319"/>
                  </a:lnTo>
                  <a:lnTo>
                    <a:pt x="778" y="322"/>
                  </a:lnTo>
                  <a:lnTo>
                    <a:pt x="776" y="327"/>
                  </a:lnTo>
                  <a:lnTo>
                    <a:pt x="776" y="331"/>
                  </a:lnTo>
                  <a:lnTo>
                    <a:pt x="774" y="334"/>
                  </a:lnTo>
                  <a:lnTo>
                    <a:pt x="775" y="338"/>
                  </a:lnTo>
                  <a:lnTo>
                    <a:pt x="778" y="343"/>
                  </a:lnTo>
                  <a:lnTo>
                    <a:pt x="778" y="346"/>
                  </a:lnTo>
                  <a:lnTo>
                    <a:pt x="776" y="347"/>
                  </a:lnTo>
                  <a:lnTo>
                    <a:pt x="772" y="350"/>
                  </a:lnTo>
                  <a:lnTo>
                    <a:pt x="771" y="353"/>
                  </a:lnTo>
                  <a:lnTo>
                    <a:pt x="771" y="355"/>
                  </a:lnTo>
                  <a:lnTo>
                    <a:pt x="768" y="354"/>
                  </a:lnTo>
                  <a:lnTo>
                    <a:pt x="768" y="358"/>
                  </a:lnTo>
                  <a:lnTo>
                    <a:pt x="765" y="360"/>
                  </a:lnTo>
                  <a:lnTo>
                    <a:pt x="761" y="360"/>
                  </a:lnTo>
                  <a:lnTo>
                    <a:pt x="757" y="361"/>
                  </a:lnTo>
                  <a:lnTo>
                    <a:pt x="753" y="359"/>
                  </a:lnTo>
                  <a:lnTo>
                    <a:pt x="753" y="354"/>
                  </a:lnTo>
                  <a:lnTo>
                    <a:pt x="750" y="354"/>
                  </a:lnTo>
                  <a:lnTo>
                    <a:pt x="748" y="353"/>
                  </a:lnTo>
                  <a:lnTo>
                    <a:pt x="745" y="354"/>
                  </a:lnTo>
                  <a:lnTo>
                    <a:pt x="742" y="353"/>
                  </a:lnTo>
                  <a:lnTo>
                    <a:pt x="740" y="354"/>
                  </a:lnTo>
                  <a:lnTo>
                    <a:pt x="741" y="357"/>
                  </a:lnTo>
                  <a:lnTo>
                    <a:pt x="738" y="359"/>
                  </a:lnTo>
                  <a:lnTo>
                    <a:pt x="735" y="362"/>
                  </a:lnTo>
                  <a:lnTo>
                    <a:pt x="733" y="364"/>
                  </a:lnTo>
                  <a:lnTo>
                    <a:pt x="740" y="365"/>
                  </a:lnTo>
                  <a:lnTo>
                    <a:pt x="743" y="366"/>
                  </a:lnTo>
                  <a:lnTo>
                    <a:pt x="741" y="369"/>
                  </a:lnTo>
                  <a:lnTo>
                    <a:pt x="738" y="372"/>
                  </a:lnTo>
                  <a:lnTo>
                    <a:pt x="738" y="377"/>
                  </a:lnTo>
                  <a:lnTo>
                    <a:pt x="734" y="380"/>
                  </a:lnTo>
                  <a:lnTo>
                    <a:pt x="730" y="384"/>
                  </a:lnTo>
                  <a:lnTo>
                    <a:pt x="726" y="387"/>
                  </a:lnTo>
                  <a:lnTo>
                    <a:pt x="723" y="390"/>
                  </a:lnTo>
                  <a:lnTo>
                    <a:pt x="721" y="391"/>
                  </a:lnTo>
                  <a:lnTo>
                    <a:pt x="720" y="395"/>
                  </a:lnTo>
                  <a:lnTo>
                    <a:pt x="714" y="400"/>
                  </a:lnTo>
                  <a:lnTo>
                    <a:pt x="707" y="401"/>
                  </a:lnTo>
                  <a:lnTo>
                    <a:pt x="704" y="403"/>
                  </a:lnTo>
                  <a:lnTo>
                    <a:pt x="703" y="406"/>
                  </a:lnTo>
                  <a:lnTo>
                    <a:pt x="704" y="410"/>
                  </a:lnTo>
                  <a:lnTo>
                    <a:pt x="703" y="413"/>
                  </a:lnTo>
                  <a:lnTo>
                    <a:pt x="701" y="416"/>
                  </a:lnTo>
                  <a:lnTo>
                    <a:pt x="702" y="419"/>
                  </a:lnTo>
                  <a:lnTo>
                    <a:pt x="698" y="422"/>
                  </a:lnTo>
                  <a:lnTo>
                    <a:pt x="696" y="424"/>
                  </a:lnTo>
                  <a:lnTo>
                    <a:pt x="691" y="427"/>
                  </a:lnTo>
                  <a:lnTo>
                    <a:pt x="682" y="434"/>
                  </a:lnTo>
                  <a:lnTo>
                    <a:pt x="683" y="438"/>
                  </a:lnTo>
                  <a:lnTo>
                    <a:pt x="681" y="441"/>
                  </a:lnTo>
                  <a:lnTo>
                    <a:pt x="678" y="446"/>
                  </a:lnTo>
                  <a:lnTo>
                    <a:pt x="677" y="448"/>
                  </a:lnTo>
                  <a:lnTo>
                    <a:pt x="677" y="451"/>
                  </a:lnTo>
                  <a:lnTo>
                    <a:pt x="680" y="453"/>
                  </a:lnTo>
                  <a:lnTo>
                    <a:pt x="682" y="457"/>
                  </a:lnTo>
                  <a:lnTo>
                    <a:pt x="679" y="461"/>
                  </a:lnTo>
                  <a:lnTo>
                    <a:pt x="678" y="465"/>
                  </a:lnTo>
                  <a:lnTo>
                    <a:pt x="677" y="467"/>
                  </a:lnTo>
                  <a:lnTo>
                    <a:pt x="671" y="469"/>
                  </a:lnTo>
                  <a:lnTo>
                    <a:pt x="670" y="472"/>
                  </a:lnTo>
                  <a:lnTo>
                    <a:pt x="670" y="475"/>
                  </a:lnTo>
                  <a:lnTo>
                    <a:pt x="674" y="476"/>
                  </a:lnTo>
                  <a:lnTo>
                    <a:pt x="677" y="476"/>
                  </a:lnTo>
                  <a:lnTo>
                    <a:pt x="681" y="476"/>
                  </a:lnTo>
                  <a:lnTo>
                    <a:pt x="684" y="472"/>
                  </a:lnTo>
                  <a:lnTo>
                    <a:pt x="689" y="470"/>
                  </a:lnTo>
                  <a:lnTo>
                    <a:pt x="690" y="466"/>
                  </a:lnTo>
                  <a:lnTo>
                    <a:pt x="688" y="465"/>
                  </a:lnTo>
                  <a:lnTo>
                    <a:pt x="687" y="462"/>
                  </a:lnTo>
                  <a:lnTo>
                    <a:pt x="688" y="458"/>
                  </a:lnTo>
                  <a:lnTo>
                    <a:pt x="692" y="454"/>
                  </a:lnTo>
                  <a:lnTo>
                    <a:pt x="696" y="454"/>
                  </a:lnTo>
                  <a:lnTo>
                    <a:pt x="704" y="450"/>
                  </a:lnTo>
                  <a:lnTo>
                    <a:pt x="708" y="449"/>
                  </a:lnTo>
                  <a:lnTo>
                    <a:pt x="712" y="449"/>
                  </a:lnTo>
                  <a:lnTo>
                    <a:pt x="723" y="452"/>
                  </a:lnTo>
                  <a:lnTo>
                    <a:pt x="724" y="455"/>
                  </a:lnTo>
                  <a:lnTo>
                    <a:pt x="722" y="459"/>
                  </a:lnTo>
                  <a:lnTo>
                    <a:pt x="723" y="462"/>
                  </a:lnTo>
                  <a:lnTo>
                    <a:pt x="726" y="467"/>
                  </a:lnTo>
                  <a:lnTo>
                    <a:pt x="724" y="471"/>
                  </a:lnTo>
                  <a:lnTo>
                    <a:pt x="723" y="475"/>
                  </a:lnTo>
                  <a:lnTo>
                    <a:pt x="722" y="478"/>
                  </a:lnTo>
                  <a:lnTo>
                    <a:pt x="727" y="481"/>
                  </a:lnTo>
                  <a:lnTo>
                    <a:pt x="727" y="484"/>
                  </a:lnTo>
                  <a:lnTo>
                    <a:pt x="727" y="487"/>
                  </a:lnTo>
                  <a:lnTo>
                    <a:pt x="730" y="487"/>
                  </a:lnTo>
                  <a:lnTo>
                    <a:pt x="735" y="493"/>
                  </a:lnTo>
                  <a:lnTo>
                    <a:pt x="736" y="496"/>
                  </a:lnTo>
                  <a:lnTo>
                    <a:pt x="737" y="498"/>
                  </a:lnTo>
                  <a:lnTo>
                    <a:pt x="735" y="501"/>
                  </a:lnTo>
                  <a:lnTo>
                    <a:pt x="734" y="504"/>
                  </a:lnTo>
                  <a:lnTo>
                    <a:pt x="731" y="506"/>
                  </a:lnTo>
                  <a:lnTo>
                    <a:pt x="728" y="506"/>
                  </a:lnTo>
                  <a:lnTo>
                    <a:pt x="724" y="507"/>
                  </a:lnTo>
                  <a:lnTo>
                    <a:pt x="722" y="510"/>
                  </a:lnTo>
                  <a:lnTo>
                    <a:pt x="722" y="515"/>
                  </a:lnTo>
                  <a:lnTo>
                    <a:pt x="722" y="519"/>
                  </a:lnTo>
                  <a:lnTo>
                    <a:pt x="725" y="522"/>
                  </a:lnTo>
                  <a:lnTo>
                    <a:pt x="728" y="523"/>
                  </a:lnTo>
                  <a:lnTo>
                    <a:pt x="730" y="525"/>
                  </a:lnTo>
                  <a:lnTo>
                    <a:pt x="733" y="526"/>
                  </a:lnTo>
                  <a:lnTo>
                    <a:pt x="732" y="530"/>
                  </a:lnTo>
                  <a:lnTo>
                    <a:pt x="733" y="532"/>
                  </a:lnTo>
                  <a:lnTo>
                    <a:pt x="733" y="537"/>
                  </a:lnTo>
                  <a:lnTo>
                    <a:pt x="736" y="540"/>
                  </a:lnTo>
                  <a:lnTo>
                    <a:pt x="739" y="542"/>
                  </a:lnTo>
                  <a:lnTo>
                    <a:pt x="741" y="545"/>
                  </a:lnTo>
                  <a:lnTo>
                    <a:pt x="744" y="547"/>
                  </a:lnTo>
                  <a:lnTo>
                    <a:pt x="744" y="550"/>
                  </a:lnTo>
                  <a:lnTo>
                    <a:pt x="740" y="555"/>
                  </a:lnTo>
                  <a:lnTo>
                    <a:pt x="740" y="558"/>
                  </a:lnTo>
                  <a:lnTo>
                    <a:pt x="741" y="561"/>
                  </a:lnTo>
                  <a:lnTo>
                    <a:pt x="738" y="565"/>
                  </a:lnTo>
                  <a:lnTo>
                    <a:pt x="733" y="565"/>
                  </a:lnTo>
                  <a:lnTo>
                    <a:pt x="731" y="566"/>
                  </a:lnTo>
                  <a:lnTo>
                    <a:pt x="729" y="568"/>
                  </a:lnTo>
                  <a:lnTo>
                    <a:pt x="726" y="569"/>
                  </a:lnTo>
                  <a:lnTo>
                    <a:pt x="723" y="573"/>
                  </a:lnTo>
                  <a:lnTo>
                    <a:pt x="721" y="572"/>
                  </a:lnTo>
                  <a:lnTo>
                    <a:pt x="718" y="570"/>
                  </a:lnTo>
                  <a:lnTo>
                    <a:pt x="715" y="570"/>
                  </a:lnTo>
                  <a:lnTo>
                    <a:pt x="711" y="571"/>
                  </a:lnTo>
                  <a:lnTo>
                    <a:pt x="708" y="572"/>
                  </a:lnTo>
                  <a:lnTo>
                    <a:pt x="707" y="576"/>
                  </a:lnTo>
                  <a:lnTo>
                    <a:pt x="708" y="580"/>
                  </a:lnTo>
                  <a:lnTo>
                    <a:pt x="712" y="583"/>
                  </a:lnTo>
                  <a:lnTo>
                    <a:pt x="714" y="587"/>
                  </a:lnTo>
                  <a:lnTo>
                    <a:pt x="714" y="592"/>
                  </a:lnTo>
                  <a:lnTo>
                    <a:pt x="718" y="596"/>
                  </a:lnTo>
                  <a:lnTo>
                    <a:pt x="722" y="598"/>
                  </a:lnTo>
                  <a:lnTo>
                    <a:pt x="727" y="598"/>
                  </a:lnTo>
                  <a:lnTo>
                    <a:pt x="731" y="600"/>
                  </a:lnTo>
                  <a:lnTo>
                    <a:pt x="733" y="603"/>
                  </a:lnTo>
                  <a:lnTo>
                    <a:pt x="733" y="607"/>
                  </a:lnTo>
                  <a:lnTo>
                    <a:pt x="733" y="610"/>
                  </a:lnTo>
                  <a:lnTo>
                    <a:pt x="735" y="614"/>
                  </a:lnTo>
                  <a:lnTo>
                    <a:pt x="732" y="614"/>
                  </a:lnTo>
                  <a:lnTo>
                    <a:pt x="729" y="615"/>
                  </a:lnTo>
                  <a:lnTo>
                    <a:pt x="727" y="618"/>
                  </a:lnTo>
                  <a:lnTo>
                    <a:pt x="727" y="621"/>
                  </a:lnTo>
                  <a:lnTo>
                    <a:pt x="725" y="625"/>
                  </a:lnTo>
                  <a:lnTo>
                    <a:pt x="721" y="627"/>
                  </a:lnTo>
                  <a:lnTo>
                    <a:pt x="720" y="631"/>
                  </a:lnTo>
                  <a:lnTo>
                    <a:pt x="724" y="636"/>
                  </a:lnTo>
                  <a:lnTo>
                    <a:pt x="723" y="639"/>
                  </a:lnTo>
                  <a:lnTo>
                    <a:pt x="722" y="642"/>
                  </a:lnTo>
                  <a:lnTo>
                    <a:pt x="724" y="646"/>
                  </a:lnTo>
                  <a:lnTo>
                    <a:pt x="725" y="650"/>
                  </a:lnTo>
                  <a:lnTo>
                    <a:pt x="728" y="653"/>
                  </a:lnTo>
                  <a:lnTo>
                    <a:pt x="729" y="656"/>
                  </a:lnTo>
                  <a:lnTo>
                    <a:pt x="731" y="657"/>
                  </a:lnTo>
                  <a:lnTo>
                    <a:pt x="737" y="659"/>
                  </a:lnTo>
                  <a:lnTo>
                    <a:pt x="740" y="660"/>
                  </a:lnTo>
                  <a:lnTo>
                    <a:pt x="747" y="665"/>
                  </a:lnTo>
                  <a:lnTo>
                    <a:pt x="749" y="666"/>
                  </a:lnTo>
                  <a:lnTo>
                    <a:pt x="752" y="668"/>
                  </a:lnTo>
                  <a:lnTo>
                    <a:pt x="755" y="668"/>
                  </a:lnTo>
                  <a:lnTo>
                    <a:pt x="767" y="665"/>
                  </a:lnTo>
                  <a:lnTo>
                    <a:pt x="771" y="664"/>
                  </a:lnTo>
                  <a:lnTo>
                    <a:pt x="772" y="667"/>
                  </a:lnTo>
                  <a:lnTo>
                    <a:pt x="775" y="670"/>
                  </a:lnTo>
                  <a:lnTo>
                    <a:pt x="775" y="674"/>
                  </a:lnTo>
                  <a:lnTo>
                    <a:pt x="773" y="677"/>
                  </a:lnTo>
                  <a:lnTo>
                    <a:pt x="772" y="680"/>
                  </a:lnTo>
                  <a:lnTo>
                    <a:pt x="770" y="682"/>
                  </a:lnTo>
                  <a:lnTo>
                    <a:pt x="766" y="685"/>
                  </a:lnTo>
                  <a:lnTo>
                    <a:pt x="762" y="690"/>
                  </a:lnTo>
                  <a:lnTo>
                    <a:pt x="761" y="694"/>
                  </a:lnTo>
                  <a:lnTo>
                    <a:pt x="762" y="699"/>
                  </a:lnTo>
                  <a:lnTo>
                    <a:pt x="760" y="702"/>
                  </a:lnTo>
                  <a:lnTo>
                    <a:pt x="757" y="702"/>
                  </a:lnTo>
                  <a:lnTo>
                    <a:pt x="754" y="702"/>
                  </a:lnTo>
                  <a:lnTo>
                    <a:pt x="752" y="704"/>
                  </a:lnTo>
                  <a:lnTo>
                    <a:pt x="751" y="707"/>
                  </a:lnTo>
                  <a:lnTo>
                    <a:pt x="747" y="706"/>
                  </a:lnTo>
                  <a:lnTo>
                    <a:pt x="743" y="708"/>
                  </a:lnTo>
                  <a:lnTo>
                    <a:pt x="740" y="709"/>
                  </a:lnTo>
                  <a:lnTo>
                    <a:pt x="737" y="712"/>
                  </a:lnTo>
                  <a:lnTo>
                    <a:pt x="737" y="718"/>
                  </a:lnTo>
                  <a:lnTo>
                    <a:pt x="733" y="719"/>
                  </a:lnTo>
                  <a:lnTo>
                    <a:pt x="730" y="720"/>
                  </a:lnTo>
                  <a:lnTo>
                    <a:pt x="727" y="720"/>
                  </a:lnTo>
                  <a:lnTo>
                    <a:pt x="724" y="723"/>
                  </a:lnTo>
                  <a:lnTo>
                    <a:pt x="722" y="729"/>
                  </a:lnTo>
                  <a:lnTo>
                    <a:pt x="719" y="731"/>
                  </a:lnTo>
                  <a:lnTo>
                    <a:pt x="713" y="732"/>
                  </a:lnTo>
                  <a:lnTo>
                    <a:pt x="710" y="730"/>
                  </a:lnTo>
                  <a:lnTo>
                    <a:pt x="708" y="734"/>
                  </a:lnTo>
                  <a:lnTo>
                    <a:pt x="707" y="737"/>
                  </a:lnTo>
                  <a:lnTo>
                    <a:pt x="704" y="739"/>
                  </a:lnTo>
                  <a:lnTo>
                    <a:pt x="703" y="741"/>
                  </a:lnTo>
                  <a:lnTo>
                    <a:pt x="699" y="742"/>
                  </a:lnTo>
                  <a:lnTo>
                    <a:pt x="705" y="744"/>
                  </a:lnTo>
                  <a:lnTo>
                    <a:pt x="704" y="747"/>
                  </a:lnTo>
                  <a:lnTo>
                    <a:pt x="704" y="750"/>
                  </a:lnTo>
                  <a:lnTo>
                    <a:pt x="701" y="752"/>
                  </a:lnTo>
                  <a:lnTo>
                    <a:pt x="698" y="754"/>
                  </a:lnTo>
                  <a:lnTo>
                    <a:pt x="695" y="751"/>
                  </a:lnTo>
                  <a:lnTo>
                    <a:pt x="692" y="754"/>
                  </a:lnTo>
                  <a:lnTo>
                    <a:pt x="690" y="754"/>
                  </a:lnTo>
                  <a:lnTo>
                    <a:pt x="686" y="755"/>
                  </a:lnTo>
                  <a:lnTo>
                    <a:pt x="683" y="755"/>
                  </a:lnTo>
                  <a:lnTo>
                    <a:pt x="682" y="758"/>
                  </a:lnTo>
                  <a:lnTo>
                    <a:pt x="680" y="759"/>
                  </a:lnTo>
                  <a:lnTo>
                    <a:pt x="677" y="757"/>
                  </a:lnTo>
                  <a:lnTo>
                    <a:pt x="672" y="756"/>
                  </a:lnTo>
                  <a:lnTo>
                    <a:pt x="669" y="759"/>
                  </a:lnTo>
                  <a:lnTo>
                    <a:pt x="668" y="762"/>
                  </a:lnTo>
                  <a:lnTo>
                    <a:pt x="664" y="763"/>
                  </a:lnTo>
                  <a:lnTo>
                    <a:pt x="666" y="761"/>
                  </a:lnTo>
                  <a:lnTo>
                    <a:pt x="661" y="759"/>
                  </a:lnTo>
                  <a:lnTo>
                    <a:pt x="657" y="757"/>
                  </a:lnTo>
                  <a:lnTo>
                    <a:pt x="653" y="757"/>
                  </a:lnTo>
                  <a:lnTo>
                    <a:pt x="650" y="757"/>
                  </a:lnTo>
                  <a:lnTo>
                    <a:pt x="652" y="759"/>
                  </a:lnTo>
                  <a:lnTo>
                    <a:pt x="650" y="760"/>
                  </a:lnTo>
                  <a:lnTo>
                    <a:pt x="647" y="762"/>
                  </a:lnTo>
                  <a:lnTo>
                    <a:pt x="644" y="760"/>
                  </a:lnTo>
                  <a:lnTo>
                    <a:pt x="646" y="756"/>
                  </a:lnTo>
                  <a:lnTo>
                    <a:pt x="642" y="755"/>
                  </a:lnTo>
                  <a:lnTo>
                    <a:pt x="638" y="753"/>
                  </a:lnTo>
                  <a:lnTo>
                    <a:pt x="636" y="751"/>
                  </a:lnTo>
                  <a:lnTo>
                    <a:pt x="632" y="749"/>
                  </a:lnTo>
                  <a:lnTo>
                    <a:pt x="629" y="749"/>
                  </a:lnTo>
                  <a:lnTo>
                    <a:pt x="627" y="746"/>
                  </a:lnTo>
                  <a:lnTo>
                    <a:pt x="624" y="747"/>
                  </a:lnTo>
                  <a:lnTo>
                    <a:pt x="621" y="746"/>
                  </a:lnTo>
                  <a:lnTo>
                    <a:pt x="618" y="746"/>
                  </a:lnTo>
                  <a:lnTo>
                    <a:pt x="615" y="746"/>
                  </a:lnTo>
                  <a:lnTo>
                    <a:pt x="614" y="742"/>
                  </a:lnTo>
                  <a:lnTo>
                    <a:pt x="615" y="740"/>
                  </a:lnTo>
                  <a:lnTo>
                    <a:pt x="614" y="734"/>
                  </a:lnTo>
                  <a:lnTo>
                    <a:pt x="603" y="734"/>
                  </a:lnTo>
                  <a:lnTo>
                    <a:pt x="601" y="733"/>
                  </a:lnTo>
                  <a:lnTo>
                    <a:pt x="595" y="733"/>
                  </a:lnTo>
                  <a:lnTo>
                    <a:pt x="592" y="731"/>
                  </a:lnTo>
                  <a:lnTo>
                    <a:pt x="593" y="727"/>
                  </a:lnTo>
                  <a:lnTo>
                    <a:pt x="601" y="726"/>
                  </a:lnTo>
                  <a:lnTo>
                    <a:pt x="604" y="725"/>
                  </a:lnTo>
                  <a:lnTo>
                    <a:pt x="607" y="721"/>
                  </a:lnTo>
                  <a:lnTo>
                    <a:pt x="603" y="721"/>
                  </a:lnTo>
                  <a:lnTo>
                    <a:pt x="600" y="718"/>
                  </a:lnTo>
                  <a:lnTo>
                    <a:pt x="599" y="715"/>
                  </a:lnTo>
                  <a:lnTo>
                    <a:pt x="595" y="714"/>
                  </a:lnTo>
                  <a:lnTo>
                    <a:pt x="593" y="714"/>
                  </a:lnTo>
                  <a:lnTo>
                    <a:pt x="593" y="719"/>
                  </a:lnTo>
                  <a:lnTo>
                    <a:pt x="595" y="721"/>
                  </a:lnTo>
                  <a:lnTo>
                    <a:pt x="595" y="725"/>
                  </a:lnTo>
                  <a:lnTo>
                    <a:pt x="591" y="725"/>
                  </a:lnTo>
                  <a:lnTo>
                    <a:pt x="586" y="723"/>
                  </a:lnTo>
                  <a:lnTo>
                    <a:pt x="584" y="725"/>
                  </a:lnTo>
                  <a:lnTo>
                    <a:pt x="581" y="727"/>
                  </a:lnTo>
                  <a:lnTo>
                    <a:pt x="577" y="727"/>
                  </a:lnTo>
                  <a:lnTo>
                    <a:pt x="574" y="722"/>
                  </a:lnTo>
                  <a:lnTo>
                    <a:pt x="575" y="715"/>
                  </a:lnTo>
                  <a:lnTo>
                    <a:pt x="574" y="712"/>
                  </a:lnTo>
                  <a:lnTo>
                    <a:pt x="573" y="709"/>
                  </a:lnTo>
                  <a:lnTo>
                    <a:pt x="573" y="713"/>
                  </a:lnTo>
                  <a:lnTo>
                    <a:pt x="573" y="721"/>
                  </a:lnTo>
                  <a:lnTo>
                    <a:pt x="574" y="724"/>
                  </a:lnTo>
                  <a:lnTo>
                    <a:pt x="578" y="728"/>
                  </a:lnTo>
                  <a:lnTo>
                    <a:pt x="577" y="730"/>
                  </a:lnTo>
                  <a:lnTo>
                    <a:pt x="566" y="729"/>
                  </a:lnTo>
                  <a:lnTo>
                    <a:pt x="563" y="728"/>
                  </a:lnTo>
                  <a:lnTo>
                    <a:pt x="562" y="725"/>
                  </a:lnTo>
                  <a:lnTo>
                    <a:pt x="563" y="722"/>
                  </a:lnTo>
                  <a:lnTo>
                    <a:pt x="558" y="719"/>
                  </a:lnTo>
                  <a:lnTo>
                    <a:pt x="538" y="717"/>
                  </a:lnTo>
                  <a:lnTo>
                    <a:pt x="535" y="715"/>
                  </a:lnTo>
                  <a:lnTo>
                    <a:pt x="533" y="708"/>
                  </a:lnTo>
                  <a:lnTo>
                    <a:pt x="527" y="706"/>
                  </a:lnTo>
                  <a:lnTo>
                    <a:pt x="523" y="706"/>
                  </a:lnTo>
                  <a:lnTo>
                    <a:pt x="527" y="705"/>
                  </a:lnTo>
                  <a:lnTo>
                    <a:pt x="529" y="705"/>
                  </a:lnTo>
                  <a:lnTo>
                    <a:pt x="525" y="703"/>
                  </a:lnTo>
                  <a:lnTo>
                    <a:pt x="522" y="705"/>
                  </a:lnTo>
                  <a:lnTo>
                    <a:pt x="518" y="706"/>
                  </a:lnTo>
                  <a:lnTo>
                    <a:pt x="511" y="710"/>
                  </a:lnTo>
                  <a:lnTo>
                    <a:pt x="510" y="714"/>
                  </a:lnTo>
                  <a:lnTo>
                    <a:pt x="504" y="715"/>
                  </a:lnTo>
                  <a:lnTo>
                    <a:pt x="508" y="715"/>
                  </a:lnTo>
                  <a:lnTo>
                    <a:pt x="512" y="712"/>
                  </a:lnTo>
                  <a:lnTo>
                    <a:pt x="516" y="709"/>
                  </a:lnTo>
                  <a:lnTo>
                    <a:pt x="520" y="707"/>
                  </a:lnTo>
                  <a:lnTo>
                    <a:pt x="506" y="718"/>
                  </a:lnTo>
                  <a:lnTo>
                    <a:pt x="497" y="722"/>
                  </a:lnTo>
                  <a:lnTo>
                    <a:pt x="489" y="730"/>
                  </a:lnTo>
                  <a:lnTo>
                    <a:pt x="485" y="729"/>
                  </a:lnTo>
                  <a:lnTo>
                    <a:pt x="480" y="730"/>
                  </a:lnTo>
                  <a:lnTo>
                    <a:pt x="471" y="736"/>
                  </a:lnTo>
                  <a:lnTo>
                    <a:pt x="468" y="740"/>
                  </a:lnTo>
                  <a:lnTo>
                    <a:pt x="465" y="743"/>
                  </a:lnTo>
                  <a:lnTo>
                    <a:pt x="462" y="746"/>
                  </a:lnTo>
                  <a:lnTo>
                    <a:pt x="462" y="743"/>
                  </a:lnTo>
                  <a:lnTo>
                    <a:pt x="459" y="743"/>
                  </a:lnTo>
                  <a:lnTo>
                    <a:pt x="460" y="747"/>
                  </a:lnTo>
                  <a:lnTo>
                    <a:pt x="461" y="750"/>
                  </a:lnTo>
                  <a:lnTo>
                    <a:pt x="459" y="754"/>
                  </a:lnTo>
                  <a:lnTo>
                    <a:pt x="458" y="757"/>
                  </a:lnTo>
                  <a:lnTo>
                    <a:pt x="457" y="755"/>
                  </a:lnTo>
                  <a:lnTo>
                    <a:pt x="455" y="757"/>
                  </a:lnTo>
                  <a:lnTo>
                    <a:pt x="458" y="760"/>
                  </a:lnTo>
                  <a:lnTo>
                    <a:pt x="455" y="761"/>
                  </a:lnTo>
                  <a:lnTo>
                    <a:pt x="454" y="764"/>
                  </a:lnTo>
                  <a:lnTo>
                    <a:pt x="450" y="767"/>
                  </a:lnTo>
                  <a:lnTo>
                    <a:pt x="452" y="770"/>
                  </a:lnTo>
                  <a:lnTo>
                    <a:pt x="455" y="771"/>
                  </a:lnTo>
                  <a:lnTo>
                    <a:pt x="456" y="774"/>
                  </a:lnTo>
                  <a:lnTo>
                    <a:pt x="456" y="777"/>
                  </a:lnTo>
                  <a:lnTo>
                    <a:pt x="455" y="782"/>
                  </a:lnTo>
                  <a:lnTo>
                    <a:pt x="455" y="786"/>
                  </a:lnTo>
                  <a:lnTo>
                    <a:pt x="455" y="794"/>
                  </a:lnTo>
                  <a:lnTo>
                    <a:pt x="460" y="801"/>
                  </a:lnTo>
                  <a:lnTo>
                    <a:pt x="462" y="804"/>
                  </a:lnTo>
                  <a:lnTo>
                    <a:pt x="461" y="807"/>
                  </a:lnTo>
                  <a:lnTo>
                    <a:pt x="457" y="808"/>
                  </a:lnTo>
                  <a:lnTo>
                    <a:pt x="453" y="807"/>
                  </a:lnTo>
                  <a:lnTo>
                    <a:pt x="450" y="805"/>
                  </a:lnTo>
                  <a:lnTo>
                    <a:pt x="447" y="803"/>
                  </a:lnTo>
                  <a:lnTo>
                    <a:pt x="443" y="802"/>
                  </a:lnTo>
                  <a:lnTo>
                    <a:pt x="440" y="804"/>
                  </a:lnTo>
                  <a:lnTo>
                    <a:pt x="436" y="804"/>
                  </a:lnTo>
                  <a:lnTo>
                    <a:pt x="433" y="807"/>
                  </a:lnTo>
                  <a:lnTo>
                    <a:pt x="429" y="806"/>
                  </a:lnTo>
                  <a:lnTo>
                    <a:pt x="425" y="806"/>
                  </a:lnTo>
                  <a:lnTo>
                    <a:pt x="422" y="808"/>
                  </a:lnTo>
                  <a:lnTo>
                    <a:pt x="423" y="812"/>
                  </a:lnTo>
                  <a:lnTo>
                    <a:pt x="419" y="812"/>
                  </a:lnTo>
                  <a:lnTo>
                    <a:pt x="416" y="811"/>
                  </a:lnTo>
                  <a:lnTo>
                    <a:pt x="413" y="813"/>
                  </a:lnTo>
                  <a:lnTo>
                    <a:pt x="410" y="811"/>
                  </a:lnTo>
                  <a:lnTo>
                    <a:pt x="408" y="810"/>
                  </a:lnTo>
                  <a:lnTo>
                    <a:pt x="407" y="807"/>
                  </a:lnTo>
                  <a:lnTo>
                    <a:pt x="404" y="806"/>
                  </a:lnTo>
                  <a:lnTo>
                    <a:pt x="400" y="804"/>
                  </a:lnTo>
                  <a:lnTo>
                    <a:pt x="397" y="802"/>
                  </a:lnTo>
                  <a:lnTo>
                    <a:pt x="391" y="802"/>
                  </a:lnTo>
                  <a:lnTo>
                    <a:pt x="388" y="802"/>
                  </a:lnTo>
                  <a:lnTo>
                    <a:pt x="385" y="804"/>
                  </a:lnTo>
                  <a:lnTo>
                    <a:pt x="382" y="807"/>
                  </a:lnTo>
                  <a:lnTo>
                    <a:pt x="378" y="807"/>
                  </a:lnTo>
                  <a:lnTo>
                    <a:pt x="375" y="805"/>
                  </a:lnTo>
                  <a:lnTo>
                    <a:pt x="374" y="800"/>
                  </a:lnTo>
                  <a:lnTo>
                    <a:pt x="371" y="798"/>
                  </a:lnTo>
                  <a:lnTo>
                    <a:pt x="366" y="794"/>
                  </a:lnTo>
                  <a:lnTo>
                    <a:pt x="361" y="792"/>
                  </a:lnTo>
                  <a:lnTo>
                    <a:pt x="355" y="791"/>
                  </a:lnTo>
                  <a:lnTo>
                    <a:pt x="351" y="787"/>
                  </a:lnTo>
                  <a:lnTo>
                    <a:pt x="343" y="786"/>
                  </a:lnTo>
                  <a:lnTo>
                    <a:pt x="341" y="786"/>
                  </a:lnTo>
                  <a:lnTo>
                    <a:pt x="339" y="778"/>
                  </a:lnTo>
                  <a:lnTo>
                    <a:pt x="339" y="775"/>
                  </a:lnTo>
                  <a:lnTo>
                    <a:pt x="337" y="770"/>
                  </a:lnTo>
                  <a:lnTo>
                    <a:pt x="334" y="768"/>
                  </a:lnTo>
                  <a:lnTo>
                    <a:pt x="326" y="767"/>
                  </a:lnTo>
                  <a:lnTo>
                    <a:pt x="323" y="767"/>
                  </a:lnTo>
                  <a:lnTo>
                    <a:pt x="321" y="763"/>
                  </a:lnTo>
                  <a:lnTo>
                    <a:pt x="318" y="760"/>
                  </a:lnTo>
                  <a:lnTo>
                    <a:pt x="312" y="759"/>
                  </a:lnTo>
                  <a:lnTo>
                    <a:pt x="309" y="757"/>
                  </a:lnTo>
                  <a:lnTo>
                    <a:pt x="306" y="756"/>
                  </a:lnTo>
                  <a:lnTo>
                    <a:pt x="304" y="755"/>
                  </a:lnTo>
                  <a:lnTo>
                    <a:pt x="301" y="753"/>
                  </a:lnTo>
                  <a:lnTo>
                    <a:pt x="299" y="752"/>
                  </a:lnTo>
                  <a:lnTo>
                    <a:pt x="295" y="751"/>
                  </a:lnTo>
                  <a:lnTo>
                    <a:pt x="292" y="750"/>
                  </a:lnTo>
                  <a:lnTo>
                    <a:pt x="290" y="754"/>
                  </a:lnTo>
                  <a:lnTo>
                    <a:pt x="289" y="758"/>
                  </a:lnTo>
                  <a:lnTo>
                    <a:pt x="290" y="761"/>
                  </a:lnTo>
                  <a:lnTo>
                    <a:pt x="290" y="764"/>
                  </a:lnTo>
                  <a:lnTo>
                    <a:pt x="286" y="764"/>
                  </a:lnTo>
                  <a:lnTo>
                    <a:pt x="276" y="763"/>
                  </a:lnTo>
                  <a:lnTo>
                    <a:pt x="273" y="763"/>
                  </a:lnTo>
                  <a:lnTo>
                    <a:pt x="270" y="762"/>
                  </a:lnTo>
                  <a:lnTo>
                    <a:pt x="268" y="759"/>
                  </a:lnTo>
                  <a:lnTo>
                    <a:pt x="265" y="761"/>
                  </a:lnTo>
                  <a:lnTo>
                    <a:pt x="263" y="763"/>
                  </a:lnTo>
                  <a:lnTo>
                    <a:pt x="260" y="759"/>
                  </a:lnTo>
                  <a:lnTo>
                    <a:pt x="256" y="757"/>
                  </a:lnTo>
                  <a:lnTo>
                    <a:pt x="249" y="758"/>
                  </a:lnTo>
                  <a:lnTo>
                    <a:pt x="243" y="759"/>
                  </a:lnTo>
                  <a:lnTo>
                    <a:pt x="239" y="757"/>
                  </a:lnTo>
                  <a:lnTo>
                    <a:pt x="236" y="755"/>
                  </a:lnTo>
                  <a:lnTo>
                    <a:pt x="235" y="752"/>
                  </a:lnTo>
                  <a:lnTo>
                    <a:pt x="234" y="749"/>
                  </a:lnTo>
                  <a:lnTo>
                    <a:pt x="231" y="748"/>
                  </a:lnTo>
                  <a:lnTo>
                    <a:pt x="228" y="746"/>
                  </a:lnTo>
                  <a:lnTo>
                    <a:pt x="225" y="743"/>
                  </a:lnTo>
                  <a:lnTo>
                    <a:pt x="222" y="743"/>
                  </a:lnTo>
                  <a:lnTo>
                    <a:pt x="218" y="745"/>
                  </a:lnTo>
                  <a:lnTo>
                    <a:pt x="214" y="745"/>
                  </a:lnTo>
                  <a:lnTo>
                    <a:pt x="211" y="743"/>
                  </a:lnTo>
                  <a:lnTo>
                    <a:pt x="207" y="745"/>
                  </a:lnTo>
                  <a:lnTo>
                    <a:pt x="205" y="744"/>
                  </a:lnTo>
                  <a:lnTo>
                    <a:pt x="201" y="738"/>
                  </a:lnTo>
                  <a:lnTo>
                    <a:pt x="198" y="735"/>
                  </a:lnTo>
                  <a:lnTo>
                    <a:pt x="195" y="734"/>
                  </a:lnTo>
                  <a:lnTo>
                    <a:pt x="195" y="728"/>
                  </a:lnTo>
                  <a:lnTo>
                    <a:pt x="188" y="727"/>
                  </a:lnTo>
                  <a:lnTo>
                    <a:pt x="183" y="726"/>
                  </a:lnTo>
                  <a:lnTo>
                    <a:pt x="180" y="725"/>
                  </a:lnTo>
                  <a:lnTo>
                    <a:pt x="177" y="722"/>
                  </a:lnTo>
                  <a:lnTo>
                    <a:pt x="174" y="721"/>
                  </a:lnTo>
                  <a:lnTo>
                    <a:pt x="169" y="719"/>
                  </a:lnTo>
                  <a:lnTo>
                    <a:pt x="165" y="714"/>
                  </a:lnTo>
                  <a:lnTo>
                    <a:pt x="162" y="713"/>
                  </a:lnTo>
                  <a:lnTo>
                    <a:pt x="160" y="711"/>
                  </a:lnTo>
                  <a:lnTo>
                    <a:pt x="162" y="707"/>
                  </a:lnTo>
                  <a:lnTo>
                    <a:pt x="159" y="707"/>
                  </a:lnTo>
                  <a:lnTo>
                    <a:pt x="157" y="710"/>
                  </a:lnTo>
                  <a:lnTo>
                    <a:pt x="155" y="713"/>
                  </a:lnTo>
                  <a:lnTo>
                    <a:pt x="152" y="713"/>
                  </a:lnTo>
                  <a:lnTo>
                    <a:pt x="149" y="711"/>
                  </a:lnTo>
                  <a:lnTo>
                    <a:pt x="148" y="708"/>
                  </a:lnTo>
                  <a:lnTo>
                    <a:pt x="152" y="704"/>
                  </a:lnTo>
                  <a:lnTo>
                    <a:pt x="154" y="701"/>
                  </a:lnTo>
                  <a:lnTo>
                    <a:pt x="155" y="697"/>
                  </a:lnTo>
                  <a:lnTo>
                    <a:pt x="156" y="694"/>
                  </a:lnTo>
                  <a:lnTo>
                    <a:pt x="153" y="691"/>
                  </a:lnTo>
                  <a:lnTo>
                    <a:pt x="149" y="690"/>
                  </a:lnTo>
                  <a:lnTo>
                    <a:pt x="146" y="688"/>
                  </a:lnTo>
                  <a:lnTo>
                    <a:pt x="143" y="691"/>
                  </a:lnTo>
                  <a:lnTo>
                    <a:pt x="140" y="691"/>
                  </a:lnTo>
                  <a:lnTo>
                    <a:pt x="140" y="688"/>
                  </a:lnTo>
                  <a:lnTo>
                    <a:pt x="135" y="686"/>
                  </a:lnTo>
                  <a:lnTo>
                    <a:pt x="132" y="686"/>
                  </a:lnTo>
                  <a:lnTo>
                    <a:pt x="131" y="682"/>
                  </a:lnTo>
                  <a:lnTo>
                    <a:pt x="130" y="678"/>
                  </a:lnTo>
                  <a:lnTo>
                    <a:pt x="134" y="675"/>
                  </a:lnTo>
                  <a:lnTo>
                    <a:pt x="141" y="675"/>
                  </a:lnTo>
                  <a:lnTo>
                    <a:pt x="144" y="674"/>
                  </a:lnTo>
                  <a:lnTo>
                    <a:pt x="148" y="670"/>
                  </a:lnTo>
                  <a:lnTo>
                    <a:pt x="153" y="667"/>
                  </a:lnTo>
                  <a:lnTo>
                    <a:pt x="155" y="662"/>
                  </a:lnTo>
                  <a:lnTo>
                    <a:pt x="156" y="660"/>
                  </a:lnTo>
                  <a:lnTo>
                    <a:pt x="158" y="655"/>
                  </a:lnTo>
                  <a:lnTo>
                    <a:pt x="163" y="639"/>
                  </a:lnTo>
                  <a:lnTo>
                    <a:pt x="166" y="634"/>
                  </a:lnTo>
                  <a:lnTo>
                    <a:pt x="170" y="623"/>
                  </a:lnTo>
                  <a:lnTo>
                    <a:pt x="177" y="598"/>
                  </a:lnTo>
                  <a:lnTo>
                    <a:pt x="181" y="585"/>
                  </a:lnTo>
                  <a:lnTo>
                    <a:pt x="182" y="580"/>
                  </a:lnTo>
                  <a:lnTo>
                    <a:pt x="182" y="575"/>
                  </a:lnTo>
                  <a:lnTo>
                    <a:pt x="184" y="572"/>
                  </a:lnTo>
                  <a:lnTo>
                    <a:pt x="187" y="566"/>
                  </a:lnTo>
                  <a:lnTo>
                    <a:pt x="190" y="565"/>
                  </a:lnTo>
                  <a:lnTo>
                    <a:pt x="194" y="566"/>
                  </a:lnTo>
                  <a:lnTo>
                    <a:pt x="198" y="566"/>
                  </a:lnTo>
                  <a:lnTo>
                    <a:pt x="196" y="562"/>
                  </a:lnTo>
                  <a:lnTo>
                    <a:pt x="193" y="556"/>
                  </a:lnTo>
                  <a:lnTo>
                    <a:pt x="190" y="555"/>
                  </a:lnTo>
                  <a:lnTo>
                    <a:pt x="186" y="560"/>
                  </a:lnTo>
                  <a:lnTo>
                    <a:pt x="185" y="564"/>
                  </a:lnTo>
                  <a:lnTo>
                    <a:pt x="183" y="567"/>
                  </a:lnTo>
                  <a:lnTo>
                    <a:pt x="194" y="523"/>
                  </a:lnTo>
                  <a:lnTo>
                    <a:pt x="198" y="508"/>
                  </a:lnTo>
                  <a:lnTo>
                    <a:pt x="202" y="489"/>
                  </a:lnTo>
                  <a:lnTo>
                    <a:pt x="206" y="484"/>
                  </a:lnTo>
                  <a:lnTo>
                    <a:pt x="209" y="483"/>
                  </a:lnTo>
                  <a:lnTo>
                    <a:pt x="209" y="486"/>
                  </a:lnTo>
                  <a:lnTo>
                    <a:pt x="210" y="489"/>
                  </a:lnTo>
                  <a:lnTo>
                    <a:pt x="214" y="493"/>
                  </a:lnTo>
                  <a:lnTo>
                    <a:pt x="216" y="494"/>
                  </a:lnTo>
                  <a:lnTo>
                    <a:pt x="224" y="505"/>
                  </a:lnTo>
                  <a:lnTo>
                    <a:pt x="225" y="508"/>
                  </a:lnTo>
                  <a:lnTo>
                    <a:pt x="225" y="510"/>
                  </a:lnTo>
                  <a:lnTo>
                    <a:pt x="226" y="517"/>
                  </a:lnTo>
                  <a:lnTo>
                    <a:pt x="226" y="525"/>
                  </a:lnTo>
                  <a:lnTo>
                    <a:pt x="227" y="532"/>
                  </a:lnTo>
                  <a:lnTo>
                    <a:pt x="229" y="535"/>
                  </a:lnTo>
                  <a:lnTo>
                    <a:pt x="231" y="538"/>
                  </a:lnTo>
                  <a:lnTo>
                    <a:pt x="234" y="540"/>
                  </a:lnTo>
                  <a:lnTo>
                    <a:pt x="234" y="544"/>
                  </a:lnTo>
                  <a:lnTo>
                    <a:pt x="233" y="548"/>
                  </a:lnTo>
                  <a:lnTo>
                    <a:pt x="234" y="545"/>
                  </a:lnTo>
                  <a:lnTo>
                    <a:pt x="235" y="540"/>
                  </a:lnTo>
                  <a:lnTo>
                    <a:pt x="232" y="538"/>
                  </a:lnTo>
                  <a:lnTo>
                    <a:pt x="236" y="539"/>
                  </a:lnTo>
                  <a:lnTo>
                    <a:pt x="238" y="541"/>
                  </a:lnTo>
                  <a:lnTo>
                    <a:pt x="237" y="538"/>
                  </a:lnTo>
                  <a:lnTo>
                    <a:pt x="235" y="536"/>
                  </a:lnTo>
                  <a:lnTo>
                    <a:pt x="232" y="535"/>
                  </a:lnTo>
                  <a:lnTo>
                    <a:pt x="229" y="530"/>
                  </a:lnTo>
                  <a:lnTo>
                    <a:pt x="229" y="527"/>
                  </a:lnTo>
                  <a:lnTo>
                    <a:pt x="229" y="509"/>
                  </a:lnTo>
                  <a:lnTo>
                    <a:pt x="228" y="505"/>
                  </a:lnTo>
                  <a:lnTo>
                    <a:pt x="227" y="499"/>
                  </a:lnTo>
                  <a:lnTo>
                    <a:pt x="225" y="494"/>
                  </a:lnTo>
                  <a:lnTo>
                    <a:pt x="223" y="490"/>
                  </a:lnTo>
                  <a:lnTo>
                    <a:pt x="214" y="482"/>
                  </a:lnTo>
                  <a:lnTo>
                    <a:pt x="212" y="478"/>
                  </a:lnTo>
                  <a:lnTo>
                    <a:pt x="209" y="474"/>
                  </a:lnTo>
                  <a:lnTo>
                    <a:pt x="205" y="473"/>
                  </a:lnTo>
                  <a:lnTo>
                    <a:pt x="203" y="470"/>
                  </a:lnTo>
                  <a:lnTo>
                    <a:pt x="199" y="469"/>
                  </a:lnTo>
                  <a:lnTo>
                    <a:pt x="200" y="462"/>
                  </a:lnTo>
                  <a:lnTo>
                    <a:pt x="205" y="460"/>
                  </a:lnTo>
                  <a:lnTo>
                    <a:pt x="210" y="466"/>
                  </a:lnTo>
                  <a:lnTo>
                    <a:pt x="216" y="470"/>
                  </a:lnTo>
                  <a:lnTo>
                    <a:pt x="210" y="463"/>
                  </a:lnTo>
                  <a:lnTo>
                    <a:pt x="207" y="460"/>
                  </a:lnTo>
                  <a:lnTo>
                    <a:pt x="207" y="456"/>
                  </a:lnTo>
                  <a:lnTo>
                    <a:pt x="209" y="453"/>
                  </a:lnTo>
                  <a:lnTo>
                    <a:pt x="212" y="452"/>
                  </a:lnTo>
                  <a:lnTo>
                    <a:pt x="213" y="449"/>
                  </a:lnTo>
                  <a:lnTo>
                    <a:pt x="213" y="446"/>
                  </a:lnTo>
                  <a:lnTo>
                    <a:pt x="212" y="440"/>
                  </a:lnTo>
                  <a:lnTo>
                    <a:pt x="214" y="443"/>
                  </a:lnTo>
                  <a:lnTo>
                    <a:pt x="216" y="439"/>
                  </a:lnTo>
                  <a:lnTo>
                    <a:pt x="214" y="436"/>
                  </a:lnTo>
                  <a:lnTo>
                    <a:pt x="214" y="433"/>
                  </a:lnTo>
                  <a:lnTo>
                    <a:pt x="213" y="430"/>
                  </a:lnTo>
                  <a:lnTo>
                    <a:pt x="211" y="427"/>
                  </a:lnTo>
                  <a:lnTo>
                    <a:pt x="207" y="427"/>
                  </a:lnTo>
                  <a:lnTo>
                    <a:pt x="209" y="424"/>
                  </a:lnTo>
                  <a:lnTo>
                    <a:pt x="210" y="420"/>
                  </a:lnTo>
                  <a:lnTo>
                    <a:pt x="215" y="418"/>
                  </a:lnTo>
                  <a:lnTo>
                    <a:pt x="216" y="416"/>
                  </a:lnTo>
                  <a:lnTo>
                    <a:pt x="215" y="412"/>
                  </a:lnTo>
                  <a:lnTo>
                    <a:pt x="212" y="412"/>
                  </a:lnTo>
                  <a:lnTo>
                    <a:pt x="209" y="413"/>
                  </a:lnTo>
                  <a:lnTo>
                    <a:pt x="209" y="416"/>
                  </a:lnTo>
                  <a:lnTo>
                    <a:pt x="205" y="413"/>
                  </a:lnTo>
                  <a:lnTo>
                    <a:pt x="203" y="411"/>
                  </a:lnTo>
                  <a:lnTo>
                    <a:pt x="200" y="408"/>
                  </a:lnTo>
                  <a:lnTo>
                    <a:pt x="196" y="408"/>
                  </a:lnTo>
                  <a:lnTo>
                    <a:pt x="194" y="405"/>
                  </a:lnTo>
                  <a:lnTo>
                    <a:pt x="193" y="401"/>
                  </a:lnTo>
                  <a:lnTo>
                    <a:pt x="190" y="399"/>
                  </a:lnTo>
                  <a:lnTo>
                    <a:pt x="186" y="399"/>
                  </a:lnTo>
                  <a:lnTo>
                    <a:pt x="184" y="396"/>
                  </a:lnTo>
                  <a:lnTo>
                    <a:pt x="181" y="394"/>
                  </a:lnTo>
                  <a:lnTo>
                    <a:pt x="177" y="392"/>
                  </a:lnTo>
                  <a:lnTo>
                    <a:pt x="176" y="388"/>
                  </a:lnTo>
                  <a:lnTo>
                    <a:pt x="175" y="391"/>
                  </a:lnTo>
                  <a:lnTo>
                    <a:pt x="173" y="383"/>
                  </a:lnTo>
                  <a:lnTo>
                    <a:pt x="173" y="379"/>
                  </a:lnTo>
                  <a:lnTo>
                    <a:pt x="172" y="376"/>
                  </a:lnTo>
                  <a:lnTo>
                    <a:pt x="170" y="370"/>
                  </a:lnTo>
                  <a:lnTo>
                    <a:pt x="167" y="369"/>
                  </a:lnTo>
                  <a:lnTo>
                    <a:pt x="165" y="364"/>
                  </a:lnTo>
                  <a:lnTo>
                    <a:pt x="163" y="360"/>
                  </a:lnTo>
                  <a:lnTo>
                    <a:pt x="159" y="357"/>
                  </a:lnTo>
                  <a:lnTo>
                    <a:pt x="158" y="353"/>
                  </a:lnTo>
                  <a:lnTo>
                    <a:pt x="159" y="350"/>
                  </a:lnTo>
                  <a:lnTo>
                    <a:pt x="161" y="347"/>
                  </a:lnTo>
                  <a:lnTo>
                    <a:pt x="165" y="345"/>
                  </a:lnTo>
                  <a:lnTo>
                    <a:pt x="168" y="340"/>
                  </a:lnTo>
                  <a:lnTo>
                    <a:pt x="170" y="337"/>
                  </a:lnTo>
                  <a:lnTo>
                    <a:pt x="169" y="334"/>
                  </a:lnTo>
                  <a:lnTo>
                    <a:pt x="165" y="330"/>
                  </a:lnTo>
                  <a:lnTo>
                    <a:pt x="158" y="327"/>
                  </a:lnTo>
                  <a:lnTo>
                    <a:pt x="158" y="325"/>
                  </a:lnTo>
                  <a:lnTo>
                    <a:pt x="161" y="324"/>
                  </a:lnTo>
                  <a:lnTo>
                    <a:pt x="162" y="321"/>
                  </a:lnTo>
                  <a:lnTo>
                    <a:pt x="161" y="318"/>
                  </a:lnTo>
                  <a:lnTo>
                    <a:pt x="163" y="315"/>
                  </a:lnTo>
                  <a:lnTo>
                    <a:pt x="171" y="314"/>
                  </a:lnTo>
                  <a:lnTo>
                    <a:pt x="173" y="315"/>
                  </a:lnTo>
                  <a:lnTo>
                    <a:pt x="176" y="316"/>
                  </a:lnTo>
                  <a:lnTo>
                    <a:pt x="178" y="317"/>
                  </a:lnTo>
                  <a:lnTo>
                    <a:pt x="180" y="320"/>
                  </a:lnTo>
                  <a:lnTo>
                    <a:pt x="182" y="321"/>
                  </a:lnTo>
                  <a:lnTo>
                    <a:pt x="185" y="324"/>
                  </a:lnTo>
                  <a:lnTo>
                    <a:pt x="189" y="325"/>
                  </a:lnTo>
                  <a:lnTo>
                    <a:pt x="185" y="323"/>
                  </a:lnTo>
                  <a:lnTo>
                    <a:pt x="183" y="319"/>
                  </a:lnTo>
                  <a:lnTo>
                    <a:pt x="179" y="316"/>
                  </a:lnTo>
                  <a:lnTo>
                    <a:pt x="176" y="315"/>
                  </a:lnTo>
                  <a:lnTo>
                    <a:pt x="173" y="312"/>
                  </a:lnTo>
                  <a:lnTo>
                    <a:pt x="164" y="311"/>
                  </a:lnTo>
                  <a:lnTo>
                    <a:pt x="161" y="313"/>
                  </a:lnTo>
                  <a:lnTo>
                    <a:pt x="158" y="315"/>
                  </a:lnTo>
                  <a:lnTo>
                    <a:pt x="155" y="316"/>
                  </a:lnTo>
                  <a:lnTo>
                    <a:pt x="153" y="315"/>
                  </a:lnTo>
                  <a:lnTo>
                    <a:pt x="151" y="312"/>
                  </a:lnTo>
                  <a:lnTo>
                    <a:pt x="148" y="311"/>
                  </a:lnTo>
                  <a:lnTo>
                    <a:pt x="145" y="312"/>
                  </a:lnTo>
                  <a:lnTo>
                    <a:pt x="140" y="308"/>
                  </a:lnTo>
                  <a:lnTo>
                    <a:pt x="143" y="310"/>
                  </a:lnTo>
                  <a:lnTo>
                    <a:pt x="146" y="309"/>
                  </a:lnTo>
                  <a:lnTo>
                    <a:pt x="144" y="304"/>
                  </a:lnTo>
                  <a:lnTo>
                    <a:pt x="140" y="300"/>
                  </a:lnTo>
                  <a:lnTo>
                    <a:pt x="145" y="298"/>
                  </a:lnTo>
                  <a:lnTo>
                    <a:pt x="148" y="299"/>
                  </a:lnTo>
                  <a:lnTo>
                    <a:pt x="150" y="298"/>
                  </a:lnTo>
                  <a:lnTo>
                    <a:pt x="146" y="294"/>
                  </a:lnTo>
                  <a:lnTo>
                    <a:pt x="145" y="291"/>
                  </a:lnTo>
                  <a:lnTo>
                    <a:pt x="150" y="291"/>
                  </a:lnTo>
                  <a:lnTo>
                    <a:pt x="152" y="290"/>
                  </a:lnTo>
                  <a:lnTo>
                    <a:pt x="150" y="290"/>
                  </a:lnTo>
                  <a:lnTo>
                    <a:pt x="145" y="287"/>
                  </a:lnTo>
                  <a:lnTo>
                    <a:pt x="142" y="287"/>
                  </a:lnTo>
                  <a:lnTo>
                    <a:pt x="139" y="287"/>
                  </a:lnTo>
                  <a:lnTo>
                    <a:pt x="141" y="284"/>
                  </a:lnTo>
                  <a:lnTo>
                    <a:pt x="138" y="285"/>
                  </a:lnTo>
                  <a:lnTo>
                    <a:pt x="135" y="285"/>
                  </a:lnTo>
                  <a:lnTo>
                    <a:pt x="133" y="287"/>
                  </a:lnTo>
                  <a:lnTo>
                    <a:pt x="130" y="286"/>
                  </a:lnTo>
                  <a:lnTo>
                    <a:pt x="127" y="287"/>
                  </a:lnTo>
                  <a:lnTo>
                    <a:pt x="124" y="286"/>
                  </a:lnTo>
                  <a:lnTo>
                    <a:pt x="123" y="283"/>
                  </a:lnTo>
                  <a:lnTo>
                    <a:pt x="120" y="280"/>
                  </a:lnTo>
                  <a:lnTo>
                    <a:pt x="123" y="280"/>
                  </a:lnTo>
                  <a:lnTo>
                    <a:pt x="125" y="281"/>
                  </a:lnTo>
                  <a:lnTo>
                    <a:pt x="128" y="282"/>
                  </a:lnTo>
                  <a:lnTo>
                    <a:pt x="132" y="282"/>
                  </a:lnTo>
                  <a:lnTo>
                    <a:pt x="134" y="278"/>
                  </a:lnTo>
                  <a:lnTo>
                    <a:pt x="134" y="275"/>
                  </a:lnTo>
                  <a:lnTo>
                    <a:pt x="134" y="278"/>
                  </a:lnTo>
                  <a:lnTo>
                    <a:pt x="129" y="275"/>
                  </a:lnTo>
                  <a:lnTo>
                    <a:pt x="132" y="276"/>
                  </a:lnTo>
                  <a:lnTo>
                    <a:pt x="129" y="274"/>
                  </a:lnTo>
                  <a:lnTo>
                    <a:pt x="125" y="275"/>
                  </a:lnTo>
                  <a:lnTo>
                    <a:pt x="122" y="276"/>
                  </a:lnTo>
                  <a:lnTo>
                    <a:pt x="120" y="275"/>
                  </a:lnTo>
                  <a:lnTo>
                    <a:pt x="120" y="273"/>
                  </a:lnTo>
                  <a:lnTo>
                    <a:pt x="118" y="270"/>
                  </a:lnTo>
                  <a:lnTo>
                    <a:pt x="117" y="275"/>
                  </a:lnTo>
                  <a:lnTo>
                    <a:pt x="118" y="278"/>
                  </a:lnTo>
                  <a:lnTo>
                    <a:pt x="116" y="277"/>
                  </a:lnTo>
                  <a:lnTo>
                    <a:pt x="110" y="277"/>
                  </a:lnTo>
                  <a:lnTo>
                    <a:pt x="108" y="274"/>
                  </a:lnTo>
                  <a:lnTo>
                    <a:pt x="106" y="279"/>
                  </a:lnTo>
                  <a:lnTo>
                    <a:pt x="106" y="281"/>
                  </a:lnTo>
                  <a:lnTo>
                    <a:pt x="108" y="285"/>
                  </a:lnTo>
                  <a:lnTo>
                    <a:pt x="105" y="285"/>
                  </a:lnTo>
                  <a:lnTo>
                    <a:pt x="105" y="282"/>
                  </a:lnTo>
                  <a:lnTo>
                    <a:pt x="106" y="279"/>
                  </a:lnTo>
                  <a:lnTo>
                    <a:pt x="107" y="276"/>
                  </a:lnTo>
                  <a:lnTo>
                    <a:pt x="106" y="273"/>
                  </a:lnTo>
                  <a:lnTo>
                    <a:pt x="104" y="270"/>
                  </a:lnTo>
                  <a:lnTo>
                    <a:pt x="105" y="266"/>
                  </a:lnTo>
                  <a:lnTo>
                    <a:pt x="110" y="265"/>
                  </a:lnTo>
                  <a:lnTo>
                    <a:pt x="109" y="261"/>
                  </a:lnTo>
                  <a:lnTo>
                    <a:pt x="107" y="260"/>
                  </a:lnTo>
                  <a:lnTo>
                    <a:pt x="107" y="263"/>
                  </a:lnTo>
                  <a:lnTo>
                    <a:pt x="104" y="264"/>
                  </a:lnTo>
                  <a:lnTo>
                    <a:pt x="103" y="267"/>
                  </a:lnTo>
                  <a:lnTo>
                    <a:pt x="100" y="265"/>
                  </a:lnTo>
                  <a:lnTo>
                    <a:pt x="96" y="263"/>
                  </a:lnTo>
                  <a:lnTo>
                    <a:pt x="99" y="264"/>
                  </a:lnTo>
                  <a:lnTo>
                    <a:pt x="95" y="261"/>
                  </a:lnTo>
                  <a:lnTo>
                    <a:pt x="96" y="259"/>
                  </a:lnTo>
                  <a:lnTo>
                    <a:pt x="99" y="257"/>
                  </a:lnTo>
                  <a:lnTo>
                    <a:pt x="95" y="259"/>
                  </a:lnTo>
                  <a:lnTo>
                    <a:pt x="89" y="261"/>
                  </a:lnTo>
                  <a:lnTo>
                    <a:pt x="87" y="257"/>
                  </a:lnTo>
                  <a:lnTo>
                    <a:pt x="86" y="254"/>
                  </a:lnTo>
                  <a:lnTo>
                    <a:pt x="82" y="252"/>
                  </a:lnTo>
                  <a:lnTo>
                    <a:pt x="79" y="252"/>
                  </a:lnTo>
                  <a:lnTo>
                    <a:pt x="76" y="250"/>
                  </a:lnTo>
                  <a:lnTo>
                    <a:pt x="74" y="248"/>
                  </a:lnTo>
                  <a:lnTo>
                    <a:pt x="71" y="249"/>
                  </a:lnTo>
                  <a:lnTo>
                    <a:pt x="66" y="247"/>
                  </a:lnTo>
                  <a:lnTo>
                    <a:pt x="65" y="244"/>
                  </a:lnTo>
                  <a:lnTo>
                    <a:pt x="64" y="241"/>
                  </a:lnTo>
                  <a:lnTo>
                    <a:pt x="60" y="236"/>
                  </a:lnTo>
                  <a:lnTo>
                    <a:pt x="58" y="240"/>
                  </a:lnTo>
                  <a:lnTo>
                    <a:pt x="55" y="241"/>
                  </a:lnTo>
                  <a:lnTo>
                    <a:pt x="51" y="236"/>
                  </a:lnTo>
                  <a:lnTo>
                    <a:pt x="50" y="232"/>
                  </a:lnTo>
                  <a:lnTo>
                    <a:pt x="50" y="236"/>
                  </a:lnTo>
                  <a:lnTo>
                    <a:pt x="48" y="239"/>
                  </a:lnTo>
                  <a:lnTo>
                    <a:pt x="45" y="242"/>
                  </a:lnTo>
                  <a:lnTo>
                    <a:pt x="43" y="243"/>
                  </a:lnTo>
                  <a:lnTo>
                    <a:pt x="34" y="241"/>
                  </a:lnTo>
                  <a:lnTo>
                    <a:pt x="35" y="238"/>
                  </a:lnTo>
                  <a:lnTo>
                    <a:pt x="36" y="233"/>
                  </a:lnTo>
                  <a:lnTo>
                    <a:pt x="35" y="228"/>
                  </a:lnTo>
                  <a:lnTo>
                    <a:pt x="33" y="224"/>
                  </a:lnTo>
                  <a:lnTo>
                    <a:pt x="28" y="218"/>
                  </a:lnTo>
                  <a:lnTo>
                    <a:pt x="26" y="219"/>
                  </a:lnTo>
                  <a:lnTo>
                    <a:pt x="24" y="217"/>
                  </a:lnTo>
                  <a:lnTo>
                    <a:pt x="21" y="217"/>
                  </a:lnTo>
                  <a:lnTo>
                    <a:pt x="16" y="214"/>
                  </a:lnTo>
                  <a:lnTo>
                    <a:pt x="18" y="212"/>
                  </a:lnTo>
                  <a:lnTo>
                    <a:pt x="40" y="212"/>
                  </a:lnTo>
                  <a:lnTo>
                    <a:pt x="43" y="214"/>
                  </a:lnTo>
                  <a:lnTo>
                    <a:pt x="46" y="211"/>
                  </a:lnTo>
                  <a:lnTo>
                    <a:pt x="45" y="207"/>
                  </a:lnTo>
                  <a:lnTo>
                    <a:pt x="44" y="204"/>
                  </a:lnTo>
                  <a:lnTo>
                    <a:pt x="42" y="203"/>
                  </a:lnTo>
                  <a:lnTo>
                    <a:pt x="39" y="202"/>
                  </a:lnTo>
                  <a:lnTo>
                    <a:pt x="36" y="199"/>
                  </a:lnTo>
                  <a:lnTo>
                    <a:pt x="33" y="200"/>
                  </a:lnTo>
                  <a:lnTo>
                    <a:pt x="31" y="204"/>
                  </a:lnTo>
                  <a:lnTo>
                    <a:pt x="30" y="201"/>
                  </a:lnTo>
                  <a:lnTo>
                    <a:pt x="31" y="198"/>
                  </a:lnTo>
                  <a:lnTo>
                    <a:pt x="27" y="195"/>
                  </a:lnTo>
                  <a:lnTo>
                    <a:pt x="29" y="194"/>
                  </a:lnTo>
                  <a:lnTo>
                    <a:pt x="32" y="189"/>
                  </a:lnTo>
                  <a:lnTo>
                    <a:pt x="32" y="193"/>
                  </a:lnTo>
                  <a:lnTo>
                    <a:pt x="39" y="195"/>
                  </a:lnTo>
                  <a:lnTo>
                    <a:pt x="45" y="196"/>
                  </a:lnTo>
                  <a:lnTo>
                    <a:pt x="49" y="197"/>
                  </a:lnTo>
                  <a:lnTo>
                    <a:pt x="54" y="197"/>
                  </a:lnTo>
                  <a:lnTo>
                    <a:pt x="51" y="196"/>
                  </a:lnTo>
                  <a:lnTo>
                    <a:pt x="49" y="195"/>
                  </a:lnTo>
                  <a:lnTo>
                    <a:pt x="46" y="194"/>
                  </a:lnTo>
                  <a:lnTo>
                    <a:pt x="48" y="192"/>
                  </a:lnTo>
                  <a:lnTo>
                    <a:pt x="46" y="191"/>
                  </a:lnTo>
                  <a:lnTo>
                    <a:pt x="42" y="192"/>
                  </a:lnTo>
                  <a:lnTo>
                    <a:pt x="40" y="191"/>
                  </a:lnTo>
                  <a:lnTo>
                    <a:pt x="42" y="187"/>
                  </a:lnTo>
                  <a:lnTo>
                    <a:pt x="50" y="184"/>
                  </a:lnTo>
                  <a:lnTo>
                    <a:pt x="46" y="185"/>
                  </a:lnTo>
                  <a:lnTo>
                    <a:pt x="41" y="185"/>
                  </a:lnTo>
                  <a:lnTo>
                    <a:pt x="35" y="187"/>
                  </a:lnTo>
                  <a:lnTo>
                    <a:pt x="32" y="187"/>
                  </a:lnTo>
                  <a:lnTo>
                    <a:pt x="28" y="188"/>
                  </a:lnTo>
                  <a:lnTo>
                    <a:pt x="26" y="186"/>
                  </a:lnTo>
                  <a:lnTo>
                    <a:pt x="20" y="187"/>
                  </a:lnTo>
                  <a:lnTo>
                    <a:pt x="19" y="183"/>
                  </a:lnTo>
                  <a:lnTo>
                    <a:pt x="20" y="180"/>
                  </a:lnTo>
                  <a:lnTo>
                    <a:pt x="21" y="176"/>
                  </a:lnTo>
                  <a:lnTo>
                    <a:pt x="22" y="173"/>
                  </a:lnTo>
                  <a:lnTo>
                    <a:pt x="23" y="171"/>
                  </a:lnTo>
                  <a:lnTo>
                    <a:pt x="25" y="167"/>
                  </a:lnTo>
                  <a:lnTo>
                    <a:pt x="27" y="167"/>
                  </a:lnTo>
                  <a:lnTo>
                    <a:pt x="31" y="165"/>
                  </a:lnTo>
                  <a:lnTo>
                    <a:pt x="34" y="168"/>
                  </a:lnTo>
                  <a:lnTo>
                    <a:pt x="34" y="164"/>
                  </a:lnTo>
                  <a:lnTo>
                    <a:pt x="37" y="165"/>
                  </a:lnTo>
                  <a:lnTo>
                    <a:pt x="37" y="162"/>
                  </a:lnTo>
                  <a:lnTo>
                    <a:pt x="41" y="163"/>
                  </a:lnTo>
                  <a:lnTo>
                    <a:pt x="45" y="162"/>
                  </a:lnTo>
                  <a:lnTo>
                    <a:pt x="49" y="161"/>
                  </a:lnTo>
                  <a:lnTo>
                    <a:pt x="52" y="161"/>
                  </a:lnTo>
                  <a:lnTo>
                    <a:pt x="52" y="164"/>
                  </a:lnTo>
                  <a:lnTo>
                    <a:pt x="56" y="163"/>
                  </a:lnTo>
                  <a:lnTo>
                    <a:pt x="58" y="164"/>
                  </a:lnTo>
                  <a:lnTo>
                    <a:pt x="60" y="162"/>
                  </a:lnTo>
                  <a:lnTo>
                    <a:pt x="62" y="161"/>
                  </a:lnTo>
                  <a:lnTo>
                    <a:pt x="66" y="161"/>
                  </a:lnTo>
                  <a:lnTo>
                    <a:pt x="70" y="161"/>
                  </a:lnTo>
                  <a:lnTo>
                    <a:pt x="75" y="160"/>
                  </a:lnTo>
                  <a:lnTo>
                    <a:pt x="75" y="163"/>
                  </a:lnTo>
                  <a:lnTo>
                    <a:pt x="75" y="166"/>
                  </a:lnTo>
                  <a:lnTo>
                    <a:pt x="78" y="165"/>
                  </a:lnTo>
                  <a:lnTo>
                    <a:pt x="80" y="170"/>
                  </a:lnTo>
                  <a:lnTo>
                    <a:pt x="81" y="165"/>
                  </a:lnTo>
                  <a:lnTo>
                    <a:pt x="83" y="163"/>
                  </a:lnTo>
                  <a:lnTo>
                    <a:pt x="86" y="163"/>
                  </a:lnTo>
                  <a:lnTo>
                    <a:pt x="89" y="164"/>
                  </a:lnTo>
                  <a:lnTo>
                    <a:pt x="91" y="166"/>
                  </a:lnTo>
                  <a:lnTo>
                    <a:pt x="94" y="166"/>
                  </a:lnTo>
                  <a:lnTo>
                    <a:pt x="97" y="170"/>
                  </a:lnTo>
                  <a:lnTo>
                    <a:pt x="98" y="166"/>
                  </a:lnTo>
                  <a:lnTo>
                    <a:pt x="101" y="164"/>
                  </a:lnTo>
                  <a:lnTo>
                    <a:pt x="99" y="160"/>
                  </a:lnTo>
                  <a:lnTo>
                    <a:pt x="102" y="158"/>
                  </a:lnTo>
                  <a:lnTo>
                    <a:pt x="104" y="155"/>
                  </a:lnTo>
                  <a:lnTo>
                    <a:pt x="107" y="156"/>
                  </a:lnTo>
                  <a:lnTo>
                    <a:pt x="109" y="158"/>
                  </a:lnTo>
                  <a:lnTo>
                    <a:pt x="112" y="159"/>
                  </a:lnTo>
                  <a:lnTo>
                    <a:pt x="117" y="157"/>
                  </a:lnTo>
                  <a:lnTo>
                    <a:pt x="121" y="155"/>
                  </a:lnTo>
                  <a:lnTo>
                    <a:pt x="122" y="159"/>
                  </a:lnTo>
                  <a:lnTo>
                    <a:pt x="120" y="161"/>
                  </a:lnTo>
                  <a:lnTo>
                    <a:pt x="124" y="159"/>
                  </a:lnTo>
                  <a:lnTo>
                    <a:pt x="127" y="158"/>
                  </a:lnTo>
                  <a:lnTo>
                    <a:pt x="130" y="157"/>
                  </a:lnTo>
                  <a:lnTo>
                    <a:pt x="129" y="160"/>
                  </a:lnTo>
                  <a:lnTo>
                    <a:pt x="128" y="164"/>
                  </a:lnTo>
                  <a:lnTo>
                    <a:pt x="126" y="167"/>
                  </a:lnTo>
                  <a:lnTo>
                    <a:pt x="129" y="163"/>
                  </a:lnTo>
                  <a:lnTo>
                    <a:pt x="131" y="162"/>
                  </a:lnTo>
                  <a:lnTo>
                    <a:pt x="134" y="162"/>
                  </a:lnTo>
                  <a:lnTo>
                    <a:pt x="131" y="165"/>
                  </a:lnTo>
                  <a:lnTo>
                    <a:pt x="137" y="167"/>
                  </a:lnTo>
                  <a:lnTo>
                    <a:pt x="137" y="171"/>
                  </a:lnTo>
                  <a:lnTo>
                    <a:pt x="139" y="175"/>
                  </a:lnTo>
                  <a:lnTo>
                    <a:pt x="143" y="180"/>
                  </a:lnTo>
                  <a:lnTo>
                    <a:pt x="143" y="183"/>
                  </a:lnTo>
                  <a:lnTo>
                    <a:pt x="143" y="186"/>
                  </a:lnTo>
                  <a:lnTo>
                    <a:pt x="145" y="188"/>
                  </a:lnTo>
                  <a:lnTo>
                    <a:pt x="148" y="190"/>
                  </a:lnTo>
                  <a:lnTo>
                    <a:pt x="148" y="193"/>
                  </a:lnTo>
                  <a:lnTo>
                    <a:pt x="150" y="192"/>
                  </a:lnTo>
                  <a:lnTo>
                    <a:pt x="153" y="193"/>
                  </a:lnTo>
                  <a:lnTo>
                    <a:pt x="155" y="192"/>
                  </a:lnTo>
                  <a:lnTo>
                    <a:pt x="157" y="189"/>
                  </a:lnTo>
                  <a:lnTo>
                    <a:pt x="164" y="187"/>
                  </a:lnTo>
                  <a:lnTo>
                    <a:pt x="166" y="184"/>
                  </a:lnTo>
                  <a:lnTo>
                    <a:pt x="169" y="185"/>
                  </a:lnTo>
                  <a:lnTo>
                    <a:pt x="173" y="183"/>
                  </a:lnTo>
                  <a:lnTo>
                    <a:pt x="176" y="184"/>
                  </a:lnTo>
                  <a:lnTo>
                    <a:pt x="172" y="188"/>
                  </a:lnTo>
                  <a:lnTo>
                    <a:pt x="175" y="188"/>
                  </a:lnTo>
                  <a:lnTo>
                    <a:pt x="177" y="187"/>
                  </a:lnTo>
                  <a:lnTo>
                    <a:pt x="178" y="189"/>
                  </a:lnTo>
                  <a:lnTo>
                    <a:pt x="179" y="192"/>
                  </a:lnTo>
                  <a:lnTo>
                    <a:pt x="181" y="194"/>
                  </a:lnTo>
                  <a:lnTo>
                    <a:pt x="182" y="191"/>
                  </a:lnTo>
                  <a:lnTo>
                    <a:pt x="186" y="189"/>
                  </a:lnTo>
                  <a:lnTo>
                    <a:pt x="189" y="189"/>
                  </a:lnTo>
                  <a:lnTo>
                    <a:pt x="190" y="192"/>
                  </a:lnTo>
                  <a:lnTo>
                    <a:pt x="191" y="194"/>
                  </a:lnTo>
                  <a:lnTo>
                    <a:pt x="192" y="199"/>
                  </a:lnTo>
                  <a:lnTo>
                    <a:pt x="192" y="202"/>
                  </a:lnTo>
                  <a:lnTo>
                    <a:pt x="195" y="200"/>
                  </a:lnTo>
                  <a:lnTo>
                    <a:pt x="193" y="197"/>
                  </a:lnTo>
                  <a:lnTo>
                    <a:pt x="192" y="194"/>
                  </a:lnTo>
                  <a:lnTo>
                    <a:pt x="191" y="191"/>
                  </a:lnTo>
                  <a:lnTo>
                    <a:pt x="192" y="188"/>
                  </a:lnTo>
                  <a:lnTo>
                    <a:pt x="195" y="186"/>
                  </a:lnTo>
                  <a:lnTo>
                    <a:pt x="197" y="186"/>
                  </a:lnTo>
                  <a:lnTo>
                    <a:pt x="203" y="185"/>
                  </a:lnTo>
                  <a:lnTo>
                    <a:pt x="201" y="189"/>
                  </a:lnTo>
                  <a:lnTo>
                    <a:pt x="202" y="193"/>
                  </a:lnTo>
                  <a:lnTo>
                    <a:pt x="204" y="194"/>
                  </a:lnTo>
                  <a:lnTo>
                    <a:pt x="210" y="195"/>
                  </a:lnTo>
                  <a:lnTo>
                    <a:pt x="215" y="195"/>
                  </a:lnTo>
                  <a:lnTo>
                    <a:pt x="218" y="194"/>
                  </a:lnTo>
                  <a:lnTo>
                    <a:pt x="223" y="195"/>
                  </a:lnTo>
                  <a:lnTo>
                    <a:pt x="230" y="195"/>
                  </a:lnTo>
                  <a:lnTo>
                    <a:pt x="225" y="191"/>
                  </a:lnTo>
                  <a:lnTo>
                    <a:pt x="224" y="187"/>
                  </a:lnTo>
                  <a:lnTo>
                    <a:pt x="222" y="185"/>
                  </a:lnTo>
                  <a:lnTo>
                    <a:pt x="222" y="180"/>
                  </a:lnTo>
                  <a:lnTo>
                    <a:pt x="222" y="176"/>
                  </a:lnTo>
                  <a:lnTo>
                    <a:pt x="222" y="173"/>
                  </a:lnTo>
                  <a:lnTo>
                    <a:pt x="224" y="168"/>
                  </a:lnTo>
                  <a:lnTo>
                    <a:pt x="224" y="165"/>
                  </a:lnTo>
                  <a:lnTo>
                    <a:pt x="226" y="159"/>
                  </a:lnTo>
                  <a:lnTo>
                    <a:pt x="228" y="159"/>
                  </a:lnTo>
                  <a:lnTo>
                    <a:pt x="226" y="157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3" y="152"/>
                  </a:lnTo>
                  <a:lnTo>
                    <a:pt x="225" y="149"/>
                  </a:lnTo>
                  <a:lnTo>
                    <a:pt x="225" y="146"/>
                  </a:lnTo>
                  <a:lnTo>
                    <a:pt x="225" y="142"/>
                  </a:lnTo>
                  <a:lnTo>
                    <a:pt x="227" y="140"/>
                  </a:lnTo>
                  <a:lnTo>
                    <a:pt x="223" y="139"/>
                  </a:lnTo>
                  <a:lnTo>
                    <a:pt x="223" y="135"/>
                  </a:lnTo>
                  <a:lnTo>
                    <a:pt x="222" y="132"/>
                  </a:lnTo>
                  <a:lnTo>
                    <a:pt x="222" y="129"/>
                  </a:lnTo>
                  <a:lnTo>
                    <a:pt x="220" y="128"/>
                  </a:lnTo>
                  <a:lnTo>
                    <a:pt x="217" y="125"/>
                  </a:lnTo>
                  <a:lnTo>
                    <a:pt x="215" y="123"/>
                  </a:lnTo>
                  <a:lnTo>
                    <a:pt x="216" y="119"/>
                  </a:lnTo>
                  <a:lnTo>
                    <a:pt x="215" y="115"/>
                  </a:lnTo>
                  <a:lnTo>
                    <a:pt x="215" y="112"/>
                  </a:lnTo>
                  <a:lnTo>
                    <a:pt x="214" y="108"/>
                  </a:lnTo>
                  <a:lnTo>
                    <a:pt x="217" y="103"/>
                  </a:lnTo>
                  <a:lnTo>
                    <a:pt x="217" y="99"/>
                  </a:lnTo>
                  <a:lnTo>
                    <a:pt x="214" y="96"/>
                  </a:lnTo>
                  <a:lnTo>
                    <a:pt x="212" y="94"/>
                  </a:lnTo>
                  <a:lnTo>
                    <a:pt x="213" y="91"/>
                  </a:lnTo>
                  <a:lnTo>
                    <a:pt x="215" y="91"/>
                  </a:lnTo>
                  <a:lnTo>
                    <a:pt x="219" y="92"/>
                  </a:lnTo>
                  <a:lnTo>
                    <a:pt x="221" y="94"/>
                  </a:lnTo>
                  <a:lnTo>
                    <a:pt x="226" y="96"/>
                  </a:lnTo>
                  <a:lnTo>
                    <a:pt x="230" y="99"/>
                  </a:lnTo>
                  <a:lnTo>
                    <a:pt x="234" y="99"/>
                  </a:lnTo>
                  <a:lnTo>
                    <a:pt x="237" y="100"/>
                  </a:lnTo>
                  <a:lnTo>
                    <a:pt x="240" y="97"/>
                  </a:lnTo>
                  <a:lnTo>
                    <a:pt x="244" y="96"/>
                  </a:lnTo>
                  <a:lnTo>
                    <a:pt x="252" y="99"/>
                  </a:lnTo>
                  <a:lnTo>
                    <a:pt x="253" y="105"/>
                  </a:lnTo>
                  <a:lnTo>
                    <a:pt x="252" y="108"/>
                  </a:lnTo>
                  <a:lnTo>
                    <a:pt x="249" y="110"/>
                  </a:lnTo>
                  <a:lnTo>
                    <a:pt x="248" y="112"/>
                  </a:lnTo>
                  <a:lnTo>
                    <a:pt x="249" y="116"/>
                  </a:lnTo>
                  <a:lnTo>
                    <a:pt x="253" y="125"/>
                  </a:lnTo>
                  <a:lnTo>
                    <a:pt x="253" y="128"/>
                  </a:lnTo>
                  <a:lnTo>
                    <a:pt x="252" y="132"/>
                  </a:lnTo>
                  <a:lnTo>
                    <a:pt x="255" y="132"/>
                  </a:lnTo>
                  <a:lnTo>
                    <a:pt x="257" y="130"/>
                  </a:lnTo>
                  <a:lnTo>
                    <a:pt x="267" y="131"/>
                  </a:lnTo>
                  <a:lnTo>
                    <a:pt x="274" y="134"/>
                  </a:lnTo>
                  <a:lnTo>
                    <a:pt x="285" y="137"/>
                  </a:lnTo>
                  <a:lnTo>
                    <a:pt x="287" y="138"/>
                  </a:lnTo>
                  <a:lnTo>
                    <a:pt x="291" y="137"/>
                  </a:lnTo>
                  <a:lnTo>
                    <a:pt x="295" y="139"/>
                  </a:lnTo>
                  <a:lnTo>
                    <a:pt x="299" y="140"/>
                  </a:lnTo>
                  <a:lnTo>
                    <a:pt x="302" y="142"/>
                  </a:lnTo>
                  <a:lnTo>
                    <a:pt x="305" y="143"/>
                  </a:lnTo>
                  <a:lnTo>
                    <a:pt x="310" y="147"/>
                  </a:lnTo>
                  <a:lnTo>
                    <a:pt x="321" y="145"/>
                  </a:lnTo>
                  <a:lnTo>
                    <a:pt x="324" y="144"/>
                  </a:lnTo>
                  <a:lnTo>
                    <a:pt x="327" y="143"/>
                  </a:lnTo>
                  <a:lnTo>
                    <a:pt x="330" y="140"/>
                  </a:lnTo>
                  <a:lnTo>
                    <a:pt x="334" y="138"/>
                  </a:lnTo>
                  <a:lnTo>
                    <a:pt x="349" y="137"/>
                  </a:lnTo>
                  <a:lnTo>
                    <a:pt x="352" y="135"/>
                  </a:lnTo>
                  <a:lnTo>
                    <a:pt x="356" y="133"/>
                  </a:lnTo>
                  <a:lnTo>
                    <a:pt x="350" y="135"/>
                  </a:lnTo>
                  <a:lnTo>
                    <a:pt x="345" y="136"/>
                  </a:lnTo>
                  <a:lnTo>
                    <a:pt x="340" y="134"/>
                  </a:lnTo>
                  <a:lnTo>
                    <a:pt x="336" y="132"/>
                  </a:lnTo>
                  <a:lnTo>
                    <a:pt x="334" y="132"/>
                  </a:lnTo>
                  <a:lnTo>
                    <a:pt x="332" y="130"/>
                  </a:lnTo>
                  <a:lnTo>
                    <a:pt x="330" y="127"/>
                  </a:lnTo>
                  <a:lnTo>
                    <a:pt x="334" y="120"/>
                  </a:lnTo>
                  <a:lnTo>
                    <a:pt x="338" y="113"/>
                  </a:lnTo>
                  <a:lnTo>
                    <a:pt x="342" y="110"/>
                  </a:lnTo>
                  <a:lnTo>
                    <a:pt x="352" y="107"/>
                  </a:lnTo>
                  <a:lnTo>
                    <a:pt x="361" y="103"/>
                  </a:lnTo>
                  <a:lnTo>
                    <a:pt x="366" y="100"/>
                  </a:lnTo>
                  <a:lnTo>
                    <a:pt x="371" y="99"/>
                  </a:lnTo>
                  <a:lnTo>
                    <a:pt x="376" y="100"/>
                  </a:lnTo>
                  <a:lnTo>
                    <a:pt x="401" y="95"/>
                  </a:lnTo>
                  <a:lnTo>
                    <a:pt x="404" y="93"/>
                  </a:lnTo>
                  <a:lnTo>
                    <a:pt x="407" y="91"/>
                  </a:lnTo>
                  <a:lnTo>
                    <a:pt x="415" y="86"/>
                  </a:lnTo>
                  <a:lnTo>
                    <a:pt x="419" y="82"/>
                  </a:lnTo>
                  <a:lnTo>
                    <a:pt x="422" y="76"/>
                  </a:lnTo>
                  <a:lnTo>
                    <a:pt x="424" y="74"/>
                  </a:lnTo>
                  <a:lnTo>
                    <a:pt x="433" y="77"/>
                  </a:lnTo>
                  <a:lnTo>
                    <a:pt x="434" y="74"/>
                  </a:lnTo>
                  <a:lnTo>
                    <a:pt x="431" y="74"/>
                  </a:lnTo>
                  <a:lnTo>
                    <a:pt x="430" y="71"/>
                  </a:lnTo>
                  <a:lnTo>
                    <a:pt x="428" y="69"/>
                  </a:lnTo>
                  <a:lnTo>
                    <a:pt x="428" y="65"/>
                  </a:lnTo>
                  <a:lnTo>
                    <a:pt x="428" y="62"/>
                  </a:lnTo>
                  <a:lnTo>
                    <a:pt x="432" y="60"/>
                  </a:lnTo>
                  <a:lnTo>
                    <a:pt x="429" y="57"/>
                  </a:lnTo>
                  <a:lnTo>
                    <a:pt x="431" y="53"/>
                  </a:lnTo>
                  <a:lnTo>
                    <a:pt x="431" y="49"/>
                  </a:lnTo>
                  <a:lnTo>
                    <a:pt x="432" y="45"/>
                  </a:lnTo>
                  <a:lnTo>
                    <a:pt x="433" y="41"/>
                  </a:lnTo>
                  <a:lnTo>
                    <a:pt x="433" y="36"/>
                  </a:lnTo>
                  <a:lnTo>
                    <a:pt x="433" y="31"/>
                  </a:lnTo>
                  <a:lnTo>
                    <a:pt x="433" y="27"/>
                  </a:lnTo>
                  <a:lnTo>
                    <a:pt x="435" y="24"/>
                  </a:lnTo>
                  <a:lnTo>
                    <a:pt x="436" y="21"/>
                  </a:lnTo>
                  <a:lnTo>
                    <a:pt x="436" y="15"/>
                  </a:lnTo>
                  <a:lnTo>
                    <a:pt x="437" y="13"/>
                  </a:lnTo>
                  <a:lnTo>
                    <a:pt x="440" y="12"/>
                  </a:lnTo>
                  <a:lnTo>
                    <a:pt x="443" y="9"/>
                  </a:lnTo>
                  <a:lnTo>
                    <a:pt x="457" y="4"/>
                  </a:lnTo>
                  <a:lnTo>
                    <a:pt x="460" y="3"/>
                  </a:lnTo>
                  <a:lnTo>
                    <a:pt x="469" y="3"/>
                  </a:lnTo>
                  <a:lnTo>
                    <a:pt x="479" y="1"/>
                  </a:lnTo>
                  <a:lnTo>
                    <a:pt x="484" y="2"/>
                  </a:lnTo>
                  <a:lnTo>
                    <a:pt x="489" y="1"/>
                  </a:lnTo>
                  <a:lnTo>
                    <a:pt x="491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59" name="DE">
              <a:extLst>
                <a:ext uri="{FF2B5EF4-FFF2-40B4-BE49-F238E27FC236}">
                  <a16:creationId xmlns:a16="http://schemas.microsoft.com/office/drawing/2014/main" id="{AC1B5DC3-0C79-5F53-C6E8-E39CAB5165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0465" y="3678331"/>
              <a:ext cx="1024429" cy="1294005"/>
            </a:xfrm>
            <a:custGeom>
              <a:avLst/>
              <a:gdLst>
                <a:gd name="T0" fmla="*/ 94 w 538"/>
                <a:gd name="T1" fmla="*/ 124 h 728"/>
                <a:gd name="T2" fmla="*/ 327 w 538"/>
                <a:gd name="T3" fmla="*/ 97 h 728"/>
                <a:gd name="T4" fmla="*/ 458 w 538"/>
                <a:gd name="T5" fmla="*/ 102 h 728"/>
                <a:gd name="T6" fmla="*/ 452 w 538"/>
                <a:gd name="T7" fmla="*/ 92 h 728"/>
                <a:gd name="T8" fmla="*/ 302 w 538"/>
                <a:gd name="T9" fmla="*/ 57 h 728"/>
                <a:gd name="T10" fmla="*/ 413 w 538"/>
                <a:gd name="T11" fmla="*/ 39 h 728"/>
                <a:gd name="T12" fmla="*/ 444 w 538"/>
                <a:gd name="T13" fmla="*/ 45 h 728"/>
                <a:gd name="T14" fmla="*/ 429 w 538"/>
                <a:gd name="T15" fmla="*/ 69 h 728"/>
                <a:gd name="T16" fmla="*/ 422 w 538"/>
                <a:gd name="T17" fmla="*/ 52 h 728"/>
                <a:gd name="T18" fmla="*/ 421 w 538"/>
                <a:gd name="T19" fmla="*/ 40 h 728"/>
                <a:gd name="T20" fmla="*/ 202 w 538"/>
                <a:gd name="T21" fmla="*/ 23 h 728"/>
                <a:gd name="T22" fmla="*/ 247 w 538"/>
                <a:gd name="T23" fmla="*/ 40 h 728"/>
                <a:gd name="T24" fmla="*/ 264 w 538"/>
                <a:gd name="T25" fmla="*/ 59 h 728"/>
                <a:gd name="T26" fmla="*/ 296 w 538"/>
                <a:gd name="T27" fmla="*/ 86 h 728"/>
                <a:gd name="T28" fmla="*/ 326 w 538"/>
                <a:gd name="T29" fmla="*/ 103 h 728"/>
                <a:gd name="T30" fmla="*/ 377 w 538"/>
                <a:gd name="T31" fmla="*/ 61 h 728"/>
                <a:gd name="T32" fmla="*/ 378 w 538"/>
                <a:gd name="T33" fmla="*/ 74 h 728"/>
                <a:gd name="T34" fmla="*/ 421 w 538"/>
                <a:gd name="T35" fmla="*/ 73 h 728"/>
                <a:gd name="T36" fmla="*/ 461 w 538"/>
                <a:gd name="T37" fmla="*/ 86 h 728"/>
                <a:gd name="T38" fmla="*/ 481 w 538"/>
                <a:gd name="T39" fmla="*/ 117 h 728"/>
                <a:gd name="T40" fmla="*/ 487 w 538"/>
                <a:gd name="T41" fmla="*/ 184 h 728"/>
                <a:gd name="T42" fmla="*/ 507 w 538"/>
                <a:gd name="T43" fmla="*/ 234 h 728"/>
                <a:gd name="T44" fmla="*/ 509 w 538"/>
                <a:gd name="T45" fmla="*/ 296 h 728"/>
                <a:gd name="T46" fmla="*/ 536 w 538"/>
                <a:gd name="T47" fmla="*/ 352 h 728"/>
                <a:gd name="T48" fmla="*/ 505 w 538"/>
                <a:gd name="T49" fmla="*/ 370 h 728"/>
                <a:gd name="T50" fmla="*/ 468 w 538"/>
                <a:gd name="T51" fmla="*/ 400 h 728"/>
                <a:gd name="T52" fmla="*/ 425 w 538"/>
                <a:gd name="T53" fmla="*/ 423 h 728"/>
                <a:gd name="T54" fmla="*/ 383 w 538"/>
                <a:gd name="T55" fmla="*/ 456 h 728"/>
                <a:gd name="T56" fmla="*/ 393 w 538"/>
                <a:gd name="T57" fmla="*/ 476 h 728"/>
                <a:gd name="T58" fmla="*/ 413 w 538"/>
                <a:gd name="T59" fmla="*/ 532 h 728"/>
                <a:gd name="T60" fmla="*/ 465 w 538"/>
                <a:gd name="T61" fmla="*/ 566 h 728"/>
                <a:gd name="T62" fmla="*/ 458 w 538"/>
                <a:gd name="T63" fmla="*/ 605 h 728"/>
                <a:gd name="T64" fmla="*/ 425 w 538"/>
                <a:gd name="T65" fmla="*/ 661 h 728"/>
                <a:gd name="T66" fmla="*/ 427 w 538"/>
                <a:gd name="T67" fmla="*/ 703 h 728"/>
                <a:gd name="T68" fmla="*/ 382 w 538"/>
                <a:gd name="T69" fmla="*/ 685 h 728"/>
                <a:gd name="T70" fmla="*/ 326 w 538"/>
                <a:gd name="T71" fmla="*/ 713 h 728"/>
                <a:gd name="T72" fmla="*/ 273 w 538"/>
                <a:gd name="T73" fmla="*/ 701 h 728"/>
                <a:gd name="T74" fmla="*/ 249 w 538"/>
                <a:gd name="T75" fmla="*/ 716 h 728"/>
                <a:gd name="T76" fmla="*/ 190 w 538"/>
                <a:gd name="T77" fmla="*/ 690 h 728"/>
                <a:gd name="T78" fmla="*/ 143 w 538"/>
                <a:gd name="T79" fmla="*/ 689 h 728"/>
                <a:gd name="T80" fmla="*/ 121 w 538"/>
                <a:gd name="T81" fmla="*/ 699 h 728"/>
                <a:gd name="T82" fmla="*/ 95 w 538"/>
                <a:gd name="T83" fmla="*/ 661 h 728"/>
                <a:gd name="T84" fmla="*/ 109 w 538"/>
                <a:gd name="T85" fmla="*/ 601 h 728"/>
                <a:gd name="T86" fmla="*/ 97 w 538"/>
                <a:gd name="T87" fmla="*/ 558 h 728"/>
                <a:gd name="T88" fmla="*/ 51 w 538"/>
                <a:gd name="T89" fmla="*/ 546 h 728"/>
                <a:gd name="T90" fmla="*/ 27 w 538"/>
                <a:gd name="T91" fmla="*/ 501 h 728"/>
                <a:gd name="T92" fmla="*/ 11 w 538"/>
                <a:gd name="T93" fmla="*/ 454 h 728"/>
                <a:gd name="T94" fmla="*/ 21 w 538"/>
                <a:gd name="T95" fmla="*/ 411 h 728"/>
                <a:gd name="T96" fmla="*/ 7 w 538"/>
                <a:gd name="T97" fmla="*/ 367 h 728"/>
                <a:gd name="T98" fmla="*/ 11 w 538"/>
                <a:gd name="T99" fmla="*/ 305 h 728"/>
                <a:gd name="T100" fmla="*/ 50 w 538"/>
                <a:gd name="T101" fmla="*/ 292 h 728"/>
                <a:gd name="T102" fmla="*/ 75 w 538"/>
                <a:gd name="T103" fmla="*/ 250 h 728"/>
                <a:gd name="T104" fmla="*/ 76 w 538"/>
                <a:gd name="T105" fmla="*/ 219 h 728"/>
                <a:gd name="T106" fmla="*/ 81 w 538"/>
                <a:gd name="T107" fmla="*/ 158 h 728"/>
                <a:gd name="T108" fmla="*/ 140 w 538"/>
                <a:gd name="T109" fmla="*/ 139 h 728"/>
                <a:gd name="T110" fmla="*/ 154 w 538"/>
                <a:gd name="T111" fmla="*/ 138 h 728"/>
                <a:gd name="T112" fmla="*/ 166 w 538"/>
                <a:gd name="T113" fmla="*/ 112 h 728"/>
                <a:gd name="T114" fmla="*/ 223 w 538"/>
                <a:gd name="T115" fmla="*/ 139 h 728"/>
                <a:gd name="T116" fmla="*/ 181 w 538"/>
                <a:gd name="T117" fmla="*/ 96 h 728"/>
                <a:gd name="T118" fmla="*/ 176 w 538"/>
                <a:gd name="T119" fmla="*/ 72 h 728"/>
                <a:gd name="T120" fmla="*/ 172 w 538"/>
                <a:gd name="T121" fmla="*/ 24 h 728"/>
                <a:gd name="T122" fmla="*/ 157 w 538"/>
                <a:gd name="T123" fmla="*/ 18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8" h="728">
                  <a:moveTo>
                    <a:pt x="64" y="132"/>
                  </a:moveTo>
                  <a:lnTo>
                    <a:pt x="63" y="134"/>
                  </a:lnTo>
                  <a:lnTo>
                    <a:pt x="63" y="135"/>
                  </a:lnTo>
                  <a:lnTo>
                    <a:pt x="61" y="136"/>
                  </a:lnTo>
                  <a:lnTo>
                    <a:pt x="64" y="132"/>
                  </a:lnTo>
                  <a:close/>
                  <a:moveTo>
                    <a:pt x="80" y="125"/>
                  </a:moveTo>
                  <a:lnTo>
                    <a:pt x="83" y="126"/>
                  </a:lnTo>
                  <a:lnTo>
                    <a:pt x="71" y="127"/>
                  </a:lnTo>
                  <a:lnTo>
                    <a:pt x="80" y="125"/>
                  </a:lnTo>
                  <a:close/>
                  <a:moveTo>
                    <a:pt x="143" y="123"/>
                  </a:moveTo>
                  <a:lnTo>
                    <a:pt x="143" y="125"/>
                  </a:lnTo>
                  <a:lnTo>
                    <a:pt x="141" y="125"/>
                  </a:lnTo>
                  <a:lnTo>
                    <a:pt x="143" y="123"/>
                  </a:lnTo>
                  <a:close/>
                  <a:moveTo>
                    <a:pt x="91" y="123"/>
                  </a:moveTo>
                  <a:lnTo>
                    <a:pt x="97" y="123"/>
                  </a:lnTo>
                  <a:lnTo>
                    <a:pt x="97" y="123"/>
                  </a:lnTo>
                  <a:lnTo>
                    <a:pt x="94" y="124"/>
                  </a:lnTo>
                  <a:lnTo>
                    <a:pt x="87" y="125"/>
                  </a:lnTo>
                  <a:lnTo>
                    <a:pt x="85" y="124"/>
                  </a:lnTo>
                  <a:lnTo>
                    <a:pt x="88" y="123"/>
                  </a:lnTo>
                  <a:lnTo>
                    <a:pt x="91" y="123"/>
                  </a:lnTo>
                  <a:close/>
                  <a:moveTo>
                    <a:pt x="106" y="120"/>
                  </a:moveTo>
                  <a:lnTo>
                    <a:pt x="112" y="120"/>
                  </a:lnTo>
                  <a:lnTo>
                    <a:pt x="113" y="121"/>
                  </a:lnTo>
                  <a:lnTo>
                    <a:pt x="109" y="121"/>
                  </a:lnTo>
                  <a:lnTo>
                    <a:pt x="105" y="123"/>
                  </a:lnTo>
                  <a:lnTo>
                    <a:pt x="106" y="120"/>
                  </a:lnTo>
                  <a:close/>
                  <a:moveTo>
                    <a:pt x="124" y="119"/>
                  </a:moveTo>
                  <a:lnTo>
                    <a:pt x="123" y="119"/>
                  </a:lnTo>
                  <a:lnTo>
                    <a:pt x="120" y="121"/>
                  </a:lnTo>
                  <a:lnTo>
                    <a:pt x="117" y="120"/>
                  </a:lnTo>
                  <a:lnTo>
                    <a:pt x="124" y="119"/>
                  </a:lnTo>
                  <a:close/>
                  <a:moveTo>
                    <a:pt x="325" y="96"/>
                  </a:moveTo>
                  <a:lnTo>
                    <a:pt x="327" y="97"/>
                  </a:lnTo>
                  <a:lnTo>
                    <a:pt x="326" y="101"/>
                  </a:lnTo>
                  <a:lnTo>
                    <a:pt x="323" y="102"/>
                  </a:lnTo>
                  <a:lnTo>
                    <a:pt x="321" y="101"/>
                  </a:lnTo>
                  <a:lnTo>
                    <a:pt x="323" y="97"/>
                  </a:lnTo>
                  <a:lnTo>
                    <a:pt x="325" y="96"/>
                  </a:lnTo>
                  <a:close/>
                  <a:moveTo>
                    <a:pt x="333" y="89"/>
                  </a:moveTo>
                  <a:lnTo>
                    <a:pt x="329" y="93"/>
                  </a:lnTo>
                  <a:lnTo>
                    <a:pt x="330" y="92"/>
                  </a:lnTo>
                  <a:lnTo>
                    <a:pt x="333" y="89"/>
                  </a:lnTo>
                  <a:close/>
                  <a:moveTo>
                    <a:pt x="453" y="85"/>
                  </a:moveTo>
                  <a:lnTo>
                    <a:pt x="452" y="88"/>
                  </a:lnTo>
                  <a:lnTo>
                    <a:pt x="450" y="91"/>
                  </a:lnTo>
                  <a:lnTo>
                    <a:pt x="452" y="93"/>
                  </a:lnTo>
                  <a:lnTo>
                    <a:pt x="455" y="95"/>
                  </a:lnTo>
                  <a:lnTo>
                    <a:pt x="456" y="98"/>
                  </a:lnTo>
                  <a:lnTo>
                    <a:pt x="458" y="99"/>
                  </a:lnTo>
                  <a:lnTo>
                    <a:pt x="458" y="102"/>
                  </a:lnTo>
                  <a:lnTo>
                    <a:pt x="455" y="105"/>
                  </a:lnTo>
                  <a:lnTo>
                    <a:pt x="455" y="106"/>
                  </a:lnTo>
                  <a:lnTo>
                    <a:pt x="458" y="105"/>
                  </a:lnTo>
                  <a:lnTo>
                    <a:pt x="461" y="103"/>
                  </a:lnTo>
                  <a:lnTo>
                    <a:pt x="461" y="100"/>
                  </a:lnTo>
                  <a:lnTo>
                    <a:pt x="459" y="97"/>
                  </a:lnTo>
                  <a:lnTo>
                    <a:pt x="461" y="94"/>
                  </a:lnTo>
                  <a:lnTo>
                    <a:pt x="462" y="98"/>
                  </a:lnTo>
                  <a:lnTo>
                    <a:pt x="467" y="97"/>
                  </a:lnTo>
                  <a:lnTo>
                    <a:pt x="468" y="93"/>
                  </a:lnTo>
                  <a:lnTo>
                    <a:pt x="463" y="89"/>
                  </a:lnTo>
                  <a:lnTo>
                    <a:pt x="461" y="88"/>
                  </a:lnTo>
                  <a:lnTo>
                    <a:pt x="460" y="90"/>
                  </a:lnTo>
                  <a:lnTo>
                    <a:pt x="456" y="94"/>
                  </a:lnTo>
                  <a:lnTo>
                    <a:pt x="457" y="91"/>
                  </a:lnTo>
                  <a:lnTo>
                    <a:pt x="454" y="91"/>
                  </a:lnTo>
                  <a:lnTo>
                    <a:pt x="452" y="92"/>
                  </a:lnTo>
                  <a:lnTo>
                    <a:pt x="453" y="87"/>
                  </a:lnTo>
                  <a:lnTo>
                    <a:pt x="453" y="85"/>
                  </a:lnTo>
                  <a:close/>
                  <a:moveTo>
                    <a:pt x="184" y="50"/>
                  </a:moveTo>
                  <a:lnTo>
                    <a:pt x="188" y="51"/>
                  </a:lnTo>
                  <a:lnTo>
                    <a:pt x="186" y="54"/>
                  </a:lnTo>
                  <a:lnTo>
                    <a:pt x="184" y="56"/>
                  </a:lnTo>
                  <a:lnTo>
                    <a:pt x="182" y="56"/>
                  </a:lnTo>
                  <a:lnTo>
                    <a:pt x="181" y="53"/>
                  </a:lnTo>
                  <a:lnTo>
                    <a:pt x="184" y="50"/>
                  </a:lnTo>
                  <a:close/>
                  <a:moveTo>
                    <a:pt x="305" y="50"/>
                  </a:moveTo>
                  <a:lnTo>
                    <a:pt x="310" y="52"/>
                  </a:lnTo>
                  <a:lnTo>
                    <a:pt x="312" y="55"/>
                  </a:lnTo>
                  <a:lnTo>
                    <a:pt x="316" y="61"/>
                  </a:lnTo>
                  <a:lnTo>
                    <a:pt x="309" y="60"/>
                  </a:lnTo>
                  <a:lnTo>
                    <a:pt x="306" y="61"/>
                  </a:lnTo>
                  <a:lnTo>
                    <a:pt x="304" y="58"/>
                  </a:lnTo>
                  <a:lnTo>
                    <a:pt x="302" y="57"/>
                  </a:lnTo>
                  <a:lnTo>
                    <a:pt x="300" y="52"/>
                  </a:lnTo>
                  <a:lnTo>
                    <a:pt x="305" y="50"/>
                  </a:lnTo>
                  <a:close/>
                  <a:moveTo>
                    <a:pt x="173" y="47"/>
                  </a:moveTo>
                  <a:lnTo>
                    <a:pt x="173" y="51"/>
                  </a:lnTo>
                  <a:lnTo>
                    <a:pt x="172" y="53"/>
                  </a:lnTo>
                  <a:lnTo>
                    <a:pt x="169" y="53"/>
                  </a:lnTo>
                  <a:lnTo>
                    <a:pt x="168" y="50"/>
                  </a:lnTo>
                  <a:lnTo>
                    <a:pt x="173" y="47"/>
                  </a:lnTo>
                  <a:close/>
                  <a:moveTo>
                    <a:pt x="415" y="39"/>
                  </a:moveTo>
                  <a:lnTo>
                    <a:pt x="416" y="42"/>
                  </a:lnTo>
                  <a:lnTo>
                    <a:pt x="414" y="42"/>
                  </a:lnTo>
                  <a:lnTo>
                    <a:pt x="414" y="45"/>
                  </a:lnTo>
                  <a:lnTo>
                    <a:pt x="412" y="48"/>
                  </a:lnTo>
                  <a:lnTo>
                    <a:pt x="412" y="53"/>
                  </a:lnTo>
                  <a:lnTo>
                    <a:pt x="411" y="50"/>
                  </a:lnTo>
                  <a:lnTo>
                    <a:pt x="413" y="43"/>
                  </a:lnTo>
                  <a:lnTo>
                    <a:pt x="413" y="39"/>
                  </a:lnTo>
                  <a:lnTo>
                    <a:pt x="415" y="39"/>
                  </a:lnTo>
                  <a:close/>
                  <a:moveTo>
                    <a:pt x="155" y="32"/>
                  </a:moveTo>
                  <a:lnTo>
                    <a:pt x="155" y="32"/>
                  </a:lnTo>
                  <a:lnTo>
                    <a:pt x="156" y="39"/>
                  </a:lnTo>
                  <a:lnTo>
                    <a:pt x="154" y="39"/>
                  </a:lnTo>
                  <a:lnTo>
                    <a:pt x="152" y="36"/>
                  </a:lnTo>
                  <a:lnTo>
                    <a:pt x="153" y="33"/>
                  </a:lnTo>
                  <a:lnTo>
                    <a:pt x="155" y="32"/>
                  </a:lnTo>
                  <a:close/>
                  <a:moveTo>
                    <a:pt x="428" y="31"/>
                  </a:moveTo>
                  <a:lnTo>
                    <a:pt x="431" y="32"/>
                  </a:lnTo>
                  <a:lnTo>
                    <a:pt x="428" y="34"/>
                  </a:lnTo>
                  <a:lnTo>
                    <a:pt x="428" y="37"/>
                  </a:lnTo>
                  <a:lnTo>
                    <a:pt x="430" y="40"/>
                  </a:lnTo>
                  <a:lnTo>
                    <a:pt x="432" y="42"/>
                  </a:lnTo>
                  <a:lnTo>
                    <a:pt x="439" y="39"/>
                  </a:lnTo>
                  <a:lnTo>
                    <a:pt x="442" y="40"/>
                  </a:lnTo>
                  <a:lnTo>
                    <a:pt x="444" y="45"/>
                  </a:lnTo>
                  <a:lnTo>
                    <a:pt x="440" y="49"/>
                  </a:lnTo>
                  <a:lnTo>
                    <a:pt x="439" y="53"/>
                  </a:lnTo>
                  <a:lnTo>
                    <a:pt x="440" y="56"/>
                  </a:lnTo>
                  <a:lnTo>
                    <a:pt x="444" y="58"/>
                  </a:lnTo>
                  <a:lnTo>
                    <a:pt x="447" y="61"/>
                  </a:lnTo>
                  <a:lnTo>
                    <a:pt x="450" y="63"/>
                  </a:lnTo>
                  <a:lnTo>
                    <a:pt x="448" y="65"/>
                  </a:lnTo>
                  <a:lnTo>
                    <a:pt x="448" y="68"/>
                  </a:lnTo>
                  <a:lnTo>
                    <a:pt x="445" y="67"/>
                  </a:lnTo>
                  <a:lnTo>
                    <a:pt x="447" y="64"/>
                  </a:lnTo>
                  <a:lnTo>
                    <a:pt x="444" y="64"/>
                  </a:lnTo>
                  <a:lnTo>
                    <a:pt x="442" y="65"/>
                  </a:lnTo>
                  <a:lnTo>
                    <a:pt x="444" y="63"/>
                  </a:lnTo>
                  <a:lnTo>
                    <a:pt x="442" y="63"/>
                  </a:lnTo>
                  <a:lnTo>
                    <a:pt x="435" y="63"/>
                  </a:lnTo>
                  <a:lnTo>
                    <a:pt x="432" y="67"/>
                  </a:lnTo>
                  <a:lnTo>
                    <a:pt x="429" y="69"/>
                  </a:lnTo>
                  <a:lnTo>
                    <a:pt x="428" y="72"/>
                  </a:lnTo>
                  <a:lnTo>
                    <a:pt x="431" y="71"/>
                  </a:lnTo>
                  <a:lnTo>
                    <a:pt x="432" y="74"/>
                  </a:lnTo>
                  <a:lnTo>
                    <a:pt x="429" y="74"/>
                  </a:lnTo>
                  <a:lnTo>
                    <a:pt x="425" y="72"/>
                  </a:lnTo>
                  <a:lnTo>
                    <a:pt x="427" y="69"/>
                  </a:lnTo>
                  <a:lnTo>
                    <a:pt x="423" y="72"/>
                  </a:lnTo>
                  <a:lnTo>
                    <a:pt x="420" y="70"/>
                  </a:lnTo>
                  <a:lnTo>
                    <a:pt x="417" y="69"/>
                  </a:lnTo>
                  <a:lnTo>
                    <a:pt x="415" y="65"/>
                  </a:lnTo>
                  <a:lnTo>
                    <a:pt x="416" y="61"/>
                  </a:lnTo>
                  <a:lnTo>
                    <a:pt x="419" y="61"/>
                  </a:lnTo>
                  <a:lnTo>
                    <a:pt x="423" y="60"/>
                  </a:lnTo>
                  <a:lnTo>
                    <a:pt x="421" y="57"/>
                  </a:lnTo>
                  <a:lnTo>
                    <a:pt x="416" y="57"/>
                  </a:lnTo>
                  <a:lnTo>
                    <a:pt x="419" y="54"/>
                  </a:lnTo>
                  <a:lnTo>
                    <a:pt x="422" y="52"/>
                  </a:lnTo>
                  <a:lnTo>
                    <a:pt x="420" y="49"/>
                  </a:lnTo>
                  <a:lnTo>
                    <a:pt x="418" y="49"/>
                  </a:lnTo>
                  <a:lnTo>
                    <a:pt x="416" y="46"/>
                  </a:lnTo>
                  <a:lnTo>
                    <a:pt x="421" y="44"/>
                  </a:lnTo>
                  <a:lnTo>
                    <a:pt x="423" y="46"/>
                  </a:lnTo>
                  <a:lnTo>
                    <a:pt x="425" y="43"/>
                  </a:lnTo>
                  <a:lnTo>
                    <a:pt x="426" y="47"/>
                  </a:lnTo>
                  <a:lnTo>
                    <a:pt x="430" y="48"/>
                  </a:lnTo>
                  <a:lnTo>
                    <a:pt x="432" y="50"/>
                  </a:lnTo>
                  <a:lnTo>
                    <a:pt x="435" y="50"/>
                  </a:lnTo>
                  <a:lnTo>
                    <a:pt x="436" y="47"/>
                  </a:lnTo>
                  <a:lnTo>
                    <a:pt x="434" y="44"/>
                  </a:lnTo>
                  <a:lnTo>
                    <a:pt x="431" y="44"/>
                  </a:lnTo>
                  <a:lnTo>
                    <a:pt x="429" y="42"/>
                  </a:lnTo>
                  <a:lnTo>
                    <a:pt x="427" y="38"/>
                  </a:lnTo>
                  <a:lnTo>
                    <a:pt x="423" y="43"/>
                  </a:lnTo>
                  <a:lnTo>
                    <a:pt x="421" y="40"/>
                  </a:lnTo>
                  <a:lnTo>
                    <a:pt x="423" y="37"/>
                  </a:lnTo>
                  <a:lnTo>
                    <a:pt x="420" y="36"/>
                  </a:lnTo>
                  <a:lnTo>
                    <a:pt x="428" y="31"/>
                  </a:lnTo>
                  <a:close/>
                  <a:moveTo>
                    <a:pt x="163" y="28"/>
                  </a:moveTo>
                  <a:lnTo>
                    <a:pt x="166" y="28"/>
                  </a:lnTo>
                  <a:lnTo>
                    <a:pt x="168" y="31"/>
                  </a:lnTo>
                  <a:lnTo>
                    <a:pt x="167" y="34"/>
                  </a:lnTo>
                  <a:lnTo>
                    <a:pt x="165" y="35"/>
                  </a:lnTo>
                  <a:lnTo>
                    <a:pt x="162" y="34"/>
                  </a:lnTo>
                  <a:lnTo>
                    <a:pt x="157" y="32"/>
                  </a:lnTo>
                  <a:lnTo>
                    <a:pt x="160" y="29"/>
                  </a:lnTo>
                  <a:lnTo>
                    <a:pt x="163" y="28"/>
                  </a:lnTo>
                  <a:close/>
                  <a:moveTo>
                    <a:pt x="180" y="15"/>
                  </a:moveTo>
                  <a:lnTo>
                    <a:pt x="186" y="15"/>
                  </a:lnTo>
                  <a:lnTo>
                    <a:pt x="190" y="17"/>
                  </a:lnTo>
                  <a:lnTo>
                    <a:pt x="201" y="20"/>
                  </a:lnTo>
                  <a:lnTo>
                    <a:pt x="202" y="23"/>
                  </a:lnTo>
                  <a:lnTo>
                    <a:pt x="207" y="25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8" y="22"/>
                  </a:lnTo>
                  <a:lnTo>
                    <a:pt x="220" y="21"/>
                  </a:lnTo>
                  <a:lnTo>
                    <a:pt x="224" y="23"/>
                  </a:lnTo>
                  <a:lnTo>
                    <a:pt x="228" y="23"/>
                  </a:lnTo>
                  <a:lnTo>
                    <a:pt x="230" y="24"/>
                  </a:lnTo>
                  <a:lnTo>
                    <a:pt x="232" y="26"/>
                  </a:lnTo>
                  <a:lnTo>
                    <a:pt x="234" y="29"/>
                  </a:lnTo>
                  <a:lnTo>
                    <a:pt x="238" y="28"/>
                  </a:lnTo>
                  <a:lnTo>
                    <a:pt x="241" y="27"/>
                  </a:lnTo>
                  <a:lnTo>
                    <a:pt x="243" y="32"/>
                  </a:lnTo>
                  <a:lnTo>
                    <a:pt x="244" y="35"/>
                  </a:lnTo>
                  <a:lnTo>
                    <a:pt x="241" y="35"/>
                  </a:lnTo>
                  <a:lnTo>
                    <a:pt x="244" y="36"/>
                  </a:lnTo>
                  <a:lnTo>
                    <a:pt x="247" y="40"/>
                  </a:lnTo>
                  <a:lnTo>
                    <a:pt x="247" y="46"/>
                  </a:lnTo>
                  <a:lnTo>
                    <a:pt x="245" y="49"/>
                  </a:lnTo>
                  <a:lnTo>
                    <a:pt x="242" y="53"/>
                  </a:lnTo>
                  <a:lnTo>
                    <a:pt x="238" y="55"/>
                  </a:lnTo>
                  <a:lnTo>
                    <a:pt x="235" y="55"/>
                  </a:lnTo>
                  <a:lnTo>
                    <a:pt x="238" y="57"/>
                  </a:lnTo>
                  <a:lnTo>
                    <a:pt x="252" y="54"/>
                  </a:lnTo>
                  <a:lnTo>
                    <a:pt x="256" y="57"/>
                  </a:lnTo>
                  <a:lnTo>
                    <a:pt x="255" y="60"/>
                  </a:lnTo>
                  <a:lnTo>
                    <a:pt x="255" y="63"/>
                  </a:lnTo>
                  <a:lnTo>
                    <a:pt x="252" y="65"/>
                  </a:lnTo>
                  <a:lnTo>
                    <a:pt x="253" y="68"/>
                  </a:lnTo>
                  <a:lnTo>
                    <a:pt x="256" y="65"/>
                  </a:lnTo>
                  <a:lnTo>
                    <a:pt x="257" y="62"/>
                  </a:lnTo>
                  <a:lnTo>
                    <a:pt x="259" y="61"/>
                  </a:lnTo>
                  <a:lnTo>
                    <a:pt x="262" y="59"/>
                  </a:lnTo>
                  <a:lnTo>
                    <a:pt x="264" y="59"/>
                  </a:lnTo>
                  <a:lnTo>
                    <a:pt x="269" y="62"/>
                  </a:lnTo>
                  <a:lnTo>
                    <a:pt x="277" y="66"/>
                  </a:lnTo>
                  <a:lnTo>
                    <a:pt x="282" y="70"/>
                  </a:lnTo>
                  <a:lnTo>
                    <a:pt x="284" y="71"/>
                  </a:lnTo>
                  <a:lnTo>
                    <a:pt x="287" y="70"/>
                  </a:lnTo>
                  <a:lnTo>
                    <a:pt x="292" y="66"/>
                  </a:lnTo>
                  <a:lnTo>
                    <a:pt x="295" y="64"/>
                  </a:lnTo>
                  <a:lnTo>
                    <a:pt x="300" y="64"/>
                  </a:lnTo>
                  <a:lnTo>
                    <a:pt x="297" y="64"/>
                  </a:lnTo>
                  <a:lnTo>
                    <a:pt x="301" y="65"/>
                  </a:lnTo>
                  <a:lnTo>
                    <a:pt x="304" y="63"/>
                  </a:lnTo>
                  <a:lnTo>
                    <a:pt x="304" y="66"/>
                  </a:lnTo>
                  <a:lnTo>
                    <a:pt x="303" y="71"/>
                  </a:lnTo>
                  <a:lnTo>
                    <a:pt x="303" y="74"/>
                  </a:lnTo>
                  <a:lnTo>
                    <a:pt x="304" y="78"/>
                  </a:lnTo>
                  <a:lnTo>
                    <a:pt x="303" y="81"/>
                  </a:lnTo>
                  <a:lnTo>
                    <a:pt x="296" y="86"/>
                  </a:lnTo>
                  <a:lnTo>
                    <a:pt x="294" y="89"/>
                  </a:lnTo>
                  <a:lnTo>
                    <a:pt x="291" y="91"/>
                  </a:lnTo>
                  <a:lnTo>
                    <a:pt x="286" y="94"/>
                  </a:lnTo>
                  <a:lnTo>
                    <a:pt x="286" y="97"/>
                  </a:lnTo>
                  <a:lnTo>
                    <a:pt x="290" y="100"/>
                  </a:lnTo>
                  <a:lnTo>
                    <a:pt x="293" y="103"/>
                  </a:lnTo>
                  <a:lnTo>
                    <a:pt x="296" y="102"/>
                  </a:lnTo>
                  <a:lnTo>
                    <a:pt x="298" y="100"/>
                  </a:lnTo>
                  <a:lnTo>
                    <a:pt x="302" y="98"/>
                  </a:lnTo>
                  <a:lnTo>
                    <a:pt x="309" y="97"/>
                  </a:lnTo>
                  <a:lnTo>
                    <a:pt x="310" y="100"/>
                  </a:lnTo>
                  <a:lnTo>
                    <a:pt x="312" y="104"/>
                  </a:lnTo>
                  <a:lnTo>
                    <a:pt x="315" y="104"/>
                  </a:lnTo>
                  <a:lnTo>
                    <a:pt x="317" y="102"/>
                  </a:lnTo>
                  <a:lnTo>
                    <a:pt x="322" y="104"/>
                  </a:lnTo>
                  <a:lnTo>
                    <a:pt x="324" y="107"/>
                  </a:lnTo>
                  <a:lnTo>
                    <a:pt x="326" y="103"/>
                  </a:lnTo>
                  <a:lnTo>
                    <a:pt x="327" y="100"/>
                  </a:lnTo>
                  <a:lnTo>
                    <a:pt x="329" y="97"/>
                  </a:lnTo>
                  <a:lnTo>
                    <a:pt x="331" y="95"/>
                  </a:lnTo>
                  <a:lnTo>
                    <a:pt x="333" y="92"/>
                  </a:lnTo>
                  <a:lnTo>
                    <a:pt x="334" y="89"/>
                  </a:lnTo>
                  <a:lnTo>
                    <a:pt x="336" y="85"/>
                  </a:lnTo>
                  <a:lnTo>
                    <a:pt x="339" y="84"/>
                  </a:lnTo>
                  <a:lnTo>
                    <a:pt x="344" y="85"/>
                  </a:lnTo>
                  <a:lnTo>
                    <a:pt x="357" y="81"/>
                  </a:lnTo>
                  <a:lnTo>
                    <a:pt x="359" y="83"/>
                  </a:lnTo>
                  <a:lnTo>
                    <a:pt x="359" y="87"/>
                  </a:lnTo>
                  <a:lnTo>
                    <a:pt x="359" y="84"/>
                  </a:lnTo>
                  <a:lnTo>
                    <a:pt x="362" y="79"/>
                  </a:lnTo>
                  <a:lnTo>
                    <a:pt x="364" y="75"/>
                  </a:lnTo>
                  <a:lnTo>
                    <a:pt x="369" y="72"/>
                  </a:lnTo>
                  <a:lnTo>
                    <a:pt x="374" y="66"/>
                  </a:lnTo>
                  <a:lnTo>
                    <a:pt x="377" y="61"/>
                  </a:lnTo>
                  <a:lnTo>
                    <a:pt x="379" y="56"/>
                  </a:lnTo>
                  <a:lnTo>
                    <a:pt x="381" y="53"/>
                  </a:lnTo>
                  <a:lnTo>
                    <a:pt x="385" y="55"/>
                  </a:lnTo>
                  <a:lnTo>
                    <a:pt x="398" y="55"/>
                  </a:lnTo>
                  <a:lnTo>
                    <a:pt x="403" y="55"/>
                  </a:lnTo>
                  <a:lnTo>
                    <a:pt x="401" y="58"/>
                  </a:lnTo>
                  <a:lnTo>
                    <a:pt x="395" y="58"/>
                  </a:lnTo>
                  <a:lnTo>
                    <a:pt x="393" y="57"/>
                  </a:lnTo>
                  <a:lnTo>
                    <a:pt x="390" y="58"/>
                  </a:lnTo>
                  <a:lnTo>
                    <a:pt x="387" y="58"/>
                  </a:lnTo>
                  <a:lnTo>
                    <a:pt x="382" y="62"/>
                  </a:lnTo>
                  <a:lnTo>
                    <a:pt x="380" y="61"/>
                  </a:lnTo>
                  <a:lnTo>
                    <a:pt x="376" y="64"/>
                  </a:lnTo>
                  <a:lnTo>
                    <a:pt x="375" y="68"/>
                  </a:lnTo>
                  <a:lnTo>
                    <a:pt x="374" y="71"/>
                  </a:lnTo>
                  <a:lnTo>
                    <a:pt x="376" y="74"/>
                  </a:lnTo>
                  <a:lnTo>
                    <a:pt x="378" y="74"/>
                  </a:lnTo>
                  <a:lnTo>
                    <a:pt x="376" y="73"/>
                  </a:lnTo>
                  <a:lnTo>
                    <a:pt x="378" y="69"/>
                  </a:lnTo>
                  <a:lnTo>
                    <a:pt x="380" y="66"/>
                  </a:lnTo>
                  <a:lnTo>
                    <a:pt x="384" y="64"/>
                  </a:lnTo>
                  <a:lnTo>
                    <a:pt x="387" y="63"/>
                  </a:lnTo>
                  <a:lnTo>
                    <a:pt x="390" y="61"/>
                  </a:lnTo>
                  <a:lnTo>
                    <a:pt x="393" y="62"/>
                  </a:lnTo>
                  <a:lnTo>
                    <a:pt x="396" y="62"/>
                  </a:lnTo>
                  <a:lnTo>
                    <a:pt x="398" y="64"/>
                  </a:lnTo>
                  <a:lnTo>
                    <a:pt x="403" y="61"/>
                  </a:lnTo>
                  <a:lnTo>
                    <a:pt x="406" y="57"/>
                  </a:lnTo>
                  <a:lnTo>
                    <a:pt x="410" y="59"/>
                  </a:lnTo>
                  <a:lnTo>
                    <a:pt x="413" y="61"/>
                  </a:lnTo>
                  <a:lnTo>
                    <a:pt x="413" y="65"/>
                  </a:lnTo>
                  <a:lnTo>
                    <a:pt x="415" y="68"/>
                  </a:lnTo>
                  <a:lnTo>
                    <a:pt x="418" y="70"/>
                  </a:lnTo>
                  <a:lnTo>
                    <a:pt x="421" y="73"/>
                  </a:lnTo>
                  <a:lnTo>
                    <a:pt x="424" y="74"/>
                  </a:lnTo>
                  <a:lnTo>
                    <a:pt x="426" y="78"/>
                  </a:lnTo>
                  <a:lnTo>
                    <a:pt x="430" y="79"/>
                  </a:lnTo>
                  <a:lnTo>
                    <a:pt x="430" y="82"/>
                  </a:lnTo>
                  <a:lnTo>
                    <a:pt x="433" y="84"/>
                  </a:lnTo>
                  <a:lnTo>
                    <a:pt x="435" y="87"/>
                  </a:lnTo>
                  <a:lnTo>
                    <a:pt x="435" y="84"/>
                  </a:lnTo>
                  <a:lnTo>
                    <a:pt x="442" y="82"/>
                  </a:lnTo>
                  <a:lnTo>
                    <a:pt x="446" y="79"/>
                  </a:lnTo>
                  <a:lnTo>
                    <a:pt x="448" y="81"/>
                  </a:lnTo>
                  <a:lnTo>
                    <a:pt x="453" y="84"/>
                  </a:lnTo>
                  <a:lnTo>
                    <a:pt x="453" y="83"/>
                  </a:lnTo>
                  <a:lnTo>
                    <a:pt x="450" y="81"/>
                  </a:lnTo>
                  <a:lnTo>
                    <a:pt x="451" y="78"/>
                  </a:lnTo>
                  <a:lnTo>
                    <a:pt x="455" y="82"/>
                  </a:lnTo>
                  <a:lnTo>
                    <a:pt x="457" y="84"/>
                  </a:lnTo>
                  <a:lnTo>
                    <a:pt x="461" y="86"/>
                  </a:lnTo>
                  <a:lnTo>
                    <a:pt x="462" y="87"/>
                  </a:lnTo>
                  <a:lnTo>
                    <a:pt x="476" y="98"/>
                  </a:lnTo>
                  <a:lnTo>
                    <a:pt x="476" y="101"/>
                  </a:lnTo>
                  <a:lnTo>
                    <a:pt x="476" y="104"/>
                  </a:lnTo>
                  <a:lnTo>
                    <a:pt x="470" y="105"/>
                  </a:lnTo>
                  <a:lnTo>
                    <a:pt x="468" y="104"/>
                  </a:lnTo>
                  <a:lnTo>
                    <a:pt x="465" y="107"/>
                  </a:lnTo>
                  <a:lnTo>
                    <a:pt x="461" y="108"/>
                  </a:lnTo>
                  <a:lnTo>
                    <a:pt x="458" y="108"/>
                  </a:lnTo>
                  <a:lnTo>
                    <a:pt x="455" y="107"/>
                  </a:lnTo>
                  <a:lnTo>
                    <a:pt x="456" y="108"/>
                  </a:lnTo>
                  <a:lnTo>
                    <a:pt x="458" y="112"/>
                  </a:lnTo>
                  <a:lnTo>
                    <a:pt x="465" y="115"/>
                  </a:lnTo>
                  <a:lnTo>
                    <a:pt x="468" y="117"/>
                  </a:lnTo>
                  <a:lnTo>
                    <a:pt x="471" y="118"/>
                  </a:lnTo>
                  <a:lnTo>
                    <a:pt x="476" y="118"/>
                  </a:lnTo>
                  <a:lnTo>
                    <a:pt x="481" y="117"/>
                  </a:lnTo>
                  <a:lnTo>
                    <a:pt x="483" y="118"/>
                  </a:lnTo>
                  <a:lnTo>
                    <a:pt x="481" y="121"/>
                  </a:lnTo>
                  <a:lnTo>
                    <a:pt x="481" y="124"/>
                  </a:lnTo>
                  <a:lnTo>
                    <a:pt x="482" y="127"/>
                  </a:lnTo>
                  <a:lnTo>
                    <a:pt x="483" y="131"/>
                  </a:lnTo>
                  <a:lnTo>
                    <a:pt x="484" y="137"/>
                  </a:lnTo>
                  <a:lnTo>
                    <a:pt x="486" y="141"/>
                  </a:lnTo>
                  <a:lnTo>
                    <a:pt x="488" y="149"/>
                  </a:lnTo>
                  <a:lnTo>
                    <a:pt x="490" y="156"/>
                  </a:lnTo>
                  <a:lnTo>
                    <a:pt x="491" y="160"/>
                  </a:lnTo>
                  <a:lnTo>
                    <a:pt x="493" y="162"/>
                  </a:lnTo>
                  <a:lnTo>
                    <a:pt x="492" y="165"/>
                  </a:lnTo>
                  <a:lnTo>
                    <a:pt x="490" y="168"/>
                  </a:lnTo>
                  <a:lnTo>
                    <a:pt x="490" y="170"/>
                  </a:lnTo>
                  <a:lnTo>
                    <a:pt x="491" y="173"/>
                  </a:lnTo>
                  <a:lnTo>
                    <a:pt x="489" y="179"/>
                  </a:lnTo>
                  <a:lnTo>
                    <a:pt x="487" y="184"/>
                  </a:lnTo>
                  <a:lnTo>
                    <a:pt x="484" y="187"/>
                  </a:lnTo>
                  <a:lnTo>
                    <a:pt x="481" y="189"/>
                  </a:lnTo>
                  <a:lnTo>
                    <a:pt x="478" y="191"/>
                  </a:lnTo>
                  <a:lnTo>
                    <a:pt x="479" y="195"/>
                  </a:lnTo>
                  <a:lnTo>
                    <a:pt x="480" y="198"/>
                  </a:lnTo>
                  <a:lnTo>
                    <a:pt x="478" y="202"/>
                  </a:lnTo>
                  <a:lnTo>
                    <a:pt x="481" y="203"/>
                  </a:lnTo>
                  <a:lnTo>
                    <a:pt x="483" y="203"/>
                  </a:lnTo>
                  <a:lnTo>
                    <a:pt x="486" y="206"/>
                  </a:lnTo>
                  <a:lnTo>
                    <a:pt x="494" y="211"/>
                  </a:lnTo>
                  <a:lnTo>
                    <a:pt x="496" y="215"/>
                  </a:lnTo>
                  <a:lnTo>
                    <a:pt x="499" y="218"/>
                  </a:lnTo>
                  <a:lnTo>
                    <a:pt x="503" y="219"/>
                  </a:lnTo>
                  <a:lnTo>
                    <a:pt x="506" y="223"/>
                  </a:lnTo>
                  <a:lnTo>
                    <a:pt x="507" y="228"/>
                  </a:lnTo>
                  <a:lnTo>
                    <a:pt x="508" y="231"/>
                  </a:lnTo>
                  <a:lnTo>
                    <a:pt x="507" y="234"/>
                  </a:lnTo>
                  <a:lnTo>
                    <a:pt x="503" y="239"/>
                  </a:lnTo>
                  <a:lnTo>
                    <a:pt x="504" y="242"/>
                  </a:lnTo>
                  <a:lnTo>
                    <a:pt x="505" y="247"/>
                  </a:lnTo>
                  <a:lnTo>
                    <a:pt x="507" y="250"/>
                  </a:lnTo>
                  <a:lnTo>
                    <a:pt x="508" y="253"/>
                  </a:lnTo>
                  <a:lnTo>
                    <a:pt x="511" y="254"/>
                  </a:lnTo>
                  <a:lnTo>
                    <a:pt x="514" y="256"/>
                  </a:lnTo>
                  <a:lnTo>
                    <a:pt x="514" y="261"/>
                  </a:lnTo>
                  <a:lnTo>
                    <a:pt x="514" y="263"/>
                  </a:lnTo>
                  <a:lnTo>
                    <a:pt x="513" y="267"/>
                  </a:lnTo>
                  <a:lnTo>
                    <a:pt x="518" y="271"/>
                  </a:lnTo>
                  <a:lnTo>
                    <a:pt x="516" y="274"/>
                  </a:lnTo>
                  <a:lnTo>
                    <a:pt x="515" y="278"/>
                  </a:lnTo>
                  <a:lnTo>
                    <a:pt x="515" y="284"/>
                  </a:lnTo>
                  <a:lnTo>
                    <a:pt x="514" y="288"/>
                  </a:lnTo>
                  <a:lnTo>
                    <a:pt x="510" y="293"/>
                  </a:lnTo>
                  <a:lnTo>
                    <a:pt x="509" y="296"/>
                  </a:lnTo>
                  <a:lnTo>
                    <a:pt x="512" y="299"/>
                  </a:lnTo>
                  <a:lnTo>
                    <a:pt x="514" y="304"/>
                  </a:lnTo>
                  <a:lnTo>
                    <a:pt x="518" y="308"/>
                  </a:lnTo>
                  <a:lnTo>
                    <a:pt x="519" y="312"/>
                  </a:lnTo>
                  <a:lnTo>
                    <a:pt x="519" y="317"/>
                  </a:lnTo>
                  <a:lnTo>
                    <a:pt x="518" y="320"/>
                  </a:lnTo>
                  <a:lnTo>
                    <a:pt x="519" y="323"/>
                  </a:lnTo>
                  <a:lnTo>
                    <a:pt x="523" y="324"/>
                  </a:lnTo>
                  <a:lnTo>
                    <a:pt x="526" y="326"/>
                  </a:lnTo>
                  <a:lnTo>
                    <a:pt x="529" y="326"/>
                  </a:lnTo>
                  <a:lnTo>
                    <a:pt x="531" y="328"/>
                  </a:lnTo>
                  <a:lnTo>
                    <a:pt x="532" y="331"/>
                  </a:lnTo>
                  <a:lnTo>
                    <a:pt x="533" y="337"/>
                  </a:lnTo>
                  <a:lnTo>
                    <a:pt x="535" y="341"/>
                  </a:lnTo>
                  <a:lnTo>
                    <a:pt x="538" y="345"/>
                  </a:lnTo>
                  <a:lnTo>
                    <a:pt x="538" y="347"/>
                  </a:lnTo>
                  <a:lnTo>
                    <a:pt x="536" y="352"/>
                  </a:lnTo>
                  <a:lnTo>
                    <a:pt x="536" y="357"/>
                  </a:lnTo>
                  <a:lnTo>
                    <a:pt x="535" y="360"/>
                  </a:lnTo>
                  <a:lnTo>
                    <a:pt x="535" y="363"/>
                  </a:lnTo>
                  <a:lnTo>
                    <a:pt x="533" y="371"/>
                  </a:lnTo>
                  <a:lnTo>
                    <a:pt x="529" y="380"/>
                  </a:lnTo>
                  <a:lnTo>
                    <a:pt x="528" y="384"/>
                  </a:lnTo>
                  <a:lnTo>
                    <a:pt x="526" y="389"/>
                  </a:lnTo>
                  <a:lnTo>
                    <a:pt x="524" y="389"/>
                  </a:lnTo>
                  <a:lnTo>
                    <a:pt x="522" y="389"/>
                  </a:lnTo>
                  <a:lnTo>
                    <a:pt x="519" y="387"/>
                  </a:lnTo>
                  <a:lnTo>
                    <a:pt x="517" y="386"/>
                  </a:lnTo>
                  <a:lnTo>
                    <a:pt x="517" y="381"/>
                  </a:lnTo>
                  <a:lnTo>
                    <a:pt x="513" y="380"/>
                  </a:lnTo>
                  <a:lnTo>
                    <a:pt x="513" y="377"/>
                  </a:lnTo>
                  <a:lnTo>
                    <a:pt x="514" y="374"/>
                  </a:lnTo>
                  <a:lnTo>
                    <a:pt x="510" y="371"/>
                  </a:lnTo>
                  <a:lnTo>
                    <a:pt x="505" y="370"/>
                  </a:lnTo>
                  <a:lnTo>
                    <a:pt x="502" y="371"/>
                  </a:lnTo>
                  <a:lnTo>
                    <a:pt x="498" y="368"/>
                  </a:lnTo>
                  <a:lnTo>
                    <a:pt x="495" y="370"/>
                  </a:lnTo>
                  <a:lnTo>
                    <a:pt x="495" y="373"/>
                  </a:lnTo>
                  <a:lnTo>
                    <a:pt x="498" y="375"/>
                  </a:lnTo>
                  <a:lnTo>
                    <a:pt x="499" y="378"/>
                  </a:lnTo>
                  <a:lnTo>
                    <a:pt x="501" y="378"/>
                  </a:lnTo>
                  <a:lnTo>
                    <a:pt x="502" y="383"/>
                  </a:lnTo>
                  <a:lnTo>
                    <a:pt x="496" y="384"/>
                  </a:lnTo>
                  <a:lnTo>
                    <a:pt x="492" y="388"/>
                  </a:lnTo>
                  <a:lnTo>
                    <a:pt x="483" y="392"/>
                  </a:lnTo>
                  <a:lnTo>
                    <a:pt x="480" y="392"/>
                  </a:lnTo>
                  <a:lnTo>
                    <a:pt x="477" y="394"/>
                  </a:lnTo>
                  <a:lnTo>
                    <a:pt x="475" y="395"/>
                  </a:lnTo>
                  <a:lnTo>
                    <a:pt x="475" y="398"/>
                  </a:lnTo>
                  <a:lnTo>
                    <a:pt x="472" y="400"/>
                  </a:lnTo>
                  <a:lnTo>
                    <a:pt x="468" y="400"/>
                  </a:lnTo>
                  <a:lnTo>
                    <a:pt x="465" y="401"/>
                  </a:lnTo>
                  <a:lnTo>
                    <a:pt x="457" y="402"/>
                  </a:lnTo>
                  <a:lnTo>
                    <a:pt x="455" y="403"/>
                  </a:lnTo>
                  <a:lnTo>
                    <a:pt x="452" y="404"/>
                  </a:lnTo>
                  <a:lnTo>
                    <a:pt x="453" y="407"/>
                  </a:lnTo>
                  <a:lnTo>
                    <a:pt x="452" y="410"/>
                  </a:lnTo>
                  <a:lnTo>
                    <a:pt x="449" y="413"/>
                  </a:lnTo>
                  <a:lnTo>
                    <a:pt x="446" y="413"/>
                  </a:lnTo>
                  <a:lnTo>
                    <a:pt x="444" y="410"/>
                  </a:lnTo>
                  <a:lnTo>
                    <a:pt x="441" y="413"/>
                  </a:lnTo>
                  <a:lnTo>
                    <a:pt x="439" y="416"/>
                  </a:lnTo>
                  <a:lnTo>
                    <a:pt x="436" y="415"/>
                  </a:lnTo>
                  <a:lnTo>
                    <a:pt x="435" y="420"/>
                  </a:lnTo>
                  <a:lnTo>
                    <a:pt x="432" y="423"/>
                  </a:lnTo>
                  <a:lnTo>
                    <a:pt x="429" y="423"/>
                  </a:lnTo>
                  <a:lnTo>
                    <a:pt x="427" y="424"/>
                  </a:lnTo>
                  <a:lnTo>
                    <a:pt x="425" y="423"/>
                  </a:lnTo>
                  <a:lnTo>
                    <a:pt x="423" y="427"/>
                  </a:lnTo>
                  <a:lnTo>
                    <a:pt x="422" y="430"/>
                  </a:lnTo>
                  <a:lnTo>
                    <a:pt x="419" y="432"/>
                  </a:lnTo>
                  <a:lnTo>
                    <a:pt x="413" y="429"/>
                  </a:lnTo>
                  <a:lnTo>
                    <a:pt x="411" y="429"/>
                  </a:lnTo>
                  <a:lnTo>
                    <a:pt x="408" y="430"/>
                  </a:lnTo>
                  <a:lnTo>
                    <a:pt x="406" y="433"/>
                  </a:lnTo>
                  <a:lnTo>
                    <a:pt x="401" y="433"/>
                  </a:lnTo>
                  <a:lnTo>
                    <a:pt x="397" y="433"/>
                  </a:lnTo>
                  <a:lnTo>
                    <a:pt x="395" y="434"/>
                  </a:lnTo>
                  <a:lnTo>
                    <a:pt x="392" y="437"/>
                  </a:lnTo>
                  <a:lnTo>
                    <a:pt x="390" y="440"/>
                  </a:lnTo>
                  <a:lnTo>
                    <a:pt x="387" y="441"/>
                  </a:lnTo>
                  <a:lnTo>
                    <a:pt x="385" y="445"/>
                  </a:lnTo>
                  <a:lnTo>
                    <a:pt x="384" y="448"/>
                  </a:lnTo>
                  <a:lnTo>
                    <a:pt x="382" y="453"/>
                  </a:lnTo>
                  <a:lnTo>
                    <a:pt x="383" y="456"/>
                  </a:lnTo>
                  <a:lnTo>
                    <a:pt x="380" y="456"/>
                  </a:lnTo>
                  <a:lnTo>
                    <a:pt x="379" y="453"/>
                  </a:lnTo>
                  <a:lnTo>
                    <a:pt x="377" y="449"/>
                  </a:lnTo>
                  <a:lnTo>
                    <a:pt x="375" y="446"/>
                  </a:lnTo>
                  <a:lnTo>
                    <a:pt x="374" y="444"/>
                  </a:lnTo>
                  <a:lnTo>
                    <a:pt x="370" y="444"/>
                  </a:lnTo>
                  <a:lnTo>
                    <a:pt x="370" y="445"/>
                  </a:lnTo>
                  <a:lnTo>
                    <a:pt x="369" y="448"/>
                  </a:lnTo>
                  <a:lnTo>
                    <a:pt x="372" y="452"/>
                  </a:lnTo>
                  <a:lnTo>
                    <a:pt x="374" y="455"/>
                  </a:lnTo>
                  <a:lnTo>
                    <a:pt x="375" y="459"/>
                  </a:lnTo>
                  <a:lnTo>
                    <a:pt x="375" y="462"/>
                  </a:lnTo>
                  <a:lnTo>
                    <a:pt x="378" y="464"/>
                  </a:lnTo>
                  <a:lnTo>
                    <a:pt x="379" y="467"/>
                  </a:lnTo>
                  <a:lnTo>
                    <a:pt x="388" y="472"/>
                  </a:lnTo>
                  <a:lnTo>
                    <a:pt x="392" y="473"/>
                  </a:lnTo>
                  <a:lnTo>
                    <a:pt x="393" y="476"/>
                  </a:lnTo>
                  <a:lnTo>
                    <a:pt x="396" y="479"/>
                  </a:lnTo>
                  <a:lnTo>
                    <a:pt x="397" y="482"/>
                  </a:lnTo>
                  <a:lnTo>
                    <a:pt x="395" y="486"/>
                  </a:lnTo>
                  <a:lnTo>
                    <a:pt x="393" y="490"/>
                  </a:lnTo>
                  <a:lnTo>
                    <a:pt x="389" y="494"/>
                  </a:lnTo>
                  <a:lnTo>
                    <a:pt x="389" y="497"/>
                  </a:lnTo>
                  <a:lnTo>
                    <a:pt x="393" y="500"/>
                  </a:lnTo>
                  <a:lnTo>
                    <a:pt x="396" y="501"/>
                  </a:lnTo>
                  <a:lnTo>
                    <a:pt x="396" y="505"/>
                  </a:lnTo>
                  <a:lnTo>
                    <a:pt x="399" y="507"/>
                  </a:lnTo>
                  <a:lnTo>
                    <a:pt x="400" y="511"/>
                  </a:lnTo>
                  <a:lnTo>
                    <a:pt x="401" y="514"/>
                  </a:lnTo>
                  <a:lnTo>
                    <a:pt x="404" y="515"/>
                  </a:lnTo>
                  <a:lnTo>
                    <a:pt x="404" y="521"/>
                  </a:lnTo>
                  <a:lnTo>
                    <a:pt x="406" y="524"/>
                  </a:lnTo>
                  <a:lnTo>
                    <a:pt x="410" y="526"/>
                  </a:lnTo>
                  <a:lnTo>
                    <a:pt x="413" y="532"/>
                  </a:lnTo>
                  <a:lnTo>
                    <a:pt x="415" y="533"/>
                  </a:lnTo>
                  <a:lnTo>
                    <a:pt x="419" y="534"/>
                  </a:lnTo>
                  <a:lnTo>
                    <a:pt x="423" y="532"/>
                  </a:lnTo>
                  <a:lnTo>
                    <a:pt x="426" y="535"/>
                  </a:lnTo>
                  <a:lnTo>
                    <a:pt x="428" y="538"/>
                  </a:lnTo>
                  <a:lnTo>
                    <a:pt x="431" y="541"/>
                  </a:lnTo>
                  <a:lnTo>
                    <a:pt x="437" y="548"/>
                  </a:lnTo>
                  <a:lnTo>
                    <a:pt x="439" y="551"/>
                  </a:lnTo>
                  <a:lnTo>
                    <a:pt x="444" y="552"/>
                  </a:lnTo>
                  <a:lnTo>
                    <a:pt x="448" y="556"/>
                  </a:lnTo>
                  <a:lnTo>
                    <a:pt x="451" y="558"/>
                  </a:lnTo>
                  <a:lnTo>
                    <a:pt x="452" y="562"/>
                  </a:lnTo>
                  <a:lnTo>
                    <a:pt x="455" y="565"/>
                  </a:lnTo>
                  <a:lnTo>
                    <a:pt x="458" y="567"/>
                  </a:lnTo>
                  <a:lnTo>
                    <a:pt x="459" y="565"/>
                  </a:lnTo>
                  <a:lnTo>
                    <a:pt x="461" y="564"/>
                  </a:lnTo>
                  <a:lnTo>
                    <a:pt x="465" y="566"/>
                  </a:lnTo>
                  <a:lnTo>
                    <a:pt x="468" y="569"/>
                  </a:lnTo>
                  <a:lnTo>
                    <a:pt x="471" y="572"/>
                  </a:lnTo>
                  <a:lnTo>
                    <a:pt x="473" y="573"/>
                  </a:lnTo>
                  <a:lnTo>
                    <a:pt x="475" y="575"/>
                  </a:lnTo>
                  <a:lnTo>
                    <a:pt x="479" y="581"/>
                  </a:lnTo>
                  <a:lnTo>
                    <a:pt x="478" y="586"/>
                  </a:lnTo>
                  <a:lnTo>
                    <a:pt x="480" y="589"/>
                  </a:lnTo>
                  <a:lnTo>
                    <a:pt x="480" y="594"/>
                  </a:lnTo>
                  <a:lnTo>
                    <a:pt x="480" y="597"/>
                  </a:lnTo>
                  <a:lnTo>
                    <a:pt x="479" y="601"/>
                  </a:lnTo>
                  <a:lnTo>
                    <a:pt x="476" y="602"/>
                  </a:lnTo>
                  <a:lnTo>
                    <a:pt x="475" y="606"/>
                  </a:lnTo>
                  <a:lnTo>
                    <a:pt x="472" y="605"/>
                  </a:lnTo>
                  <a:lnTo>
                    <a:pt x="469" y="602"/>
                  </a:lnTo>
                  <a:lnTo>
                    <a:pt x="462" y="601"/>
                  </a:lnTo>
                  <a:lnTo>
                    <a:pt x="458" y="602"/>
                  </a:lnTo>
                  <a:lnTo>
                    <a:pt x="458" y="605"/>
                  </a:lnTo>
                  <a:lnTo>
                    <a:pt x="458" y="608"/>
                  </a:lnTo>
                  <a:lnTo>
                    <a:pt x="457" y="611"/>
                  </a:lnTo>
                  <a:lnTo>
                    <a:pt x="457" y="614"/>
                  </a:lnTo>
                  <a:lnTo>
                    <a:pt x="456" y="619"/>
                  </a:lnTo>
                  <a:lnTo>
                    <a:pt x="450" y="626"/>
                  </a:lnTo>
                  <a:lnTo>
                    <a:pt x="439" y="629"/>
                  </a:lnTo>
                  <a:lnTo>
                    <a:pt x="433" y="631"/>
                  </a:lnTo>
                  <a:lnTo>
                    <a:pt x="430" y="634"/>
                  </a:lnTo>
                  <a:lnTo>
                    <a:pt x="427" y="636"/>
                  </a:lnTo>
                  <a:lnTo>
                    <a:pt x="424" y="637"/>
                  </a:lnTo>
                  <a:lnTo>
                    <a:pt x="421" y="640"/>
                  </a:lnTo>
                  <a:lnTo>
                    <a:pt x="418" y="643"/>
                  </a:lnTo>
                  <a:lnTo>
                    <a:pt x="416" y="645"/>
                  </a:lnTo>
                  <a:lnTo>
                    <a:pt x="416" y="648"/>
                  </a:lnTo>
                  <a:lnTo>
                    <a:pt x="422" y="655"/>
                  </a:lnTo>
                  <a:lnTo>
                    <a:pt x="423" y="659"/>
                  </a:lnTo>
                  <a:lnTo>
                    <a:pt x="425" y="661"/>
                  </a:lnTo>
                  <a:lnTo>
                    <a:pt x="428" y="664"/>
                  </a:lnTo>
                  <a:lnTo>
                    <a:pt x="430" y="669"/>
                  </a:lnTo>
                  <a:lnTo>
                    <a:pt x="428" y="677"/>
                  </a:lnTo>
                  <a:lnTo>
                    <a:pt x="428" y="680"/>
                  </a:lnTo>
                  <a:lnTo>
                    <a:pt x="428" y="683"/>
                  </a:lnTo>
                  <a:lnTo>
                    <a:pt x="431" y="684"/>
                  </a:lnTo>
                  <a:lnTo>
                    <a:pt x="433" y="683"/>
                  </a:lnTo>
                  <a:lnTo>
                    <a:pt x="436" y="684"/>
                  </a:lnTo>
                  <a:lnTo>
                    <a:pt x="438" y="688"/>
                  </a:lnTo>
                  <a:lnTo>
                    <a:pt x="438" y="691"/>
                  </a:lnTo>
                  <a:lnTo>
                    <a:pt x="436" y="695"/>
                  </a:lnTo>
                  <a:lnTo>
                    <a:pt x="436" y="698"/>
                  </a:lnTo>
                  <a:lnTo>
                    <a:pt x="436" y="701"/>
                  </a:lnTo>
                  <a:lnTo>
                    <a:pt x="435" y="705"/>
                  </a:lnTo>
                  <a:lnTo>
                    <a:pt x="432" y="705"/>
                  </a:lnTo>
                  <a:lnTo>
                    <a:pt x="430" y="705"/>
                  </a:lnTo>
                  <a:lnTo>
                    <a:pt x="427" y="703"/>
                  </a:lnTo>
                  <a:lnTo>
                    <a:pt x="424" y="700"/>
                  </a:lnTo>
                  <a:lnTo>
                    <a:pt x="420" y="698"/>
                  </a:lnTo>
                  <a:lnTo>
                    <a:pt x="420" y="694"/>
                  </a:lnTo>
                  <a:lnTo>
                    <a:pt x="419" y="691"/>
                  </a:lnTo>
                  <a:lnTo>
                    <a:pt x="419" y="688"/>
                  </a:lnTo>
                  <a:lnTo>
                    <a:pt x="414" y="687"/>
                  </a:lnTo>
                  <a:lnTo>
                    <a:pt x="412" y="687"/>
                  </a:lnTo>
                  <a:lnTo>
                    <a:pt x="410" y="688"/>
                  </a:lnTo>
                  <a:lnTo>
                    <a:pt x="406" y="691"/>
                  </a:lnTo>
                  <a:lnTo>
                    <a:pt x="403" y="692"/>
                  </a:lnTo>
                  <a:lnTo>
                    <a:pt x="399" y="690"/>
                  </a:lnTo>
                  <a:lnTo>
                    <a:pt x="398" y="687"/>
                  </a:lnTo>
                  <a:lnTo>
                    <a:pt x="394" y="687"/>
                  </a:lnTo>
                  <a:lnTo>
                    <a:pt x="388" y="687"/>
                  </a:lnTo>
                  <a:lnTo>
                    <a:pt x="386" y="688"/>
                  </a:lnTo>
                  <a:lnTo>
                    <a:pt x="385" y="685"/>
                  </a:lnTo>
                  <a:lnTo>
                    <a:pt x="382" y="685"/>
                  </a:lnTo>
                  <a:lnTo>
                    <a:pt x="382" y="688"/>
                  </a:lnTo>
                  <a:lnTo>
                    <a:pt x="383" y="691"/>
                  </a:lnTo>
                  <a:lnTo>
                    <a:pt x="381" y="695"/>
                  </a:lnTo>
                  <a:lnTo>
                    <a:pt x="366" y="695"/>
                  </a:lnTo>
                  <a:lnTo>
                    <a:pt x="361" y="696"/>
                  </a:lnTo>
                  <a:lnTo>
                    <a:pt x="356" y="697"/>
                  </a:lnTo>
                  <a:lnTo>
                    <a:pt x="351" y="698"/>
                  </a:lnTo>
                  <a:lnTo>
                    <a:pt x="348" y="697"/>
                  </a:lnTo>
                  <a:lnTo>
                    <a:pt x="345" y="699"/>
                  </a:lnTo>
                  <a:lnTo>
                    <a:pt x="344" y="702"/>
                  </a:lnTo>
                  <a:lnTo>
                    <a:pt x="341" y="705"/>
                  </a:lnTo>
                  <a:lnTo>
                    <a:pt x="338" y="705"/>
                  </a:lnTo>
                  <a:lnTo>
                    <a:pt x="335" y="705"/>
                  </a:lnTo>
                  <a:lnTo>
                    <a:pt x="331" y="708"/>
                  </a:lnTo>
                  <a:lnTo>
                    <a:pt x="331" y="711"/>
                  </a:lnTo>
                  <a:lnTo>
                    <a:pt x="329" y="711"/>
                  </a:lnTo>
                  <a:lnTo>
                    <a:pt x="326" y="713"/>
                  </a:lnTo>
                  <a:lnTo>
                    <a:pt x="323" y="715"/>
                  </a:lnTo>
                  <a:lnTo>
                    <a:pt x="322" y="713"/>
                  </a:lnTo>
                  <a:lnTo>
                    <a:pt x="318" y="713"/>
                  </a:lnTo>
                  <a:lnTo>
                    <a:pt x="314" y="716"/>
                  </a:lnTo>
                  <a:lnTo>
                    <a:pt x="306" y="716"/>
                  </a:lnTo>
                  <a:lnTo>
                    <a:pt x="305" y="713"/>
                  </a:lnTo>
                  <a:lnTo>
                    <a:pt x="302" y="709"/>
                  </a:lnTo>
                  <a:lnTo>
                    <a:pt x="298" y="707"/>
                  </a:lnTo>
                  <a:lnTo>
                    <a:pt x="301" y="705"/>
                  </a:lnTo>
                  <a:lnTo>
                    <a:pt x="298" y="703"/>
                  </a:lnTo>
                  <a:lnTo>
                    <a:pt x="294" y="705"/>
                  </a:lnTo>
                  <a:lnTo>
                    <a:pt x="292" y="705"/>
                  </a:lnTo>
                  <a:lnTo>
                    <a:pt x="283" y="701"/>
                  </a:lnTo>
                  <a:lnTo>
                    <a:pt x="280" y="701"/>
                  </a:lnTo>
                  <a:lnTo>
                    <a:pt x="278" y="704"/>
                  </a:lnTo>
                  <a:lnTo>
                    <a:pt x="275" y="703"/>
                  </a:lnTo>
                  <a:lnTo>
                    <a:pt x="273" y="701"/>
                  </a:lnTo>
                  <a:lnTo>
                    <a:pt x="271" y="700"/>
                  </a:lnTo>
                  <a:lnTo>
                    <a:pt x="272" y="702"/>
                  </a:lnTo>
                  <a:lnTo>
                    <a:pt x="271" y="707"/>
                  </a:lnTo>
                  <a:lnTo>
                    <a:pt x="273" y="710"/>
                  </a:lnTo>
                  <a:lnTo>
                    <a:pt x="273" y="714"/>
                  </a:lnTo>
                  <a:lnTo>
                    <a:pt x="271" y="717"/>
                  </a:lnTo>
                  <a:lnTo>
                    <a:pt x="268" y="719"/>
                  </a:lnTo>
                  <a:lnTo>
                    <a:pt x="266" y="722"/>
                  </a:lnTo>
                  <a:lnTo>
                    <a:pt x="264" y="726"/>
                  </a:lnTo>
                  <a:lnTo>
                    <a:pt x="261" y="727"/>
                  </a:lnTo>
                  <a:lnTo>
                    <a:pt x="255" y="728"/>
                  </a:lnTo>
                  <a:lnTo>
                    <a:pt x="257" y="725"/>
                  </a:lnTo>
                  <a:lnTo>
                    <a:pt x="258" y="720"/>
                  </a:lnTo>
                  <a:lnTo>
                    <a:pt x="254" y="718"/>
                  </a:lnTo>
                  <a:lnTo>
                    <a:pt x="252" y="719"/>
                  </a:lnTo>
                  <a:lnTo>
                    <a:pt x="249" y="719"/>
                  </a:lnTo>
                  <a:lnTo>
                    <a:pt x="249" y="716"/>
                  </a:lnTo>
                  <a:lnTo>
                    <a:pt x="250" y="713"/>
                  </a:lnTo>
                  <a:lnTo>
                    <a:pt x="245" y="707"/>
                  </a:lnTo>
                  <a:lnTo>
                    <a:pt x="243" y="708"/>
                  </a:lnTo>
                  <a:lnTo>
                    <a:pt x="241" y="705"/>
                  </a:lnTo>
                  <a:lnTo>
                    <a:pt x="239" y="703"/>
                  </a:lnTo>
                  <a:lnTo>
                    <a:pt x="235" y="703"/>
                  </a:lnTo>
                  <a:lnTo>
                    <a:pt x="232" y="703"/>
                  </a:lnTo>
                  <a:lnTo>
                    <a:pt x="232" y="699"/>
                  </a:lnTo>
                  <a:lnTo>
                    <a:pt x="229" y="698"/>
                  </a:lnTo>
                  <a:lnTo>
                    <a:pt x="227" y="700"/>
                  </a:lnTo>
                  <a:lnTo>
                    <a:pt x="225" y="703"/>
                  </a:lnTo>
                  <a:lnTo>
                    <a:pt x="220" y="704"/>
                  </a:lnTo>
                  <a:lnTo>
                    <a:pt x="216" y="703"/>
                  </a:lnTo>
                  <a:lnTo>
                    <a:pt x="199" y="692"/>
                  </a:lnTo>
                  <a:lnTo>
                    <a:pt x="196" y="692"/>
                  </a:lnTo>
                  <a:lnTo>
                    <a:pt x="194" y="692"/>
                  </a:lnTo>
                  <a:lnTo>
                    <a:pt x="190" y="690"/>
                  </a:lnTo>
                  <a:lnTo>
                    <a:pt x="181" y="691"/>
                  </a:lnTo>
                  <a:lnTo>
                    <a:pt x="178" y="692"/>
                  </a:lnTo>
                  <a:lnTo>
                    <a:pt x="176" y="692"/>
                  </a:lnTo>
                  <a:lnTo>
                    <a:pt x="171" y="690"/>
                  </a:lnTo>
                  <a:lnTo>
                    <a:pt x="170" y="687"/>
                  </a:lnTo>
                  <a:lnTo>
                    <a:pt x="166" y="685"/>
                  </a:lnTo>
                  <a:lnTo>
                    <a:pt x="163" y="688"/>
                  </a:lnTo>
                  <a:lnTo>
                    <a:pt x="162" y="685"/>
                  </a:lnTo>
                  <a:lnTo>
                    <a:pt x="163" y="682"/>
                  </a:lnTo>
                  <a:lnTo>
                    <a:pt x="161" y="681"/>
                  </a:lnTo>
                  <a:lnTo>
                    <a:pt x="158" y="679"/>
                  </a:lnTo>
                  <a:lnTo>
                    <a:pt x="155" y="678"/>
                  </a:lnTo>
                  <a:lnTo>
                    <a:pt x="152" y="678"/>
                  </a:lnTo>
                  <a:lnTo>
                    <a:pt x="149" y="681"/>
                  </a:lnTo>
                  <a:lnTo>
                    <a:pt x="146" y="683"/>
                  </a:lnTo>
                  <a:lnTo>
                    <a:pt x="144" y="686"/>
                  </a:lnTo>
                  <a:lnTo>
                    <a:pt x="143" y="689"/>
                  </a:lnTo>
                  <a:lnTo>
                    <a:pt x="146" y="692"/>
                  </a:lnTo>
                  <a:lnTo>
                    <a:pt x="148" y="693"/>
                  </a:lnTo>
                  <a:lnTo>
                    <a:pt x="151" y="691"/>
                  </a:lnTo>
                  <a:lnTo>
                    <a:pt x="154" y="691"/>
                  </a:lnTo>
                  <a:lnTo>
                    <a:pt x="156" y="691"/>
                  </a:lnTo>
                  <a:lnTo>
                    <a:pt x="155" y="694"/>
                  </a:lnTo>
                  <a:lnTo>
                    <a:pt x="154" y="697"/>
                  </a:lnTo>
                  <a:lnTo>
                    <a:pt x="152" y="695"/>
                  </a:lnTo>
                  <a:lnTo>
                    <a:pt x="149" y="694"/>
                  </a:lnTo>
                  <a:lnTo>
                    <a:pt x="146" y="697"/>
                  </a:lnTo>
                  <a:lnTo>
                    <a:pt x="140" y="698"/>
                  </a:lnTo>
                  <a:lnTo>
                    <a:pt x="138" y="697"/>
                  </a:lnTo>
                  <a:lnTo>
                    <a:pt x="136" y="694"/>
                  </a:lnTo>
                  <a:lnTo>
                    <a:pt x="133" y="694"/>
                  </a:lnTo>
                  <a:lnTo>
                    <a:pt x="129" y="694"/>
                  </a:lnTo>
                  <a:lnTo>
                    <a:pt x="126" y="696"/>
                  </a:lnTo>
                  <a:lnTo>
                    <a:pt x="121" y="699"/>
                  </a:lnTo>
                  <a:lnTo>
                    <a:pt x="113" y="699"/>
                  </a:lnTo>
                  <a:lnTo>
                    <a:pt x="108" y="696"/>
                  </a:lnTo>
                  <a:lnTo>
                    <a:pt x="105" y="699"/>
                  </a:lnTo>
                  <a:lnTo>
                    <a:pt x="97" y="700"/>
                  </a:lnTo>
                  <a:lnTo>
                    <a:pt x="93" y="698"/>
                  </a:lnTo>
                  <a:lnTo>
                    <a:pt x="95" y="697"/>
                  </a:lnTo>
                  <a:lnTo>
                    <a:pt x="91" y="696"/>
                  </a:lnTo>
                  <a:lnTo>
                    <a:pt x="92" y="694"/>
                  </a:lnTo>
                  <a:lnTo>
                    <a:pt x="89" y="690"/>
                  </a:lnTo>
                  <a:lnTo>
                    <a:pt x="87" y="687"/>
                  </a:lnTo>
                  <a:lnTo>
                    <a:pt x="89" y="683"/>
                  </a:lnTo>
                  <a:lnTo>
                    <a:pt x="88" y="678"/>
                  </a:lnTo>
                  <a:lnTo>
                    <a:pt x="90" y="674"/>
                  </a:lnTo>
                  <a:lnTo>
                    <a:pt x="91" y="670"/>
                  </a:lnTo>
                  <a:lnTo>
                    <a:pt x="92" y="667"/>
                  </a:lnTo>
                  <a:lnTo>
                    <a:pt x="92" y="663"/>
                  </a:lnTo>
                  <a:lnTo>
                    <a:pt x="95" y="661"/>
                  </a:lnTo>
                  <a:lnTo>
                    <a:pt x="95" y="658"/>
                  </a:lnTo>
                  <a:lnTo>
                    <a:pt x="92" y="652"/>
                  </a:lnTo>
                  <a:lnTo>
                    <a:pt x="92" y="648"/>
                  </a:lnTo>
                  <a:lnTo>
                    <a:pt x="93" y="645"/>
                  </a:lnTo>
                  <a:lnTo>
                    <a:pt x="94" y="642"/>
                  </a:lnTo>
                  <a:lnTo>
                    <a:pt x="99" y="635"/>
                  </a:lnTo>
                  <a:lnTo>
                    <a:pt x="100" y="632"/>
                  </a:lnTo>
                  <a:lnTo>
                    <a:pt x="102" y="629"/>
                  </a:lnTo>
                  <a:lnTo>
                    <a:pt x="105" y="626"/>
                  </a:lnTo>
                  <a:lnTo>
                    <a:pt x="104" y="622"/>
                  </a:lnTo>
                  <a:lnTo>
                    <a:pt x="105" y="618"/>
                  </a:lnTo>
                  <a:lnTo>
                    <a:pt x="106" y="614"/>
                  </a:lnTo>
                  <a:lnTo>
                    <a:pt x="107" y="612"/>
                  </a:lnTo>
                  <a:lnTo>
                    <a:pt x="109" y="610"/>
                  </a:lnTo>
                  <a:lnTo>
                    <a:pt x="108" y="607"/>
                  </a:lnTo>
                  <a:lnTo>
                    <a:pt x="109" y="604"/>
                  </a:lnTo>
                  <a:lnTo>
                    <a:pt x="109" y="601"/>
                  </a:lnTo>
                  <a:lnTo>
                    <a:pt x="112" y="597"/>
                  </a:lnTo>
                  <a:lnTo>
                    <a:pt x="115" y="595"/>
                  </a:lnTo>
                  <a:lnTo>
                    <a:pt x="117" y="593"/>
                  </a:lnTo>
                  <a:lnTo>
                    <a:pt x="119" y="589"/>
                  </a:lnTo>
                  <a:lnTo>
                    <a:pt x="122" y="588"/>
                  </a:lnTo>
                  <a:lnTo>
                    <a:pt x="123" y="584"/>
                  </a:lnTo>
                  <a:lnTo>
                    <a:pt x="126" y="583"/>
                  </a:lnTo>
                  <a:lnTo>
                    <a:pt x="130" y="574"/>
                  </a:lnTo>
                  <a:lnTo>
                    <a:pt x="132" y="570"/>
                  </a:lnTo>
                  <a:lnTo>
                    <a:pt x="127" y="567"/>
                  </a:lnTo>
                  <a:lnTo>
                    <a:pt x="118" y="562"/>
                  </a:lnTo>
                  <a:lnTo>
                    <a:pt x="113" y="562"/>
                  </a:lnTo>
                  <a:lnTo>
                    <a:pt x="108" y="560"/>
                  </a:lnTo>
                  <a:lnTo>
                    <a:pt x="105" y="561"/>
                  </a:lnTo>
                  <a:lnTo>
                    <a:pt x="103" y="560"/>
                  </a:lnTo>
                  <a:lnTo>
                    <a:pt x="100" y="561"/>
                  </a:lnTo>
                  <a:lnTo>
                    <a:pt x="97" y="558"/>
                  </a:lnTo>
                  <a:lnTo>
                    <a:pt x="93" y="557"/>
                  </a:lnTo>
                  <a:lnTo>
                    <a:pt x="90" y="553"/>
                  </a:lnTo>
                  <a:lnTo>
                    <a:pt x="89" y="550"/>
                  </a:lnTo>
                  <a:lnTo>
                    <a:pt x="86" y="549"/>
                  </a:lnTo>
                  <a:lnTo>
                    <a:pt x="83" y="548"/>
                  </a:lnTo>
                  <a:lnTo>
                    <a:pt x="81" y="551"/>
                  </a:lnTo>
                  <a:lnTo>
                    <a:pt x="79" y="552"/>
                  </a:lnTo>
                  <a:lnTo>
                    <a:pt x="75" y="553"/>
                  </a:lnTo>
                  <a:lnTo>
                    <a:pt x="70" y="553"/>
                  </a:lnTo>
                  <a:lnTo>
                    <a:pt x="66" y="550"/>
                  </a:lnTo>
                  <a:lnTo>
                    <a:pt x="63" y="553"/>
                  </a:lnTo>
                  <a:lnTo>
                    <a:pt x="61" y="549"/>
                  </a:lnTo>
                  <a:lnTo>
                    <a:pt x="61" y="546"/>
                  </a:lnTo>
                  <a:lnTo>
                    <a:pt x="56" y="544"/>
                  </a:lnTo>
                  <a:lnTo>
                    <a:pt x="54" y="544"/>
                  </a:lnTo>
                  <a:lnTo>
                    <a:pt x="52" y="543"/>
                  </a:lnTo>
                  <a:lnTo>
                    <a:pt x="51" y="546"/>
                  </a:lnTo>
                  <a:lnTo>
                    <a:pt x="50" y="549"/>
                  </a:lnTo>
                  <a:lnTo>
                    <a:pt x="47" y="548"/>
                  </a:lnTo>
                  <a:lnTo>
                    <a:pt x="44" y="548"/>
                  </a:lnTo>
                  <a:lnTo>
                    <a:pt x="43" y="545"/>
                  </a:lnTo>
                  <a:lnTo>
                    <a:pt x="43" y="542"/>
                  </a:lnTo>
                  <a:lnTo>
                    <a:pt x="41" y="540"/>
                  </a:lnTo>
                  <a:lnTo>
                    <a:pt x="36" y="533"/>
                  </a:lnTo>
                  <a:lnTo>
                    <a:pt x="35" y="530"/>
                  </a:lnTo>
                  <a:lnTo>
                    <a:pt x="33" y="525"/>
                  </a:lnTo>
                  <a:lnTo>
                    <a:pt x="32" y="522"/>
                  </a:lnTo>
                  <a:lnTo>
                    <a:pt x="25" y="517"/>
                  </a:lnTo>
                  <a:lnTo>
                    <a:pt x="23" y="518"/>
                  </a:lnTo>
                  <a:lnTo>
                    <a:pt x="22" y="515"/>
                  </a:lnTo>
                  <a:lnTo>
                    <a:pt x="22" y="511"/>
                  </a:lnTo>
                  <a:lnTo>
                    <a:pt x="22" y="508"/>
                  </a:lnTo>
                  <a:lnTo>
                    <a:pt x="25" y="504"/>
                  </a:lnTo>
                  <a:lnTo>
                    <a:pt x="27" y="501"/>
                  </a:lnTo>
                  <a:lnTo>
                    <a:pt x="32" y="496"/>
                  </a:lnTo>
                  <a:lnTo>
                    <a:pt x="32" y="493"/>
                  </a:lnTo>
                  <a:lnTo>
                    <a:pt x="33" y="490"/>
                  </a:lnTo>
                  <a:lnTo>
                    <a:pt x="33" y="487"/>
                  </a:lnTo>
                  <a:lnTo>
                    <a:pt x="31" y="486"/>
                  </a:lnTo>
                  <a:lnTo>
                    <a:pt x="27" y="486"/>
                  </a:lnTo>
                  <a:lnTo>
                    <a:pt x="24" y="483"/>
                  </a:lnTo>
                  <a:lnTo>
                    <a:pt x="21" y="483"/>
                  </a:lnTo>
                  <a:lnTo>
                    <a:pt x="19" y="480"/>
                  </a:lnTo>
                  <a:lnTo>
                    <a:pt x="16" y="478"/>
                  </a:lnTo>
                  <a:lnTo>
                    <a:pt x="15" y="473"/>
                  </a:lnTo>
                  <a:lnTo>
                    <a:pt x="12" y="469"/>
                  </a:lnTo>
                  <a:lnTo>
                    <a:pt x="11" y="466"/>
                  </a:lnTo>
                  <a:lnTo>
                    <a:pt x="10" y="463"/>
                  </a:lnTo>
                  <a:lnTo>
                    <a:pt x="10" y="459"/>
                  </a:lnTo>
                  <a:lnTo>
                    <a:pt x="11" y="456"/>
                  </a:lnTo>
                  <a:lnTo>
                    <a:pt x="11" y="454"/>
                  </a:lnTo>
                  <a:lnTo>
                    <a:pt x="14" y="452"/>
                  </a:lnTo>
                  <a:lnTo>
                    <a:pt x="14" y="448"/>
                  </a:lnTo>
                  <a:lnTo>
                    <a:pt x="15" y="445"/>
                  </a:lnTo>
                  <a:lnTo>
                    <a:pt x="20" y="443"/>
                  </a:lnTo>
                  <a:lnTo>
                    <a:pt x="21" y="441"/>
                  </a:lnTo>
                  <a:lnTo>
                    <a:pt x="23" y="439"/>
                  </a:lnTo>
                  <a:lnTo>
                    <a:pt x="26" y="439"/>
                  </a:lnTo>
                  <a:lnTo>
                    <a:pt x="25" y="433"/>
                  </a:lnTo>
                  <a:lnTo>
                    <a:pt x="26" y="429"/>
                  </a:lnTo>
                  <a:lnTo>
                    <a:pt x="25" y="426"/>
                  </a:lnTo>
                  <a:lnTo>
                    <a:pt x="26" y="423"/>
                  </a:lnTo>
                  <a:lnTo>
                    <a:pt x="22" y="422"/>
                  </a:lnTo>
                  <a:lnTo>
                    <a:pt x="19" y="422"/>
                  </a:lnTo>
                  <a:lnTo>
                    <a:pt x="17" y="419"/>
                  </a:lnTo>
                  <a:lnTo>
                    <a:pt x="16" y="417"/>
                  </a:lnTo>
                  <a:lnTo>
                    <a:pt x="19" y="414"/>
                  </a:lnTo>
                  <a:lnTo>
                    <a:pt x="21" y="411"/>
                  </a:lnTo>
                  <a:lnTo>
                    <a:pt x="17" y="410"/>
                  </a:lnTo>
                  <a:lnTo>
                    <a:pt x="13" y="402"/>
                  </a:lnTo>
                  <a:lnTo>
                    <a:pt x="9" y="401"/>
                  </a:lnTo>
                  <a:lnTo>
                    <a:pt x="8" y="398"/>
                  </a:lnTo>
                  <a:lnTo>
                    <a:pt x="7" y="395"/>
                  </a:lnTo>
                  <a:lnTo>
                    <a:pt x="7" y="393"/>
                  </a:lnTo>
                  <a:lnTo>
                    <a:pt x="8" y="390"/>
                  </a:lnTo>
                  <a:lnTo>
                    <a:pt x="10" y="389"/>
                  </a:lnTo>
                  <a:lnTo>
                    <a:pt x="11" y="384"/>
                  </a:lnTo>
                  <a:lnTo>
                    <a:pt x="9" y="380"/>
                  </a:lnTo>
                  <a:lnTo>
                    <a:pt x="8" y="377"/>
                  </a:lnTo>
                  <a:lnTo>
                    <a:pt x="5" y="375"/>
                  </a:lnTo>
                  <a:lnTo>
                    <a:pt x="2" y="376"/>
                  </a:lnTo>
                  <a:lnTo>
                    <a:pt x="0" y="371"/>
                  </a:lnTo>
                  <a:lnTo>
                    <a:pt x="2" y="368"/>
                  </a:lnTo>
                  <a:lnTo>
                    <a:pt x="4" y="370"/>
                  </a:lnTo>
                  <a:lnTo>
                    <a:pt x="7" y="367"/>
                  </a:lnTo>
                  <a:lnTo>
                    <a:pt x="14" y="362"/>
                  </a:lnTo>
                  <a:lnTo>
                    <a:pt x="17" y="361"/>
                  </a:lnTo>
                  <a:lnTo>
                    <a:pt x="18" y="357"/>
                  </a:lnTo>
                  <a:lnTo>
                    <a:pt x="14" y="359"/>
                  </a:lnTo>
                  <a:lnTo>
                    <a:pt x="13" y="354"/>
                  </a:lnTo>
                  <a:lnTo>
                    <a:pt x="14" y="351"/>
                  </a:lnTo>
                  <a:lnTo>
                    <a:pt x="19" y="344"/>
                  </a:lnTo>
                  <a:lnTo>
                    <a:pt x="22" y="339"/>
                  </a:lnTo>
                  <a:lnTo>
                    <a:pt x="22" y="335"/>
                  </a:lnTo>
                  <a:lnTo>
                    <a:pt x="23" y="332"/>
                  </a:lnTo>
                  <a:lnTo>
                    <a:pt x="22" y="327"/>
                  </a:lnTo>
                  <a:lnTo>
                    <a:pt x="20" y="324"/>
                  </a:lnTo>
                  <a:lnTo>
                    <a:pt x="17" y="319"/>
                  </a:lnTo>
                  <a:lnTo>
                    <a:pt x="17" y="313"/>
                  </a:lnTo>
                  <a:lnTo>
                    <a:pt x="14" y="311"/>
                  </a:lnTo>
                  <a:lnTo>
                    <a:pt x="13" y="307"/>
                  </a:lnTo>
                  <a:lnTo>
                    <a:pt x="11" y="305"/>
                  </a:lnTo>
                  <a:lnTo>
                    <a:pt x="9" y="305"/>
                  </a:lnTo>
                  <a:lnTo>
                    <a:pt x="10" y="301"/>
                  </a:lnTo>
                  <a:lnTo>
                    <a:pt x="9" y="298"/>
                  </a:lnTo>
                  <a:lnTo>
                    <a:pt x="12" y="296"/>
                  </a:lnTo>
                  <a:lnTo>
                    <a:pt x="14" y="295"/>
                  </a:lnTo>
                  <a:lnTo>
                    <a:pt x="18" y="294"/>
                  </a:lnTo>
                  <a:lnTo>
                    <a:pt x="21" y="295"/>
                  </a:lnTo>
                  <a:lnTo>
                    <a:pt x="19" y="292"/>
                  </a:lnTo>
                  <a:lnTo>
                    <a:pt x="22" y="291"/>
                  </a:lnTo>
                  <a:lnTo>
                    <a:pt x="26" y="294"/>
                  </a:lnTo>
                  <a:lnTo>
                    <a:pt x="28" y="293"/>
                  </a:lnTo>
                  <a:lnTo>
                    <a:pt x="32" y="296"/>
                  </a:lnTo>
                  <a:lnTo>
                    <a:pt x="36" y="297"/>
                  </a:lnTo>
                  <a:lnTo>
                    <a:pt x="35" y="294"/>
                  </a:lnTo>
                  <a:lnTo>
                    <a:pt x="39" y="296"/>
                  </a:lnTo>
                  <a:lnTo>
                    <a:pt x="44" y="293"/>
                  </a:lnTo>
                  <a:lnTo>
                    <a:pt x="50" y="292"/>
                  </a:lnTo>
                  <a:lnTo>
                    <a:pt x="55" y="292"/>
                  </a:lnTo>
                  <a:lnTo>
                    <a:pt x="58" y="289"/>
                  </a:lnTo>
                  <a:lnTo>
                    <a:pt x="60" y="287"/>
                  </a:lnTo>
                  <a:lnTo>
                    <a:pt x="59" y="282"/>
                  </a:lnTo>
                  <a:lnTo>
                    <a:pt x="55" y="280"/>
                  </a:lnTo>
                  <a:lnTo>
                    <a:pt x="54" y="276"/>
                  </a:lnTo>
                  <a:lnTo>
                    <a:pt x="56" y="274"/>
                  </a:lnTo>
                  <a:lnTo>
                    <a:pt x="59" y="273"/>
                  </a:lnTo>
                  <a:lnTo>
                    <a:pt x="62" y="272"/>
                  </a:lnTo>
                  <a:lnTo>
                    <a:pt x="64" y="269"/>
                  </a:lnTo>
                  <a:lnTo>
                    <a:pt x="68" y="267"/>
                  </a:lnTo>
                  <a:lnTo>
                    <a:pt x="71" y="264"/>
                  </a:lnTo>
                  <a:lnTo>
                    <a:pt x="74" y="262"/>
                  </a:lnTo>
                  <a:lnTo>
                    <a:pt x="73" y="259"/>
                  </a:lnTo>
                  <a:lnTo>
                    <a:pt x="74" y="256"/>
                  </a:lnTo>
                  <a:lnTo>
                    <a:pt x="75" y="253"/>
                  </a:lnTo>
                  <a:lnTo>
                    <a:pt x="75" y="250"/>
                  </a:lnTo>
                  <a:lnTo>
                    <a:pt x="72" y="240"/>
                  </a:lnTo>
                  <a:lnTo>
                    <a:pt x="69" y="242"/>
                  </a:lnTo>
                  <a:lnTo>
                    <a:pt x="66" y="242"/>
                  </a:lnTo>
                  <a:lnTo>
                    <a:pt x="63" y="241"/>
                  </a:lnTo>
                  <a:lnTo>
                    <a:pt x="59" y="240"/>
                  </a:lnTo>
                  <a:lnTo>
                    <a:pt x="56" y="238"/>
                  </a:lnTo>
                  <a:lnTo>
                    <a:pt x="56" y="235"/>
                  </a:lnTo>
                  <a:lnTo>
                    <a:pt x="55" y="231"/>
                  </a:lnTo>
                  <a:lnTo>
                    <a:pt x="59" y="230"/>
                  </a:lnTo>
                  <a:lnTo>
                    <a:pt x="57" y="228"/>
                  </a:lnTo>
                  <a:lnTo>
                    <a:pt x="57" y="224"/>
                  </a:lnTo>
                  <a:lnTo>
                    <a:pt x="61" y="223"/>
                  </a:lnTo>
                  <a:lnTo>
                    <a:pt x="66" y="223"/>
                  </a:lnTo>
                  <a:lnTo>
                    <a:pt x="69" y="224"/>
                  </a:lnTo>
                  <a:lnTo>
                    <a:pt x="72" y="223"/>
                  </a:lnTo>
                  <a:lnTo>
                    <a:pt x="75" y="225"/>
                  </a:lnTo>
                  <a:lnTo>
                    <a:pt x="76" y="219"/>
                  </a:lnTo>
                  <a:lnTo>
                    <a:pt x="77" y="209"/>
                  </a:lnTo>
                  <a:lnTo>
                    <a:pt x="78" y="206"/>
                  </a:lnTo>
                  <a:lnTo>
                    <a:pt x="79" y="204"/>
                  </a:lnTo>
                  <a:lnTo>
                    <a:pt x="84" y="197"/>
                  </a:lnTo>
                  <a:lnTo>
                    <a:pt x="85" y="194"/>
                  </a:lnTo>
                  <a:lnTo>
                    <a:pt x="86" y="191"/>
                  </a:lnTo>
                  <a:lnTo>
                    <a:pt x="86" y="187"/>
                  </a:lnTo>
                  <a:lnTo>
                    <a:pt x="86" y="181"/>
                  </a:lnTo>
                  <a:lnTo>
                    <a:pt x="85" y="178"/>
                  </a:lnTo>
                  <a:lnTo>
                    <a:pt x="86" y="174"/>
                  </a:lnTo>
                  <a:lnTo>
                    <a:pt x="87" y="171"/>
                  </a:lnTo>
                  <a:lnTo>
                    <a:pt x="87" y="167"/>
                  </a:lnTo>
                  <a:lnTo>
                    <a:pt x="89" y="164"/>
                  </a:lnTo>
                  <a:lnTo>
                    <a:pt x="90" y="160"/>
                  </a:lnTo>
                  <a:lnTo>
                    <a:pt x="96" y="162"/>
                  </a:lnTo>
                  <a:lnTo>
                    <a:pt x="93" y="159"/>
                  </a:lnTo>
                  <a:lnTo>
                    <a:pt x="81" y="158"/>
                  </a:lnTo>
                  <a:lnTo>
                    <a:pt x="78" y="148"/>
                  </a:lnTo>
                  <a:lnTo>
                    <a:pt x="80" y="143"/>
                  </a:lnTo>
                  <a:lnTo>
                    <a:pt x="84" y="142"/>
                  </a:lnTo>
                  <a:lnTo>
                    <a:pt x="85" y="139"/>
                  </a:lnTo>
                  <a:lnTo>
                    <a:pt x="83" y="134"/>
                  </a:lnTo>
                  <a:lnTo>
                    <a:pt x="87" y="131"/>
                  </a:lnTo>
                  <a:lnTo>
                    <a:pt x="90" y="128"/>
                  </a:lnTo>
                  <a:lnTo>
                    <a:pt x="95" y="127"/>
                  </a:lnTo>
                  <a:lnTo>
                    <a:pt x="104" y="126"/>
                  </a:lnTo>
                  <a:lnTo>
                    <a:pt x="106" y="128"/>
                  </a:lnTo>
                  <a:lnTo>
                    <a:pt x="114" y="126"/>
                  </a:lnTo>
                  <a:lnTo>
                    <a:pt x="131" y="125"/>
                  </a:lnTo>
                  <a:lnTo>
                    <a:pt x="135" y="126"/>
                  </a:lnTo>
                  <a:lnTo>
                    <a:pt x="135" y="129"/>
                  </a:lnTo>
                  <a:lnTo>
                    <a:pt x="136" y="133"/>
                  </a:lnTo>
                  <a:lnTo>
                    <a:pt x="138" y="136"/>
                  </a:lnTo>
                  <a:lnTo>
                    <a:pt x="140" y="139"/>
                  </a:lnTo>
                  <a:lnTo>
                    <a:pt x="142" y="142"/>
                  </a:lnTo>
                  <a:lnTo>
                    <a:pt x="139" y="144"/>
                  </a:lnTo>
                  <a:lnTo>
                    <a:pt x="137" y="144"/>
                  </a:lnTo>
                  <a:lnTo>
                    <a:pt x="137" y="148"/>
                  </a:lnTo>
                  <a:lnTo>
                    <a:pt x="140" y="149"/>
                  </a:lnTo>
                  <a:lnTo>
                    <a:pt x="142" y="151"/>
                  </a:lnTo>
                  <a:lnTo>
                    <a:pt x="145" y="154"/>
                  </a:lnTo>
                  <a:lnTo>
                    <a:pt x="147" y="153"/>
                  </a:lnTo>
                  <a:lnTo>
                    <a:pt x="149" y="151"/>
                  </a:lnTo>
                  <a:lnTo>
                    <a:pt x="150" y="148"/>
                  </a:lnTo>
                  <a:lnTo>
                    <a:pt x="151" y="145"/>
                  </a:lnTo>
                  <a:lnTo>
                    <a:pt x="147" y="143"/>
                  </a:lnTo>
                  <a:lnTo>
                    <a:pt x="146" y="140"/>
                  </a:lnTo>
                  <a:lnTo>
                    <a:pt x="147" y="137"/>
                  </a:lnTo>
                  <a:lnTo>
                    <a:pt x="149" y="135"/>
                  </a:lnTo>
                  <a:lnTo>
                    <a:pt x="151" y="135"/>
                  </a:lnTo>
                  <a:lnTo>
                    <a:pt x="154" y="138"/>
                  </a:lnTo>
                  <a:lnTo>
                    <a:pt x="157" y="140"/>
                  </a:lnTo>
                  <a:lnTo>
                    <a:pt x="161" y="141"/>
                  </a:lnTo>
                  <a:lnTo>
                    <a:pt x="161" y="145"/>
                  </a:lnTo>
                  <a:lnTo>
                    <a:pt x="160" y="150"/>
                  </a:lnTo>
                  <a:lnTo>
                    <a:pt x="159" y="155"/>
                  </a:lnTo>
                  <a:lnTo>
                    <a:pt x="160" y="159"/>
                  </a:lnTo>
                  <a:lnTo>
                    <a:pt x="160" y="151"/>
                  </a:lnTo>
                  <a:lnTo>
                    <a:pt x="160" y="148"/>
                  </a:lnTo>
                  <a:lnTo>
                    <a:pt x="162" y="145"/>
                  </a:lnTo>
                  <a:lnTo>
                    <a:pt x="164" y="141"/>
                  </a:lnTo>
                  <a:lnTo>
                    <a:pt x="163" y="137"/>
                  </a:lnTo>
                  <a:lnTo>
                    <a:pt x="161" y="134"/>
                  </a:lnTo>
                  <a:lnTo>
                    <a:pt x="160" y="130"/>
                  </a:lnTo>
                  <a:lnTo>
                    <a:pt x="160" y="127"/>
                  </a:lnTo>
                  <a:lnTo>
                    <a:pt x="163" y="121"/>
                  </a:lnTo>
                  <a:lnTo>
                    <a:pt x="164" y="115"/>
                  </a:lnTo>
                  <a:lnTo>
                    <a:pt x="166" y="112"/>
                  </a:lnTo>
                  <a:lnTo>
                    <a:pt x="168" y="110"/>
                  </a:lnTo>
                  <a:lnTo>
                    <a:pt x="171" y="110"/>
                  </a:lnTo>
                  <a:lnTo>
                    <a:pt x="178" y="114"/>
                  </a:lnTo>
                  <a:lnTo>
                    <a:pt x="182" y="116"/>
                  </a:lnTo>
                  <a:lnTo>
                    <a:pt x="184" y="116"/>
                  </a:lnTo>
                  <a:lnTo>
                    <a:pt x="188" y="115"/>
                  </a:lnTo>
                  <a:lnTo>
                    <a:pt x="190" y="115"/>
                  </a:lnTo>
                  <a:lnTo>
                    <a:pt x="196" y="113"/>
                  </a:lnTo>
                  <a:lnTo>
                    <a:pt x="200" y="113"/>
                  </a:lnTo>
                  <a:lnTo>
                    <a:pt x="203" y="113"/>
                  </a:lnTo>
                  <a:lnTo>
                    <a:pt x="205" y="113"/>
                  </a:lnTo>
                  <a:lnTo>
                    <a:pt x="211" y="124"/>
                  </a:lnTo>
                  <a:lnTo>
                    <a:pt x="213" y="127"/>
                  </a:lnTo>
                  <a:lnTo>
                    <a:pt x="216" y="129"/>
                  </a:lnTo>
                  <a:lnTo>
                    <a:pt x="216" y="132"/>
                  </a:lnTo>
                  <a:lnTo>
                    <a:pt x="220" y="137"/>
                  </a:lnTo>
                  <a:lnTo>
                    <a:pt x="223" y="139"/>
                  </a:lnTo>
                  <a:lnTo>
                    <a:pt x="227" y="141"/>
                  </a:lnTo>
                  <a:lnTo>
                    <a:pt x="234" y="143"/>
                  </a:lnTo>
                  <a:lnTo>
                    <a:pt x="232" y="140"/>
                  </a:lnTo>
                  <a:lnTo>
                    <a:pt x="227" y="140"/>
                  </a:lnTo>
                  <a:lnTo>
                    <a:pt x="221" y="136"/>
                  </a:lnTo>
                  <a:lnTo>
                    <a:pt x="219" y="131"/>
                  </a:lnTo>
                  <a:lnTo>
                    <a:pt x="218" y="127"/>
                  </a:lnTo>
                  <a:lnTo>
                    <a:pt x="215" y="125"/>
                  </a:lnTo>
                  <a:lnTo>
                    <a:pt x="212" y="121"/>
                  </a:lnTo>
                  <a:lnTo>
                    <a:pt x="211" y="118"/>
                  </a:lnTo>
                  <a:lnTo>
                    <a:pt x="209" y="115"/>
                  </a:lnTo>
                  <a:lnTo>
                    <a:pt x="206" y="112"/>
                  </a:lnTo>
                  <a:lnTo>
                    <a:pt x="201" y="110"/>
                  </a:lnTo>
                  <a:lnTo>
                    <a:pt x="195" y="110"/>
                  </a:lnTo>
                  <a:lnTo>
                    <a:pt x="190" y="108"/>
                  </a:lnTo>
                  <a:lnTo>
                    <a:pt x="187" y="107"/>
                  </a:lnTo>
                  <a:lnTo>
                    <a:pt x="181" y="96"/>
                  </a:lnTo>
                  <a:lnTo>
                    <a:pt x="185" y="95"/>
                  </a:lnTo>
                  <a:lnTo>
                    <a:pt x="189" y="96"/>
                  </a:lnTo>
                  <a:lnTo>
                    <a:pt x="190" y="94"/>
                  </a:lnTo>
                  <a:lnTo>
                    <a:pt x="191" y="90"/>
                  </a:lnTo>
                  <a:lnTo>
                    <a:pt x="188" y="87"/>
                  </a:lnTo>
                  <a:lnTo>
                    <a:pt x="185" y="86"/>
                  </a:lnTo>
                  <a:lnTo>
                    <a:pt x="183" y="88"/>
                  </a:lnTo>
                  <a:lnTo>
                    <a:pt x="180" y="83"/>
                  </a:lnTo>
                  <a:lnTo>
                    <a:pt x="181" y="79"/>
                  </a:lnTo>
                  <a:lnTo>
                    <a:pt x="181" y="76"/>
                  </a:lnTo>
                  <a:lnTo>
                    <a:pt x="184" y="74"/>
                  </a:lnTo>
                  <a:lnTo>
                    <a:pt x="187" y="73"/>
                  </a:lnTo>
                  <a:lnTo>
                    <a:pt x="188" y="70"/>
                  </a:lnTo>
                  <a:lnTo>
                    <a:pt x="185" y="72"/>
                  </a:lnTo>
                  <a:lnTo>
                    <a:pt x="182" y="71"/>
                  </a:lnTo>
                  <a:lnTo>
                    <a:pt x="179" y="72"/>
                  </a:lnTo>
                  <a:lnTo>
                    <a:pt x="176" y="72"/>
                  </a:lnTo>
                  <a:lnTo>
                    <a:pt x="172" y="74"/>
                  </a:lnTo>
                  <a:lnTo>
                    <a:pt x="168" y="70"/>
                  </a:lnTo>
                  <a:lnTo>
                    <a:pt x="168" y="67"/>
                  </a:lnTo>
                  <a:lnTo>
                    <a:pt x="171" y="66"/>
                  </a:lnTo>
                  <a:lnTo>
                    <a:pt x="170" y="62"/>
                  </a:lnTo>
                  <a:lnTo>
                    <a:pt x="177" y="61"/>
                  </a:lnTo>
                  <a:lnTo>
                    <a:pt x="183" y="61"/>
                  </a:lnTo>
                  <a:lnTo>
                    <a:pt x="185" y="60"/>
                  </a:lnTo>
                  <a:lnTo>
                    <a:pt x="187" y="58"/>
                  </a:lnTo>
                  <a:lnTo>
                    <a:pt x="191" y="53"/>
                  </a:lnTo>
                  <a:lnTo>
                    <a:pt x="185" y="46"/>
                  </a:lnTo>
                  <a:lnTo>
                    <a:pt x="183" y="43"/>
                  </a:lnTo>
                  <a:lnTo>
                    <a:pt x="181" y="36"/>
                  </a:lnTo>
                  <a:lnTo>
                    <a:pt x="179" y="34"/>
                  </a:lnTo>
                  <a:lnTo>
                    <a:pt x="176" y="31"/>
                  </a:lnTo>
                  <a:lnTo>
                    <a:pt x="173" y="28"/>
                  </a:lnTo>
                  <a:lnTo>
                    <a:pt x="172" y="24"/>
                  </a:lnTo>
                  <a:lnTo>
                    <a:pt x="171" y="20"/>
                  </a:lnTo>
                  <a:lnTo>
                    <a:pt x="172" y="15"/>
                  </a:lnTo>
                  <a:lnTo>
                    <a:pt x="177" y="16"/>
                  </a:lnTo>
                  <a:lnTo>
                    <a:pt x="180" y="15"/>
                  </a:lnTo>
                  <a:close/>
                  <a:moveTo>
                    <a:pt x="159" y="0"/>
                  </a:moveTo>
                  <a:lnTo>
                    <a:pt x="162" y="1"/>
                  </a:lnTo>
                  <a:lnTo>
                    <a:pt x="158" y="1"/>
                  </a:lnTo>
                  <a:lnTo>
                    <a:pt x="159" y="4"/>
                  </a:lnTo>
                  <a:lnTo>
                    <a:pt x="157" y="5"/>
                  </a:lnTo>
                  <a:lnTo>
                    <a:pt x="155" y="9"/>
                  </a:lnTo>
                  <a:lnTo>
                    <a:pt x="156" y="14"/>
                  </a:lnTo>
                  <a:lnTo>
                    <a:pt x="157" y="15"/>
                  </a:lnTo>
                  <a:lnTo>
                    <a:pt x="160" y="16"/>
                  </a:lnTo>
                  <a:lnTo>
                    <a:pt x="171" y="16"/>
                  </a:lnTo>
                  <a:lnTo>
                    <a:pt x="163" y="16"/>
                  </a:lnTo>
                  <a:lnTo>
                    <a:pt x="161" y="18"/>
                  </a:lnTo>
                  <a:lnTo>
                    <a:pt x="157" y="18"/>
                  </a:lnTo>
                  <a:lnTo>
                    <a:pt x="152" y="19"/>
                  </a:lnTo>
                  <a:lnTo>
                    <a:pt x="152" y="26"/>
                  </a:lnTo>
                  <a:lnTo>
                    <a:pt x="152" y="29"/>
                  </a:lnTo>
                  <a:lnTo>
                    <a:pt x="151" y="25"/>
                  </a:lnTo>
                  <a:lnTo>
                    <a:pt x="152" y="15"/>
                  </a:lnTo>
                  <a:lnTo>
                    <a:pt x="157" y="2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AB5905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60" name="GR">
              <a:extLst>
                <a:ext uri="{FF2B5EF4-FFF2-40B4-BE49-F238E27FC236}">
                  <a16:creationId xmlns:a16="http://schemas.microsoft.com/office/drawing/2014/main" id="{535078A6-EF9D-240C-DC9B-2410202F6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9125" y="5670603"/>
              <a:ext cx="1289086" cy="1064022"/>
            </a:xfrm>
            <a:custGeom>
              <a:avLst/>
              <a:gdLst>
                <a:gd name="T0" fmla="*/ 471 w 676"/>
                <a:gd name="T1" fmla="*/ 636 h 663"/>
                <a:gd name="T2" fmla="*/ 344 w 676"/>
                <a:gd name="T3" fmla="*/ 614 h 663"/>
                <a:gd name="T4" fmla="*/ 389 w 676"/>
                <a:gd name="T5" fmla="*/ 604 h 663"/>
                <a:gd name="T6" fmla="*/ 510 w 676"/>
                <a:gd name="T7" fmla="*/ 602 h 663"/>
                <a:gd name="T8" fmla="*/ 602 w 676"/>
                <a:gd name="T9" fmla="*/ 563 h 663"/>
                <a:gd name="T10" fmla="*/ 610 w 676"/>
                <a:gd name="T11" fmla="*/ 555 h 663"/>
                <a:gd name="T12" fmla="*/ 463 w 676"/>
                <a:gd name="T13" fmla="*/ 495 h 663"/>
                <a:gd name="T14" fmla="*/ 406 w 676"/>
                <a:gd name="T15" fmla="*/ 479 h 663"/>
                <a:gd name="T16" fmla="*/ 528 w 676"/>
                <a:gd name="T17" fmla="*/ 473 h 663"/>
                <a:gd name="T18" fmla="*/ 402 w 676"/>
                <a:gd name="T19" fmla="*/ 455 h 663"/>
                <a:gd name="T20" fmla="*/ 647 w 676"/>
                <a:gd name="T21" fmla="*/ 495 h 663"/>
                <a:gd name="T22" fmla="*/ 490 w 676"/>
                <a:gd name="T23" fmla="*/ 458 h 663"/>
                <a:gd name="T24" fmla="*/ 308 w 676"/>
                <a:gd name="T25" fmla="*/ 441 h 663"/>
                <a:gd name="T26" fmla="*/ 451 w 676"/>
                <a:gd name="T27" fmla="*/ 439 h 663"/>
                <a:gd name="T28" fmla="*/ 102 w 676"/>
                <a:gd name="T29" fmla="*/ 427 h 663"/>
                <a:gd name="T30" fmla="*/ 564 w 676"/>
                <a:gd name="T31" fmla="*/ 415 h 663"/>
                <a:gd name="T32" fmla="*/ 308 w 676"/>
                <a:gd name="T33" fmla="*/ 401 h 663"/>
                <a:gd name="T34" fmla="*/ 397 w 676"/>
                <a:gd name="T35" fmla="*/ 398 h 663"/>
                <a:gd name="T36" fmla="*/ 296 w 676"/>
                <a:gd name="T37" fmla="*/ 389 h 663"/>
                <a:gd name="T38" fmla="*/ 72 w 676"/>
                <a:gd name="T39" fmla="*/ 403 h 663"/>
                <a:gd name="T40" fmla="*/ 89 w 676"/>
                <a:gd name="T41" fmla="*/ 370 h 663"/>
                <a:gd name="T42" fmla="*/ 390 w 676"/>
                <a:gd name="T43" fmla="*/ 372 h 663"/>
                <a:gd name="T44" fmla="*/ 530 w 676"/>
                <a:gd name="T45" fmla="*/ 363 h 663"/>
                <a:gd name="T46" fmla="*/ 443 w 676"/>
                <a:gd name="T47" fmla="*/ 296 h 663"/>
                <a:gd name="T48" fmla="*/ 473 w 676"/>
                <a:gd name="T49" fmla="*/ 309 h 663"/>
                <a:gd name="T50" fmla="*/ 345 w 676"/>
                <a:gd name="T51" fmla="*/ 328 h 663"/>
                <a:gd name="T52" fmla="*/ 347 w 676"/>
                <a:gd name="T53" fmla="*/ 351 h 663"/>
                <a:gd name="T54" fmla="*/ 253 w 676"/>
                <a:gd name="T55" fmla="*/ 310 h 663"/>
                <a:gd name="T56" fmla="*/ 284 w 676"/>
                <a:gd name="T57" fmla="*/ 271 h 663"/>
                <a:gd name="T58" fmla="*/ 22 w 676"/>
                <a:gd name="T59" fmla="*/ 259 h 663"/>
                <a:gd name="T60" fmla="*/ 321 w 676"/>
                <a:gd name="T61" fmla="*/ 250 h 663"/>
                <a:gd name="T62" fmla="*/ 491 w 676"/>
                <a:gd name="T63" fmla="*/ 251 h 663"/>
                <a:gd name="T64" fmla="*/ 407 w 676"/>
                <a:gd name="T65" fmla="*/ 175 h 663"/>
                <a:gd name="T66" fmla="*/ 410 w 676"/>
                <a:gd name="T67" fmla="*/ 122 h 663"/>
                <a:gd name="T68" fmla="*/ 450 w 676"/>
                <a:gd name="T69" fmla="*/ 5 h 663"/>
                <a:gd name="T70" fmla="*/ 438 w 676"/>
                <a:gd name="T71" fmla="*/ 95 h 663"/>
                <a:gd name="T72" fmla="*/ 342 w 676"/>
                <a:gd name="T73" fmla="*/ 104 h 663"/>
                <a:gd name="T74" fmla="*/ 301 w 676"/>
                <a:gd name="T75" fmla="*/ 156 h 663"/>
                <a:gd name="T76" fmla="*/ 299 w 676"/>
                <a:gd name="T77" fmla="*/ 178 h 663"/>
                <a:gd name="T78" fmla="*/ 264 w 676"/>
                <a:gd name="T79" fmla="*/ 202 h 663"/>
                <a:gd name="T80" fmla="*/ 206 w 676"/>
                <a:gd name="T81" fmla="*/ 160 h 663"/>
                <a:gd name="T82" fmla="*/ 261 w 676"/>
                <a:gd name="T83" fmla="*/ 258 h 663"/>
                <a:gd name="T84" fmla="*/ 247 w 676"/>
                <a:gd name="T85" fmla="*/ 286 h 663"/>
                <a:gd name="T86" fmla="*/ 263 w 676"/>
                <a:gd name="T87" fmla="*/ 327 h 663"/>
                <a:gd name="T88" fmla="*/ 341 w 676"/>
                <a:gd name="T89" fmla="*/ 380 h 663"/>
                <a:gd name="T90" fmla="*/ 270 w 676"/>
                <a:gd name="T91" fmla="*/ 394 h 663"/>
                <a:gd name="T92" fmla="*/ 293 w 676"/>
                <a:gd name="T93" fmla="*/ 443 h 663"/>
                <a:gd name="T94" fmla="*/ 276 w 676"/>
                <a:gd name="T95" fmla="*/ 471 h 663"/>
                <a:gd name="T96" fmla="*/ 254 w 676"/>
                <a:gd name="T97" fmla="*/ 502 h 663"/>
                <a:gd name="T98" fmla="*/ 216 w 676"/>
                <a:gd name="T99" fmla="*/ 487 h 663"/>
                <a:gd name="T100" fmla="*/ 166 w 676"/>
                <a:gd name="T101" fmla="*/ 446 h 663"/>
                <a:gd name="T102" fmla="*/ 191 w 676"/>
                <a:gd name="T103" fmla="*/ 373 h 663"/>
                <a:gd name="T104" fmla="*/ 269 w 676"/>
                <a:gd name="T105" fmla="*/ 370 h 663"/>
                <a:gd name="T106" fmla="*/ 195 w 676"/>
                <a:gd name="T107" fmla="*/ 364 h 663"/>
                <a:gd name="T108" fmla="*/ 120 w 676"/>
                <a:gd name="T109" fmla="*/ 370 h 663"/>
                <a:gd name="T110" fmla="*/ 118 w 676"/>
                <a:gd name="T111" fmla="*/ 326 h 663"/>
                <a:gd name="T112" fmla="*/ 55 w 676"/>
                <a:gd name="T113" fmla="*/ 298 h 663"/>
                <a:gd name="T114" fmla="*/ 46 w 676"/>
                <a:gd name="T115" fmla="*/ 236 h 663"/>
                <a:gd name="T116" fmla="*/ 92 w 676"/>
                <a:gd name="T117" fmla="*/ 147 h 663"/>
                <a:gd name="T118" fmla="*/ 194 w 676"/>
                <a:gd name="T119" fmla="*/ 102 h 663"/>
                <a:gd name="T120" fmla="*/ 294 w 676"/>
                <a:gd name="T121" fmla="*/ 50 h 663"/>
                <a:gd name="T122" fmla="*/ 409 w 676"/>
                <a:gd name="T123" fmla="*/ 46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6" h="663">
                  <a:moveTo>
                    <a:pt x="391" y="659"/>
                  </a:moveTo>
                  <a:lnTo>
                    <a:pt x="394" y="662"/>
                  </a:lnTo>
                  <a:lnTo>
                    <a:pt x="396" y="663"/>
                  </a:lnTo>
                  <a:lnTo>
                    <a:pt x="391" y="663"/>
                  </a:lnTo>
                  <a:lnTo>
                    <a:pt x="388" y="662"/>
                  </a:lnTo>
                  <a:lnTo>
                    <a:pt x="391" y="659"/>
                  </a:lnTo>
                  <a:close/>
                  <a:moveTo>
                    <a:pt x="552" y="586"/>
                  </a:moveTo>
                  <a:lnTo>
                    <a:pt x="550" y="591"/>
                  </a:lnTo>
                  <a:lnTo>
                    <a:pt x="553" y="595"/>
                  </a:lnTo>
                  <a:lnTo>
                    <a:pt x="556" y="595"/>
                  </a:lnTo>
                  <a:lnTo>
                    <a:pt x="554" y="599"/>
                  </a:lnTo>
                  <a:lnTo>
                    <a:pt x="555" y="601"/>
                  </a:lnTo>
                  <a:lnTo>
                    <a:pt x="554" y="605"/>
                  </a:lnTo>
                  <a:lnTo>
                    <a:pt x="553" y="608"/>
                  </a:lnTo>
                  <a:lnTo>
                    <a:pt x="552" y="611"/>
                  </a:lnTo>
                  <a:lnTo>
                    <a:pt x="550" y="613"/>
                  </a:lnTo>
                  <a:lnTo>
                    <a:pt x="546" y="616"/>
                  </a:lnTo>
                  <a:lnTo>
                    <a:pt x="543" y="617"/>
                  </a:lnTo>
                  <a:lnTo>
                    <a:pt x="538" y="615"/>
                  </a:lnTo>
                  <a:lnTo>
                    <a:pt x="535" y="616"/>
                  </a:lnTo>
                  <a:lnTo>
                    <a:pt x="532" y="615"/>
                  </a:lnTo>
                  <a:lnTo>
                    <a:pt x="528" y="616"/>
                  </a:lnTo>
                  <a:lnTo>
                    <a:pt x="525" y="618"/>
                  </a:lnTo>
                  <a:lnTo>
                    <a:pt x="520" y="621"/>
                  </a:lnTo>
                  <a:lnTo>
                    <a:pt x="504" y="623"/>
                  </a:lnTo>
                  <a:lnTo>
                    <a:pt x="500" y="626"/>
                  </a:lnTo>
                  <a:lnTo>
                    <a:pt x="490" y="628"/>
                  </a:lnTo>
                  <a:lnTo>
                    <a:pt x="485" y="630"/>
                  </a:lnTo>
                  <a:lnTo>
                    <a:pt x="482" y="631"/>
                  </a:lnTo>
                  <a:lnTo>
                    <a:pt x="477" y="635"/>
                  </a:lnTo>
                  <a:lnTo>
                    <a:pt x="471" y="636"/>
                  </a:lnTo>
                  <a:lnTo>
                    <a:pt x="469" y="638"/>
                  </a:lnTo>
                  <a:lnTo>
                    <a:pt x="465" y="638"/>
                  </a:lnTo>
                  <a:lnTo>
                    <a:pt x="461" y="640"/>
                  </a:lnTo>
                  <a:lnTo>
                    <a:pt x="440" y="644"/>
                  </a:lnTo>
                  <a:lnTo>
                    <a:pt x="440" y="638"/>
                  </a:lnTo>
                  <a:lnTo>
                    <a:pt x="440" y="635"/>
                  </a:lnTo>
                  <a:lnTo>
                    <a:pt x="439" y="632"/>
                  </a:lnTo>
                  <a:lnTo>
                    <a:pt x="436" y="630"/>
                  </a:lnTo>
                  <a:lnTo>
                    <a:pt x="428" y="631"/>
                  </a:lnTo>
                  <a:lnTo>
                    <a:pt x="425" y="631"/>
                  </a:lnTo>
                  <a:lnTo>
                    <a:pt x="421" y="628"/>
                  </a:lnTo>
                  <a:lnTo>
                    <a:pt x="417" y="627"/>
                  </a:lnTo>
                  <a:lnTo>
                    <a:pt x="411" y="626"/>
                  </a:lnTo>
                  <a:lnTo>
                    <a:pt x="403" y="627"/>
                  </a:lnTo>
                  <a:lnTo>
                    <a:pt x="397" y="627"/>
                  </a:lnTo>
                  <a:lnTo>
                    <a:pt x="388" y="628"/>
                  </a:lnTo>
                  <a:lnTo>
                    <a:pt x="383" y="631"/>
                  </a:lnTo>
                  <a:lnTo>
                    <a:pt x="379" y="627"/>
                  </a:lnTo>
                  <a:lnTo>
                    <a:pt x="372" y="628"/>
                  </a:lnTo>
                  <a:lnTo>
                    <a:pt x="369" y="628"/>
                  </a:lnTo>
                  <a:lnTo>
                    <a:pt x="365" y="628"/>
                  </a:lnTo>
                  <a:lnTo>
                    <a:pt x="363" y="630"/>
                  </a:lnTo>
                  <a:lnTo>
                    <a:pt x="358" y="631"/>
                  </a:lnTo>
                  <a:lnTo>
                    <a:pt x="354" y="632"/>
                  </a:lnTo>
                  <a:lnTo>
                    <a:pt x="350" y="633"/>
                  </a:lnTo>
                  <a:lnTo>
                    <a:pt x="347" y="631"/>
                  </a:lnTo>
                  <a:lnTo>
                    <a:pt x="343" y="628"/>
                  </a:lnTo>
                  <a:lnTo>
                    <a:pt x="344" y="625"/>
                  </a:lnTo>
                  <a:lnTo>
                    <a:pt x="343" y="622"/>
                  </a:lnTo>
                  <a:lnTo>
                    <a:pt x="343" y="618"/>
                  </a:lnTo>
                  <a:lnTo>
                    <a:pt x="344" y="614"/>
                  </a:lnTo>
                  <a:lnTo>
                    <a:pt x="344" y="610"/>
                  </a:lnTo>
                  <a:lnTo>
                    <a:pt x="343" y="607"/>
                  </a:lnTo>
                  <a:lnTo>
                    <a:pt x="343" y="604"/>
                  </a:lnTo>
                  <a:lnTo>
                    <a:pt x="344" y="599"/>
                  </a:lnTo>
                  <a:lnTo>
                    <a:pt x="345" y="603"/>
                  </a:lnTo>
                  <a:lnTo>
                    <a:pt x="347" y="606"/>
                  </a:lnTo>
                  <a:lnTo>
                    <a:pt x="350" y="607"/>
                  </a:lnTo>
                  <a:lnTo>
                    <a:pt x="353" y="606"/>
                  </a:lnTo>
                  <a:lnTo>
                    <a:pt x="354" y="601"/>
                  </a:lnTo>
                  <a:lnTo>
                    <a:pt x="353" y="598"/>
                  </a:lnTo>
                  <a:lnTo>
                    <a:pt x="352" y="594"/>
                  </a:lnTo>
                  <a:lnTo>
                    <a:pt x="352" y="591"/>
                  </a:lnTo>
                  <a:lnTo>
                    <a:pt x="356" y="590"/>
                  </a:lnTo>
                  <a:lnTo>
                    <a:pt x="356" y="593"/>
                  </a:lnTo>
                  <a:lnTo>
                    <a:pt x="357" y="596"/>
                  </a:lnTo>
                  <a:lnTo>
                    <a:pt x="358" y="599"/>
                  </a:lnTo>
                  <a:lnTo>
                    <a:pt x="360" y="601"/>
                  </a:lnTo>
                  <a:lnTo>
                    <a:pt x="368" y="602"/>
                  </a:lnTo>
                  <a:lnTo>
                    <a:pt x="371" y="601"/>
                  </a:lnTo>
                  <a:lnTo>
                    <a:pt x="375" y="601"/>
                  </a:lnTo>
                  <a:lnTo>
                    <a:pt x="378" y="600"/>
                  </a:lnTo>
                  <a:lnTo>
                    <a:pt x="382" y="596"/>
                  </a:lnTo>
                  <a:lnTo>
                    <a:pt x="380" y="593"/>
                  </a:lnTo>
                  <a:lnTo>
                    <a:pt x="386" y="592"/>
                  </a:lnTo>
                  <a:lnTo>
                    <a:pt x="390" y="596"/>
                  </a:lnTo>
                  <a:lnTo>
                    <a:pt x="389" y="599"/>
                  </a:lnTo>
                  <a:lnTo>
                    <a:pt x="386" y="600"/>
                  </a:lnTo>
                  <a:lnTo>
                    <a:pt x="383" y="600"/>
                  </a:lnTo>
                  <a:lnTo>
                    <a:pt x="380" y="601"/>
                  </a:lnTo>
                  <a:lnTo>
                    <a:pt x="384" y="603"/>
                  </a:lnTo>
                  <a:lnTo>
                    <a:pt x="389" y="604"/>
                  </a:lnTo>
                  <a:lnTo>
                    <a:pt x="392" y="603"/>
                  </a:lnTo>
                  <a:lnTo>
                    <a:pt x="397" y="605"/>
                  </a:lnTo>
                  <a:lnTo>
                    <a:pt x="398" y="610"/>
                  </a:lnTo>
                  <a:lnTo>
                    <a:pt x="401" y="611"/>
                  </a:lnTo>
                  <a:lnTo>
                    <a:pt x="404" y="612"/>
                  </a:lnTo>
                  <a:lnTo>
                    <a:pt x="410" y="608"/>
                  </a:lnTo>
                  <a:lnTo>
                    <a:pt x="413" y="609"/>
                  </a:lnTo>
                  <a:lnTo>
                    <a:pt x="420" y="605"/>
                  </a:lnTo>
                  <a:lnTo>
                    <a:pt x="426" y="601"/>
                  </a:lnTo>
                  <a:lnTo>
                    <a:pt x="429" y="599"/>
                  </a:lnTo>
                  <a:lnTo>
                    <a:pt x="439" y="599"/>
                  </a:lnTo>
                  <a:lnTo>
                    <a:pt x="442" y="598"/>
                  </a:lnTo>
                  <a:lnTo>
                    <a:pt x="449" y="598"/>
                  </a:lnTo>
                  <a:lnTo>
                    <a:pt x="453" y="596"/>
                  </a:lnTo>
                  <a:lnTo>
                    <a:pt x="456" y="597"/>
                  </a:lnTo>
                  <a:lnTo>
                    <a:pt x="457" y="601"/>
                  </a:lnTo>
                  <a:lnTo>
                    <a:pt x="461" y="601"/>
                  </a:lnTo>
                  <a:lnTo>
                    <a:pt x="464" y="600"/>
                  </a:lnTo>
                  <a:lnTo>
                    <a:pt x="469" y="599"/>
                  </a:lnTo>
                  <a:lnTo>
                    <a:pt x="473" y="599"/>
                  </a:lnTo>
                  <a:lnTo>
                    <a:pt x="477" y="598"/>
                  </a:lnTo>
                  <a:lnTo>
                    <a:pt x="480" y="598"/>
                  </a:lnTo>
                  <a:lnTo>
                    <a:pt x="484" y="598"/>
                  </a:lnTo>
                  <a:lnTo>
                    <a:pt x="486" y="600"/>
                  </a:lnTo>
                  <a:lnTo>
                    <a:pt x="491" y="599"/>
                  </a:lnTo>
                  <a:lnTo>
                    <a:pt x="501" y="593"/>
                  </a:lnTo>
                  <a:lnTo>
                    <a:pt x="506" y="593"/>
                  </a:lnTo>
                  <a:lnTo>
                    <a:pt x="511" y="592"/>
                  </a:lnTo>
                  <a:lnTo>
                    <a:pt x="509" y="596"/>
                  </a:lnTo>
                  <a:lnTo>
                    <a:pt x="510" y="599"/>
                  </a:lnTo>
                  <a:lnTo>
                    <a:pt x="510" y="602"/>
                  </a:lnTo>
                  <a:lnTo>
                    <a:pt x="510" y="605"/>
                  </a:lnTo>
                  <a:lnTo>
                    <a:pt x="511" y="609"/>
                  </a:lnTo>
                  <a:lnTo>
                    <a:pt x="515" y="610"/>
                  </a:lnTo>
                  <a:lnTo>
                    <a:pt x="519" y="611"/>
                  </a:lnTo>
                  <a:lnTo>
                    <a:pt x="520" y="607"/>
                  </a:lnTo>
                  <a:lnTo>
                    <a:pt x="523" y="603"/>
                  </a:lnTo>
                  <a:lnTo>
                    <a:pt x="527" y="602"/>
                  </a:lnTo>
                  <a:lnTo>
                    <a:pt x="529" y="601"/>
                  </a:lnTo>
                  <a:lnTo>
                    <a:pt x="532" y="599"/>
                  </a:lnTo>
                  <a:lnTo>
                    <a:pt x="534" y="597"/>
                  </a:lnTo>
                  <a:lnTo>
                    <a:pt x="539" y="597"/>
                  </a:lnTo>
                  <a:lnTo>
                    <a:pt x="543" y="598"/>
                  </a:lnTo>
                  <a:lnTo>
                    <a:pt x="546" y="595"/>
                  </a:lnTo>
                  <a:lnTo>
                    <a:pt x="547" y="593"/>
                  </a:lnTo>
                  <a:lnTo>
                    <a:pt x="550" y="589"/>
                  </a:lnTo>
                  <a:lnTo>
                    <a:pt x="552" y="586"/>
                  </a:lnTo>
                  <a:close/>
                  <a:moveTo>
                    <a:pt x="314" y="576"/>
                  </a:moveTo>
                  <a:lnTo>
                    <a:pt x="318" y="578"/>
                  </a:lnTo>
                  <a:lnTo>
                    <a:pt x="320" y="582"/>
                  </a:lnTo>
                  <a:lnTo>
                    <a:pt x="317" y="580"/>
                  </a:lnTo>
                  <a:lnTo>
                    <a:pt x="314" y="576"/>
                  </a:lnTo>
                  <a:close/>
                  <a:moveTo>
                    <a:pt x="602" y="563"/>
                  </a:moveTo>
                  <a:lnTo>
                    <a:pt x="602" y="564"/>
                  </a:lnTo>
                  <a:lnTo>
                    <a:pt x="600" y="567"/>
                  </a:lnTo>
                  <a:lnTo>
                    <a:pt x="598" y="570"/>
                  </a:lnTo>
                  <a:lnTo>
                    <a:pt x="595" y="572"/>
                  </a:lnTo>
                  <a:lnTo>
                    <a:pt x="592" y="571"/>
                  </a:lnTo>
                  <a:lnTo>
                    <a:pt x="594" y="568"/>
                  </a:lnTo>
                  <a:lnTo>
                    <a:pt x="597" y="566"/>
                  </a:lnTo>
                  <a:lnTo>
                    <a:pt x="599" y="564"/>
                  </a:lnTo>
                  <a:lnTo>
                    <a:pt x="602" y="563"/>
                  </a:lnTo>
                  <a:close/>
                  <a:moveTo>
                    <a:pt x="283" y="536"/>
                  </a:moveTo>
                  <a:lnTo>
                    <a:pt x="288" y="541"/>
                  </a:lnTo>
                  <a:lnTo>
                    <a:pt x="295" y="545"/>
                  </a:lnTo>
                  <a:lnTo>
                    <a:pt x="297" y="547"/>
                  </a:lnTo>
                  <a:lnTo>
                    <a:pt x="295" y="549"/>
                  </a:lnTo>
                  <a:lnTo>
                    <a:pt x="294" y="551"/>
                  </a:lnTo>
                  <a:lnTo>
                    <a:pt x="295" y="556"/>
                  </a:lnTo>
                  <a:lnTo>
                    <a:pt x="292" y="556"/>
                  </a:lnTo>
                  <a:lnTo>
                    <a:pt x="289" y="556"/>
                  </a:lnTo>
                  <a:lnTo>
                    <a:pt x="286" y="555"/>
                  </a:lnTo>
                  <a:lnTo>
                    <a:pt x="283" y="552"/>
                  </a:lnTo>
                  <a:lnTo>
                    <a:pt x="283" y="547"/>
                  </a:lnTo>
                  <a:lnTo>
                    <a:pt x="282" y="543"/>
                  </a:lnTo>
                  <a:lnTo>
                    <a:pt x="281" y="541"/>
                  </a:lnTo>
                  <a:lnTo>
                    <a:pt x="283" y="536"/>
                  </a:lnTo>
                  <a:close/>
                  <a:moveTo>
                    <a:pt x="611" y="523"/>
                  </a:moveTo>
                  <a:lnTo>
                    <a:pt x="612" y="525"/>
                  </a:lnTo>
                  <a:lnTo>
                    <a:pt x="611" y="528"/>
                  </a:lnTo>
                  <a:lnTo>
                    <a:pt x="612" y="531"/>
                  </a:lnTo>
                  <a:lnTo>
                    <a:pt x="612" y="534"/>
                  </a:lnTo>
                  <a:lnTo>
                    <a:pt x="611" y="538"/>
                  </a:lnTo>
                  <a:lnTo>
                    <a:pt x="610" y="542"/>
                  </a:lnTo>
                  <a:lnTo>
                    <a:pt x="614" y="545"/>
                  </a:lnTo>
                  <a:lnTo>
                    <a:pt x="616" y="547"/>
                  </a:lnTo>
                  <a:lnTo>
                    <a:pt x="616" y="550"/>
                  </a:lnTo>
                  <a:lnTo>
                    <a:pt x="619" y="553"/>
                  </a:lnTo>
                  <a:lnTo>
                    <a:pt x="616" y="556"/>
                  </a:lnTo>
                  <a:lnTo>
                    <a:pt x="615" y="560"/>
                  </a:lnTo>
                  <a:lnTo>
                    <a:pt x="611" y="562"/>
                  </a:lnTo>
                  <a:lnTo>
                    <a:pt x="608" y="558"/>
                  </a:lnTo>
                  <a:lnTo>
                    <a:pt x="610" y="555"/>
                  </a:lnTo>
                  <a:lnTo>
                    <a:pt x="608" y="551"/>
                  </a:lnTo>
                  <a:lnTo>
                    <a:pt x="607" y="549"/>
                  </a:lnTo>
                  <a:lnTo>
                    <a:pt x="604" y="546"/>
                  </a:lnTo>
                  <a:lnTo>
                    <a:pt x="605" y="543"/>
                  </a:lnTo>
                  <a:lnTo>
                    <a:pt x="607" y="539"/>
                  </a:lnTo>
                  <a:lnTo>
                    <a:pt x="608" y="534"/>
                  </a:lnTo>
                  <a:lnTo>
                    <a:pt x="608" y="531"/>
                  </a:lnTo>
                  <a:lnTo>
                    <a:pt x="608" y="529"/>
                  </a:lnTo>
                  <a:lnTo>
                    <a:pt x="608" y="526"/>
                  </a:lnTo>
                  <a:lnTo>
                    <a:pt x="611" y="523"/>
                  </a:lnTo>
                  <a:close/>
                  <a:moveTo>
                    <a:pt x="187" y="513"/>
                  </a:moveTo>
                  <a:lnTo>
                    <a:pt x="187" y="517"/>
                  </a:lnTo>
                  <a:lnTo>
                    <a:pt x="186" y="514"/>
                  </a:lnTo>
                  <a:lnTo>
                    <a:pt x="187" y="513"/>
                  </a:lnTo>
                  <a:close/>
                  <a:moveTo>
                    <a:pt x="497" y="496"/>
                  </a:moveTo>
                  <a:lnTo>
                    <a:pt x="501" y="497"/>
                  </a:lnTo>
                  <a:lnTo>
                    <a:pt x="498" y="498"/>
                  </a:lnTo>
                  <a:lnTo>
                    <a:pt x="495" y="499"/>
                  </a:lnTo>
                  <a:lnTo>
                    <a:pt x="492" y="499"/>
                  </a:lnTo>
                  <a:lnTo>
                    <a:pt x="493" y="496"/>
                  </a:lnTo>
                  <a:lnTo>
                    <a:pt x="497" y="496"/>
                  </a:lnTo>
                  <a:close/>
                  <a:moveTo>
                    <a:pt x="466" y="494"/>
                  </a:moveTo>
                  <a:lnTo>
                    <a:pt x="472" y="497"/>
                  </a:lnTo>
                  <a:lnTo>
                    <a:pt x="474" y="501"/>
                  </a:lnTo>
                  <a:lnTo>
                    <a:pt x="473" y="505"/>
                  </a:lnTo>
                  <a:lnTo>
                    <a:pt x="470" y="506"/>
                  </a:lnTo>
                  <a:lnTo>
                    <a:pt x="465" y="506"/>
                  </a:lnTo>
                  <a:lnTo>
                    <a:pt x="469" y="503"/>
                  </a:lnTo>
                  <a:lnTo>
                    <a:pt x="469" y="499"/>
                  </a:lnTo>
                  <a:lnTo>
                    <a:pt x="467" y="496"/>
                  </a:lnTo>
                  <a:lnTo>
                    <a:pt x="463" y="495"/>
                  </a:lnTo>
                  <a:lnTo>
                    <a:pt x="466" y="494"/>
                  </a:lnTo>
                  <a:close/>
                  <a:moveTo>
                    <a:pt x="421" y="484"/>
                  </a:moveTo>
                  <a:lnTo>
                    <a:pt x="429" y="486"/>
                  </a:lnTo>
                  <a:lnTo>
                    <a:pt x="431" y="488"/>
                  </a:lnTo>
                  <a:lnTo>
                    <a:pt x="428" y="489"/>
                  </a:lnTo>
                  <a:lnTo>
                    <a:pt x="424" y="487"/>
                  </a:lnTo>
                  <a:lnTo>
                    <a:pt x="421" y="484"/>
                  </a:lnTo>
                  <a:close/>
                  <a:moveTo>
                    <a:pt x="394" y="480"/>
                  </a:moveTo>
                  <a:lnTo>
                    <a:pt x="399" y="486"/>
                  </a:lnTo>
                  <a:lnTo>
                    <a:pt x="394" y="489"/>
                  </a:lnTo>
                  <a:lnTo>
                    <a:pt x="385" y="491"/>
                  </a:lnTo>
                  <a:lnTo>
                    <a:pt x="382" y="494"/>
                  </a:lnTo>
                  <a:lnTo>
                    <a:pt x="382" y="489"/>
                  </a:lnTo>
                  <a:lnTo>
                    <a:pt x="382" y="487"/>
                  </a:lnTo>
                  <a:lnTo>
                    <a:pt x="383" y="483"/>
                  </a:lnTo>
                  <a:lnTo>
                    <a:pt x="386" y="484"/>
                  </a:lnTo>
                  <a:lnTo>
                    <a:pt x="387" y="487"/>
                  </a:lnTo>
                  <a:lnTo>
                    <a:pt x="392" y="486"/>
                  </a:lnTo>
                  <a:lnTo>
                    <a:pt x="390" y="484"/>
                  </a:lnTo>
                  <a:lnTo>
                    <a:pt x="387" y="482"/>
                  </a:lnTo>
                  <a:lnTo>
                    <a:pt x="390" y="482"/>
                  </a:lnTo>
                  <a:lnTo>
                    <a:pt x="394" y="480"/>
                  </a:lnTo>
                  <a:close/>
                  <a:moveTo>
                    <a:pt x="634" y="478"/>
                  </a:moveTo>
                  <a:lnTo>
                    <a:pt x="634" y="481"/>
                  </a:lnTo>
                  <a:lnTo>
                    <a:pt x="631" y="482"/>
                  </a:lnTo>
                  <a:lnTo>
                    <a:pt x="628" y="483"/>
                  </a:lnTo>
                  <a:lnTo>
                    <a:pt x="627" y="480"/>
                  </a:lnTo>
                  <a:lnTo>
                    <a:pt x="630" y="479"/>
                  </a:lnTo>
                  <a:lnTo>
                    <a:pt x="634" y="478"/>
                  </a:lnTo>
                  <a:close/>
                  <a:moveTo>
                    <a:pt x="406" y="476"/>
                  </a:moveTo>
                  <a:lnTo>
                    <a:pt x="406" y="479"/>
                  </a:lnTo>
                  <a:lnTo>
                    <a:pt x="402" y="477"/>
                  </a:lnTo>
                  <a:lnTo>
                    <a:pt x="406" y="476"/>
                  </a:lnTo>
                  <a:close/>
                  <a:moveTo>
                    <a:pt x="445" y="474"/>
                  </a:moveTo>
                  <a:lnTo>
                    <a:pt x="442" y="480"/>
                  </a:lnTo>
                  <a:lnTo>
                    <a:pt x="440" y="483"/>
                  </a:lnTo>
                  <a:lnTo>
                    <a:pt x="440" y="477"/>
                  </a:lnTo>
                  <a:lnTo>
                    <a:pt x="442" y="475"/>
                  </a:lnTo>
                  <a:lnTo>
                    <a:pt x="445" y="474"/>
                  </a:lnTo>
                  <a:close/>
                  <a:moveTo>
                    <a:pt x="399" y="472"/>
                  </a:moveTo>
                  <a:lnTo>
                    <a:pt x="399" y="472"/>
                  </a:lnTo>
                  <a:lnTo>
                    <a:pt x="399" y="477"/>
                  </a:lnTo>
                  <a:lnTo>
                    <a:pt x="396" y="477"/>
                  </a:lnTo>
                  <a:lnTo>
                    <a:pt x="394" y="474"/>
                  </a:lnTo>
                  <a:lnTo>
                    <a:pt x="399" y="472"/>
                  </a:lnTo>
                  <a:close/>
                  <a:moveTo>
                    <a:pt x="453" y="466"/>
                  </a:moveTo>
                  <a:lnTo>
                    <a:pt x="456" y="469"/>
                  </a:lnTo>
                  <a:lnTo>
                    <a:pt x="459" y="470"/>
                  </a:lnTo>
                  <a:lnTo>
                    <a:pt x="461" y="470"/>
                  </a:lnTo>
                  <a:lnTo>
                    <a:pt x="460" y="474"/>
                  </a:lnTo>
                  <a:lnTo>
                    <a:pt x="460" y="477"/>
                  </a:lnTo>
                  <a:lnTo>
                    <a:pt x="451" y="473"/>
                  </a:lnTo>
                  <a:lnTo>
                    <a:pt x="450" y="470"/>
                  </a:lnTo>
                  <a:lnTo>
                    <a:pt x="453" y="466"/>
                  </a:lnTo>
                  <a:close/>
                  <a:moveTo>
                    <a:pt x="539" y="464"/>
                  </a:moveTo>
                  <a:lnTo>
                    <a:pt x="542" y="466"/>
                  </a:lnTo>
                  <a:lnTo>
                    <a:pt x="538" y="468"/>
                  </a:lnTo>
                  <a:lnTo>
                    <a:pt x="535" y="469"/>
                  </a:lnTo>
                  <a:lnTo>
                    <a:pt x="534" y="473"/>
                  </a:lnTo>
                  <a:lnTo>
                    <a:pt x="534" y="476"/>
                  </a:lnTo>
                  <a:lnTo>
                    <a:pt x="531" y="476"/>
                  </a:lnTo>
                  <a:lnTo>
                    <a:pt x="528" y="473"/>
                  </a:lnTo>
                  <a:lnTo>
                    <a:pt x="527" y="470"/>
                  </a:lnTo>
                  <a:lnTo>
                    <a:pt x="530" y="469"/>
                  </a:lnTo>
                  <a:lnTo>
                    <a:pt x="533" y="470"/>
                  </a:lnTo>
                  <a:lnTo>
                    <a:pt x="536" y="468"/>
                  </a:lnTo>
                  <a:lnTo>
                    <a:pt x="536" y="465"/>
                  </a:lnTo>
                  <a:lnTo>
                    <a:pt x="539" y="464"/>
                  </a:lnTo>
                  <a:close/>
                  <a:moveTo>
                    <a:pt x="610" y="462"/>
                  </a:moveTo>
                  <a:lnTo>
                    <a:pt x="612" y="464"/>
                  </a:lnTo>
                  <a:lnTo>
                    <a:pt x="615" y="467"/>
                  </a:lnTo>
                  <a:lnTo>
                    <a:pt x="617" y="466"/>
                  </a:lnTo>
                  <a:lnTo>
                    <a:pt x="617" y="469"/>
                  </a:lnTo>
                  <a:lnTo>
                    <a:pt x="615" y="470"/>
                  </a:lnTo>
                  <a:lnTo>
                    <a:pt x="611" y="466"/>
                  </a:lnTo>
                  <a:lnTo>
                    <a:pt x="608" y="468"/>
                  </a:lnTo>
                  <a:lnTo>
                    <a:pt x="605" y="465"/>
                  </a:lnTo>
                  <a:lnTo>
                    <a:pt x="608" y="462"/>
                  </a:lnTo>
                  <a:lnTo>
                    <a:pt x="610" y="462"/>
                  </a:lnTo>
                  <a:close/>
                  <a:moveTo>
                    <a:pt x="594" y="452"/>
                  </a:moveTo>
                  <a:lnTo>
                    <a:pt x="596" y="455"/>
                  </a:lnTo>
                  <a:lnTo>
                    <a:pt x="595" y="457"/>
                  </a:lnTo>
                  <a:lnTo>
                    <a:pt x="591" y="457"/>
                  </a:lnTo>
                  <a:lnTo>
                    <a:pt x="591" y="455"/>
                  </a:lnTo>
                  <a:lnTo>
                    <a:pt x="594" y="452"/>
                  </a:lnTo>
                  <a:close/>
                  <a:moveTo>
                    <a:pt x="401" y="452"/>
                  </a:moveTo>
                  <a:lnTo>
                    <a:pt x="405" y="453"/>
                  </a:lnTo>
                  <a:lnTo>
                    <a:pt x="409" y="457"/>
                  </a:lnTo>
                  <a:lnTo>
                    <a:pt x="411" y="459"/>
                  </a:lnTo>
                  <a:lnTo>
                    <a:pt x="408" y="465"/>
                  </a:lnTo>
                  <a:lnTo>
                    <a:pt x="405" y="461"/>
                  </a:lnTo>
                  <a:lnTo>
                    <a:pt x="404" y="457"/>
                  </a:lnTo>
                  <a:lnTo>
                    <a:pt x="402" y="455"/>
                  </a:lnTo>
                  <a:lnTo>
                    <a:pt x="401" y="452"/>
                  </a:lnTo>
                  <a:close/>
                  <a:moveTo>
                    <a:pt x="287" y="452"/>
                  </a:moveTo>
                  <a:lnTo>
                    <a:pt x="288" y="455"/>
                  </a:lnTo>
                  <a:lnTo>
                    <a:pt x="285" y="454"/>
                  </a:lnTo>
                  <a:lnTo>
                    <a:pt x="283" y="452"/>
                  </a:lnTo>
                  <a:lnTo>
                    <a:pt x="287" y="452"/>
                  </a:lnTo>
                  <a:close/>
                  <a:moveTo>
                    <a:pt x="477" y="450"/>
                  </a:moveTo>
                  <a:lnTo>
                    <a:pt x="479" y="453"/>
                  </a:lnTo>
                  <a:lnTo>
                    <a:pt x="476" y="453"/>
                  </a:lnTo>
                  <a:lnTo>
                    <a:pt x="477" y="450"/>
                  </a:lnTo>
                  <a:close/>
                  <a:moveTo>
                    <a:pt x="673" y="449"/>
                  </a:moveTo>
                  <a:lnTo>
                    <a:pt x="675" y="451"/>
                  </a:lnTo>
                  <a:lnTo>
                    <a:pt x="676" y="456"/>
                  </a:lnTo>
                  <a:lnTo>
                    <a:pt x="675" y="461"/>
                  </a:lnTo>
                  <a:lnTo>
                    <a:pt x="673" y="464"/>
                  </a:lnTo>
                  <a:lnTo>
                    <a:pt x="674" y="468"/>
                  </a:lnTo>
                  <a:lnTo>
                    <a:pt x="672" y="474"/>
                  </a:lnTo>
                  <a:lnTo>
                    <a:pt x="670" y="476"/>
                  </a:lnTo>
                  <a:lnTo>
                    <a:pt x="668" y="482"/>
                  </a:lnTo>
                  <a:lnTo>
                    <a:pt x="671" y="484"/>
                  </a:lnTo>
                  <a:lnTo>
                    <a:pt x="672" y="487"/>
                  </a:lnTo>
                  <a:lnTo>
                    <a:pt x="668" y="487"/>
                  </a:lnTo>
                  <a:lnTo>
                    <a:pt x="664" y="488"/>
                  </a:lnTo>
                  <a:lnTo>
                    <a:pt x="662" y="491"/>
                  </a:lnTo>
                  <a:lnTo>
                    <a:pt x="659" y="499"/>
                  </a:lnTo>
                  <a:lnTo>
                    <a:pt x="657" y="502"/>
                  </a:lnTo>
                  <a:lnTo>
                    <a:pt x="655" y="505"/>
                  </a:lnTo>
                  <a:lnTo>
                    <a:pt x="652" y="508"/>
                  </a:lnTo>
                  <a:lnTo>
                    <a:pt x="649" y="507"/>
                  </a:lnTo>
                  <a:lnTo>
                    <a:pt x="646" y="504"/>
                  </a:lnTo>
                  <a:lnTo>
                    <a:pt x="647" y="495"/>
                  </a:lnTo>
                  <a:lnTo>
                    <a:pt x="647" y="490"/>
                  </a:lnTo>
                  <a:lnTo>
                    <a:pt x="642" y="487"/>
                  </a:lnTo>
                  <a:lnTo>
                    <a:pt x="640" y="485"/>
                  </a:lnTo>
                  <a:lnTo>
                    <a:pt x="644" y="481"/>
                  </a:lnTo>
                  <a:lnTo>
                    <a:pt x="646" y="478"/>
                  </a:lnTo>
                  <a:lnTo>
                    <a:pt x="646" y="475"/>
                  </a:lnTo>
                  <a:lnTo>
                    <a:pt x="647" y="472"/>
                  </a:lnTo>
                  <a:lnTo>
                    <a:pt x="650" y="470"/>
                  </a:lnTo>
                  <a:lnTo>
                    <a:pt x="652" y="466"/>
                  </a:lnTo>
                  <a:lnTo>
                    <a:pt x="656" y="462"/>
                  </a:lnTo>
                  <a:lnTo>
                    <a:pt x="664" y="456"/>
                  </a:lnTo>
                  <a:lnTo>
                    <a:pt x="667" y="453"/>
                  </a:lnTo>
                  <a:lnTo>
                    <a:pt x="671" y="452"/>
                  </a:lnTo>
                  <a:lnTo>
                    <a:pt x="673" y="449"/>
                  </a:lnTo>
                  <a:close/>
                  <a:moveTo>
                    <a:pt x="432" y="447"/>
                  </a:moveTo>
                  <a:lnTo>
                    <a:pt x="432" y="452"/>
                  </a:lnTo>
                  <a:lnTo>
                    <a:pt x="433" y="454"/>
                  </a:lnTo>
                  <a:lnTo>
                    <a:pt x="430" y="452"/>
                  </a:lnTo>
                  <a:lnTo>
                    <a:pt x="429" y="449"/>
                  </a:lnTo>
                  <a:lnTo>
                    <a:pt x="432" y="447"/>
                  </a:lnTo>
                  <a:close/>
                  <a:moveTo>
                    <a:pt x="501" y="443"/>
                  </a:moveTo>
                  <a:lnTo>
                    <a:pt x="505" y="444"/>
                  </a:lnTo>
                  <a:lnTo>
                    <a:pt x="508" y="445"/>
                  </a:lnTo>
                  <a:lnTo>
                    <a:pt x="505" y="446"/>
                  </a:lnTo>
                  <a:lnTo>
                    <a:pt x="502" y="448"/>
                  </a:lnTo>
                  <a:lnTo>
                    <a:pt x="499" y="451"/>
                  </a:lnTo>
                  <a:lnTo>
                    <a:pt x="496" y="456"/>
                  </a:lnTo>
                  <a:lnTo>
                    <a:pt x="490" y="460"/>
                  </a:lnTo>
                  <a:lnTo>
                    <a:pt x="487" y="461"/>
                  </a:lnTo>
                  <a:lnTo>
                    <a:pt x="487" y="459"/>
                  </a:lnTo>
                  <a:lnTo>
                    <a:pt x="490" y="458"/>
                  </a:lnTo>
                  <a:lnTo>
                    <a:pt x="493" y="456"/>
                  </a:lnTo>
                  <a:lnTo>
                    <a:pt x="492" y="453"/>
                  </a:lnTo>
                  <a:lnTo>
                    <a:pt x="500" y="446"/>
                  </a:lnTo>
                  <a:lnTo>
                    <a:pt x="501" y="443"/>
                  </a:lnTo>
                  <a:close/>
                  <a:moveTo>
                    <a:pt x="386" y="441"/>
                  </a:moveTo>
                  <a:lnTo>
                    <a:pt x="389" y="441"/>
                  </a:lnTo>
                  <a:lnTo>
                    <a:pt x="390" y="443"/>
                  </a:lnTo>
                  <a:lnTo>
                    <a:pt x="390" y="447"/>
                  </a:lnTo>
                  <a:lnTo>
                    <a:pt x="388" y="449"/>
                  </a:lnTo>
                  <a:lnTo>
                    <a:pt x="385" y="447"/>
                  </a:lnTo>
                  <a:lnTo>
                    <a:pt x="382" y="449"/>
                  </a:lnTo>
                  <a:lnTo>
                    <a:pt x="382" y="446"/>
                  </a:lnTo>
                  <a:lnTo>
                    <a:pt x="382" y="443"/>
                  </a:lnTo>
                  <a:lnTo>
                    <a:pt x="386" y="441"/>
                  </a:lnTo>
                  <a:close/>
                  <a:moveTo>
                    <a:pt x="642" y="439"/>
                  </a:moveTo>
                  <a:lnTo>
                    <a:pt x="641" y="441"/>
                  </a:lnTo>
                  <a:lnTo>
                    <a:pt x="645" y="440"/>
                  </a:lnTo>
                  <a:lnTo>
                    <a:pt x="646" y="443"/>
                  </a:lnTo>
                  <a:lnTo>
                    <a:pt x="646" y="446"/>
                  </a:lnTo>
                  <a:lnTo>
                    <a:pt x="645" y="449"/>
                  </a:lnTo>
                  <a:lnTo>
                    <a:pt x="641" y="447"/>
                  </a:lnTo>
                  <a:lnTo>
                    <a:pt x="638" y="446"/>
                  </a:lnTo>
                  <a:lnTo>
                    <a:pt x="639" y="443"/>
                  </a:lnTo>
                  <a:lnTo>
                    <a:pt x="642" y="439"/>
                  </a:lnTo>
                  <a:close/>
                  <a:moveTo>
                    <a:pt x="317" y="438"/>
                  </a:moveTo>
                  <a:lnTo>
                    <a:pt x="314" y="440"/>
                  </a:lnTo>
                  <a:lnTo>
                    <a:pt x="311" y="441"/>
                  </a:lnTo>
                  <a:lnTo>
                    <a:pt x="311" y="444"/>
                  </a:lnTo>
                  <a:lnTo>
                    <a:pt x="308" y="444"/>
                  </a:lnTo>
                  <a:lnTo>
                    <a:pt x="304" y="446"/>
                  </a:lnTo>
                  <a:lnTo>
                    <a:pt x="308" y="441"/>
                  </a:lnTo>
                  <a:lnTo>
                    <a:pt x="313" y="439"/>
                  </a:lnTo>
                  <a:lnTo>
                    <a:pt x="317" y="438"/>
                  </a:lnTo>
                  <a:close/>
                  <a:moveTo>
                    <a:pt x="445" y="434"/>
                  </a:moveTo>
                  <a:lnTo>
                    <a:pt x="445" y="437"/>
                  </a:lnTo>
                  <a:lnTo>
                    <a:pt x="445" y="440"/>
                  </a:lnTo>
                  <a:lnTo>
                    <a:pt x="446" y="443"/>
                  </a:lnTo>
                  <a:lnTo>
                    <a:pt x="445" y="446"/>
                  </a:lnTo>
                  <a:lnTo>
                    <a:pt x="442" y="450"/>
                  </a:lnTo>
                  <a:lnTo>
                    <a:pt x="438" y="451"/>
                  </a:lnTo>
                  <a:lnTo>
                    <a:pt x="435" y="449"/>
                  </a:lnTo>
                  <a:lnTo>
                    <a:pt x="434" y="445"/>
                  </a:lnTo>
                  <a:lnTo>
                    <a:pt x="437" y="441"/>
                  </a:lnTo>
                  <a:lnTo>
                    <a:pt x="438" y="438"/>
                  </a:lnTo>
                  <a:lnTo>
                    <a:pt x="442" y="435"/>
                  </a:lnTo>
                  <a:lnTo>
                    <a:pt x="445" y="434"/>
                  </a:lnTo>
                  <a:close/>
                  <a:moveTo>
                    <a:pt x="486" y="427"/>
                  </a:moveTo>
                  <a:lnTo>
                    <a:pt x="486" y="428"/>
                  </a:lnTo>
                  <a:lnTo>
                    <a:pt x="483" y="429"/>
                  </a:lnTo>
                  <a:lnTo>
                    <a:pt x="486" y="427"/>
                  </a:lnTo>
                  <a:close/>
                  <a:moveTo>
                    <a:pt x="464" y="426"/>
                  </a:moveTo>
                  <a:lnTo>
                    <a:pt x="467" y="429"/>
                  </a:lnTo>
                  <a:lnTo>
                    <a:pt x="470" y="434"/>
                  </a:lnTo>
                  <a:lnTo>
                    <a:pt x="470" y="440"/>
                  </a:lnTo>
                  <a:lnTo>
                    <a:pt x="469" y="446"/>
                  </a:lnTo>
                  <a:lnTo>
                    <a:pt x="464" y="451"/>
                  </a:lnTo>
                  <a:lnTo>
                    <a:pt x="461" y="453"/>
                  </a:lnTo>
                  <a:lnTo>
                    <a:pt x="459" y="449"/>
                  </a:lnTo>
                  <a:lnTo>
                    <a:pt x="456" y="447"/>
                  </a:lnTo>
                  <a:lnTo>
                    <a:pt x="455" y="445"/>
                  </a:lnTo>
                  <a:lnTo>
                    <a:pt x="453" y="441"/>
                  </a:lnTo>
                  <a:lnTo>
                    <a:pt x="451" y="439"/>
                  </a:lnTo>
                  <a:lnTo>
                    <a:pt x="455" y="435"/>
                  </a:lnTo>
                  <a:lnTo>
                    <a:pt x="459" y="430"/>
                  </a:lnTo>
                  <a:lnTo>
                    <a:pt x="461" y="427"/>
                  </a:lnTo>
                  <a:lnTo>
                    <a:pt x="464" y="426"/>
                  </a:lnTo>
                  <a:close/>
                  <a:moveTo>
                    <a:pt x="595" y="425"/>
                  </a:moveTo>
                  <a:lnTo>
                    <a:pt x="601" y="426"/>
                  </a:lnTo>
                  <a:lnTo>
                    <a:pt x="600" y="429"/>
                  </a:lnTo>
                  <a:lnTo>
                    <a:pt x="593" y="433"/>
                  </a:lnTo>
                  <a:lnTo>
                    <a:pt x="591" y="435"/>
                  </a:lnTo>
                  <a:lnTo>
                    <a:pt x="588" y="440"/>
                  </a:lnTo>
                  <a:lnTo>
                    <a:pt x="584" y="441"/>
                  </a:lnTo>
                  <a:lnTo>
                    <a:pt x="582" y="440"/>
                  </a:lnTo>
                  <a:lnTo>
                    <a:pt x="578" y="443"/>
                  </a:lnTo>
                  <a:lnTo>
                    <a:pt x="578" y="446"/>
                  </a:lnTo>
                  <a:lnTo>
                    <a:pt x="577" y="449"/>
                  </a:lnTo>
                  <a:lnTo>
                    <a:pt x="574" y="449"/>
                  </a:lnTo>
                  <a:lnTo>
                    <a:pt x="573" y="445"/>
                  </a:lnTo>
                  <a:lnTo>
                    <a:pt x="575" y="441"/>
                  </a:lnTo>
                  <a:lnTo>
                    <a:pt x="578" y="441"/>
                  </a:lnTo>
                  <a:lnTo>
                    <a:pt x="579" y="438"/>
                  </a:lnTo>
                  <a:lnTo>
                    <a:pt x="581" y="434"/>
                  </a:lnTo>
                  <a:lnTo>
                    <a:pt x="588" y="428"/>
                  </a:lnTo>
                  <a:lnTo>
                    <a:pt x="595" y="425"/>
                  </a:lnTo>
                  <a:close/>
                  <a:moveTo>
                    <a:pt x="306" y="423"/>
                  </a:moveTo>
                  <a:lnTo>
                    <a:pt x="309" y="425"/>
                  </a:lnTo>
                  <a:lnTo>
                    <a:pt x="309" y="426"/>
                  </a:lnTo>
                  <a:lnTo>
                    <a:pt x="305" y="427"/>
                  </a:lnTo>
                  <a:lnTo>
                    <a:pt x="306" y="423"/>
                  </a:lnTo>
                  <a:close/>
                  <a:moveTo>
                    <a:pt x="98" y="420"/>
                  </a:moveTo>
                  <a:lnTo>
                    <a:pt x="100" y="425"/>
                  </a:lnTo>
                  <a:lnTo>
                    <a:pt x="102" y="427"/>
                  </a:lnTo>
                  <a:lnTo>
                    <a:pt x="107" y="427"/>
                  </a:lnTo>
                  <a:lnTo>
                    <a:pt x="110" y="428"/>
                  </a:lnTo>
                  <a:lnTo>
                    <a:pt x="113" y="429"/>
                  </a:lnTo>
                  <a:lnTo>
                    <a:pt x="116" y="434"/>
                  </a:lnTo>
                  <a:lnTo>
                    <a:pt x="121" y="436"/>
                  </a:lnTo>
                  <a:lnTo>
                    <a:pt x="122" y="439"/>
                  </a:lnTo>
                  <a:lnTo>
                    <a:pt x="119" y="437"/>
                  </a:lnTo>
                  <a:lnTo>
                    <a:pt x="115" y="437"/>
                  </a:lnTo>
                  <a:lnTo>
                    <a:pt x="112" y="439"/>
                  </a:lnTo>
                  <a:lnTo>
                    <a:pt x="112" y="442"/>
                  </a:lnTo>
                  <a:lnTo>
                    <a:pt x="109" y="445"/>
                  </a:lnTo>
                  <a:lnTo>
                    <a:pt x="107" y="442"/>
                  </a:lnTo>
                  <a:lnTo>
                    <a:pt x="102" y="440"/>
                  </a:lnTo>
                  <a:lnTo>
                    <a:pt x="99" y="437"/>
                  </a:lnTo>
                  <a:lnTo>
                    <a:pt x="94" y="432"/>
                  </a:lnTo>
                  <a:lnTo>
                    <a:pt x="92" y="429"/>
                  </a:lnTo>
                  <a:lnTo>
                    <a:pt x="95" y="422"/>
                  </a:lnTo>
                  <a:lnTo>
                    <a:pt x="98" y="420"/>
                  </a:lnTo>
                  <a:close/>
                  <a:moveTo>
                    <a:pt x="564" y="415"/>
                  </a:moveTo>
                  <a:lnTo>
                    <a:pt x="572" y="416"/>
                  </a:lnTo>
                  <a:lnTo>
                    <a:pt x="571" y="417"/>
                  </a:lnTo>
                  <a:lnTo>
                    <a:pt x="575" y="420"/>
                  </a:lnTo>
                  <a:lnTo>
                    <a:pt x="577" y="420"/>
                  </a:lnTo>
                  <a:lnTo>
                    <a:pt x="578" y="422"/>
                  </a:lnTo>
                  <a:lnTo>
                    <a:pt x="574" y="425"/>
                  </a:lnTo>
                  <a:lnTo>
                    <a:pt x="572" y="428"/>
                  </a:lnTo>
                  <a:lnTo>
                    <a:pt x="569" y="427"/>
                  </a:lnTo>
                  <a:lnTo>
                    <a:pt x="569" y="423"/>
                  </a:lnTo>
                  <a:lnTo>
                    <a:pt x="570" y="420"/>
                  </a:lnTo>
                  <a:lnTo>
                    <a:pt x="567" y="417"/>
                  </a:lnTo>
                  <a:lnTo>
                    <a:pt x="564" y="415"/>
                  </a:lnTo>
                  <a:close/>
                  <a:moveTo>
                    <a:pt x="378" y="415"/>
                  </a:moveTo>
                  <a:lnTo>
                    <a:pt x="378" y="418"/>
                  </a:lnTo>
                  <a:lnTo>
                    <a:pt x="381" y="420"/>
                  </a:lnTo>
                  <a:lnTo>
                    <a:pt x="382" y="423"/>
                  </a:lnTo>
                  <a:lnTo>
                    <a:pt x="380" y="428"/>
                  </a:lnTo>
                  <a:lnTo>
                    <a:pt x="377" y="432"/>
                  </a:lnTo>
                  <a:lnTo>
                    <a:pt x="376" y="430"/>
                  </a:lnTo>
                  <a:lnTo>
                    <a:pt x="377" y="426"/>
                  </a:lnTo>
                  <a:lnTo>
                    <a:pt x="376" y="422"/>
                  </a:lnTo>
                  <a:lnTo>
                    <a:pt x="375" y="418"/>
                  </a:lnTo>
                  <a:lnTo>
                    <a:pt x="378" y="415"/>
                  </a:lnTo>
                  <a:close/>
                  <a:moveTo>
                    <a:pt x="412" y="406"/>
                  </a:moveTo>
                  <a:lnTo>
                    <a:pt x="415" y="407"/>
                  </a:lnTo>
                  <a:lnTo>
                    <a:pt x="416" y="409"/>
                  </a:lnTo>
                  <a:lnTo>
                    <a:pt x="416" y="412"/>
                  </a:lnTo>
                  <a:lnTo>
                    <a:pt x="418" y="415"/>
                  </a:lnTo>
                  <a:lnTo>
                    <a:pt x="414" y="419"/>
                  </a:lnTo>
                  <a:lnTo>
                    <a:pt x="411" y="416"/>
                  </a:lnTo>
                  <a:lnTo>
                    <a:pt x="413" y="412"/>
                  </a:lnTo>
                  <a:lnTo>
                    <a:pt x="412" y="409"/>
                  </a:lnTo>
                  <a:lnTo>
                    <a:pt x="412" y="406"/>
                  </a:lnTo>
                  <a:close/>
                  <a:moveTo>
                    <a:pt x="556" y="405"/>
                  </a:moveTo>
                  <a:lnTo>
                    <a:pt x="557" y="405"/>
                  </a:lnTo>
                  <a:lnTo>
                    <a:pt x="560" y="408"/>
                  </a:lnTo>
                  <a:lnTo>
                    <a:pt x="563" y="410"/>
                  </a:lnTo>
                  <a:lnTo>
                    <a:pt x="563" y="413"/>
                  </a:lnTo>
                  <a:lnTo>
                    <a:pt x="560" y="413"/>
                  </a:lnTo>
                  <a:lnTo>
                    <a:pt x="558" y="411"/>
                  </a:lnTo>
                  <a:lnTo>
                    <a:pt x="555" y="408"/>
                  </a:lnTo>
                  <a:lnTo>
                    <a:pt x="556" y="405"/>
                  </a:lnTo>
                  <a:close/>
                  <a:moveTo>
                    <a:pt x="308" y="401"/>
                  </a:moveTo>
                  <a:lnTo>
                    <a:pt x="308" y="404"/>
                  </a:lnTo>
                  <a:lnTo>
                    <a:pt x="308" y="407"/>
                  </a:lnTo>
                  <a:lnTo>
                    <a:pt x="306" y="410"/>
                  </a:lnTo>
                  <a:lnTo>
                    <a:pt x="303" y="410"/>
                  </a:lnTo>
                  <a:lnTo>
                    <a:pt x="303" y="407"/>
                  </a:lnTo>
                  <a:lnTo>
                    <a:pt x="300" y="404"/>
                  </a:lnTo>
                  <a:lnTo>
                    <a:pt x="308" y="401"/>
                  </a:lnTo>
                  <a:close/>
                  <a:moveTo>
                    <a:pt x="444" y="400"/>
                  </a:moveTo>
                  <a:lnTo>
                    <a:pt x="447" y="403"/>
                  </a:lnTo>
                  <a:lnTo>
                    <a:pt x="450" y="401"/>
                  </a:lnTo>
                  <a:lnTo>
                    <a:pt x="453" y="402"/>
                  </a:lnTo>
                  <a:lnTo>
                    <a:pt x="452" y="405"/>
                  </a:lnTo>
                  <a:lnTo>
                    <a:pt x="450" y="407"/>
                  </a:lnTo>
                  <a:lnTo>
                    <a:pt x="443" y="409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4" y="400"/>
                  </a:lnTo>
                  <a:close/>
                  <a:moveTo>
                    <a:pt x="368" y="398"/>
                  </a:moveTo>
                  <a:lnTo>
                    <a:pt x="373" y="400"/>
                  </a:lnTo>
                  <a:lnTo>
                    <a:pt x="373" y="403"/>
                  </a:lnTo>
                  <a:lnTo>
                    <a:pt x="371" y="406"/>
                  </a:lnTo>
                  <a:lnTo>
                    <a:pt x="368" y="412"/>
                  </a:lnTo>
                  <a:lnTo>
                    <a:pt x="365" y="413"/>
                  </a:lnTo>
                  <a:lnTo>
                    <a:pt x="365" y="407"/>
                  </a:lnTo>
                  <a:lnTo>
                    <a:pt x="365" y="403"/>
                  </a:lnTo>
                  <a:lnTo>
                    <a:pt x="367" y="400"/>
                  </a:lnTo>
                  <a:lnTo>
                    <a:pt x="368" y="398"/>
                  </a:lnTo>
                  <a:close/>
                  <a:moveTo>
                    <a:pt x="397" y="398"/>
                  </a:moveTo>
                  <a:lnTo>
                    <a:pt x="399" y="401"/>
                  </a:lnTo>
                  <a:lnTo>
                    <a:pt x="393" y="401"/>
                  </a:lnTo>
                  <a:lnTo>
                    <a:pt x="397" y="398"/>
                  </a:lnTo>
                  <a:close/>
                  <a:moveTo>
                    <a:pt x="535" y="393"/>
                  </a:moveTo>
                  <a:lnTo>
                    <a:pt x="539" y="396"/>
                  </a:lnTo>
                  <a:lnTo>
                    <a:pt x="536" y="396"/>
                  </a:lnTo>
                  <a:lnTo>
                    <a:pt x="536" y="399"/>
                  </a:lnTo>
                  <a:lnTo>
                    <a:pt x="537" y="402"/>
                  </a:lnTo>
                  <a:lnTo>
                    <a:pt x="534" y="401"/>
                  </a:lnTo>
                  <a:lnTo>
                    <a:pt x="534" y="398"/>
                  </a:lnTo>
                  <a:lnTo>
                    <a:pt x="533" y="395"/>
                  </a:lnTo>
                  <a:lnTo>
                    <a:pt x="535" y="393"/>
                  </a:lnTo>
                  <a:close/>
                  <a:moveTo>
                    <a:pt x="420" y="389"/>
                  </a:moveTo>
                  <a:lnTo>
                    <a:pt x="423" y="391"/>
                  </a:lnTo>
                  <a:lnTo>
                    <a:pt x="426" y="390"/>
                  </a:lnTo>
                  <a:lnTo>
                    <a:pt x="429" y="390"/>
                  </a:lnTo>
                  <a:lnTo>
                    <a:pt x="433" y="391"/>
                  </a:lnTo>
                  <a:lnTo>
                    <a:pt x="436" y="393"/>
                  </a:lnTo>
                  <a:lnTo>
                    <a:pt x="435" y="397"/>
                  </a:lnTo>
                  <a:lnTo>
                    <a:pt x="434" y="400"/>
                  </a:lnTo>
                  <a:lnTo>
                    <a:pt x="431" y="400"/>
                  </a:lnTo>
                  <a:lnTo>
                    <a:pt x="427" y="399"/>
                  </a:lnTo>
                  <a:lnTo>
                    <a:pt x="424" y="397"/>
                  </a:lnTo>
                  <a:lnTo>
                    <a:pt x="421" y="395"/>
                  </a:lnTo>
                  <a:lnTo>
                    <a:pt x="418" y="394"/>
                  </a:lnTo>
                  <a:lnTo>
                    <a:pt x="415" y="391"/>
                  </a:lnTo>
                  <a:lnTo>
                    <a:pt x="420" y="389"/>
                  </a:lnTo>
                  <a:close/>
                  <a:moveTo>
                    <a:pt x="303" y="381"/>
                  </a:moveTo>
                  <a:lnTo>
                    <a:pt x="304" y="383"/>
                  </a:lnTo>
                  <a:lnTo>
                    <a:pt x="308" y="385"/>
                  </a:lnTo>
                  <a:lnTo>
                    <a:pt x="304" y="389"/>
                  </a:lnTo>
                  <a:lnTo>
                    <a:pt x="302" y="391"/>
                  </a:lnTo>
                  <a:lnTo>
                    <a:pt x="297" y="392"/>
                  </a:lnTo>
                  <a:lnTo>
                    <a:pt x="296" y="389"/>
                  </a:lnTo>
                  <a:lnTo>
                    <a:pt x="300" y="388"/>
                  </a:lnTo>
                  <a:lnTo>
                    <a:pt x="302" y="384"/>
                  </a:lnTo>
                  <a:lnTo>
                    <a:pt x="299" y="386"/>
                  </a:lnTo>
                  <a:lnTo>
                    <a:pt x="297" y="386"/>
                  </a:lnTo>
                  <a:lnTo>
                    <a:pt x="297" y="383"/>
                  </a:lnTo>
                  <a:lnTo>
                    <a:pt x="300" y="382"/>
                  </a:lnTo>
                  <a:lnTo>
                    <a:pt x="303" y="381"/>
                  </a:lnTo>
                  <a:close/>
                  <a:moveTo>
                    <a:pt x="82" y="372"/>
                  </a:moveTo>
                  <a:lnTo>
                    <a:pt x="87" y="382"/>
                  </a:lnTo>
                  <a:lnTo>
                    <a:pt x="87" y="385"/>
                  </a:lnTo>
                  <a:lnTo>
                    <a:pt x="88" y="391"/>
                  </a:lnTo>
                  <a:lnTo>
                    <a:pt x="91" y="389"/>
                  </a:lnTo>
                  <a:lnTo>
                    <a:pt x="94" y="392"/>
                  </a:lnTo>
                  <a:lnTo>
                    <a:pt x="98" y="395"/>
                  </a:lnTo>
                  <a:lnTo>
                    <a:pt x="102" y="401"/>
                  </a:lnTo>
                  <a:lnTo>
                    <a:pt x="103" y="403"/>
                  </a:lnTo>
                  <a:lnTo>
                    <a:pt x="103" y="407"/>
                  </a:lnTo>
                  <a:lnTo>
                    <a:pt x="100" y="407"/>
                  </a:lnTo>
                  <a:lnTo>
                    <a:pt x="97" y="407"/>
                  </a:lnTo>
                  <a:lnTo>
                    <a:pt x="94" y="405"/>
                  </a:lnTo>
                  <a:lnTo>
                    <a:pt x="89" y="404"/>
                  </a:lnTo>
                  <a:lnTo>
                    <a:pt x="86" y="407"/>
                  </a:lnTo>
                  <a:lnTo>
                    <a:pt x="81" y="405"/>
                  </a:lnTo>
                  <a:lnTo>
                    <a:pt x="80" y="402"/>
                  </a:lnTo>
                  <a:lnTo>
                    <a:pt x="78" y="399"/>
                  </a:lnTo>
                  <a:lnTo>
                    <a:pt x="81" y="400"/>
                  </a:lnTo>
                  <a:lnTo>
                    <a:pt x="78" y="397"/>
                  </a:lnTo>
                  <a:lnTo>
                    <a:pt x="76" y="392"/>
                  </a:lnTo>
                  <a:lnTo>
                    <a:pt x="75" y="397"/>
                  </a:lnTo>
                  <a:lnTo>
                    <a:pt x="75" y="400"/>
                  </a:lnTo>
                  <a:lnTo>
                    <a:pt x="72" y="403"/>
                  </a:lnTo>
                  <a:lnTo>
                    <a:pt x="69" y="401"/>
                  </a:lnTo>
                  <a:lnTo>
                    <a:pt x="69" y="397"/>
                  </a:lnTo>
                  <a:lnTo>
                    <a:pt x="69" y="394"/>
                  </a:lnTo>
                  <a:lnTo>
                    <a:pt x="71" y="389"/>
                  </a:lnTo>
                  <a:lnTo>
                    <a:pt x="71" y="386"/>
                  </a:lnTo>
                  <a:lnTo>
                    <a:pt x="71" y="384"/>
                  </a:lnTo>
                  <a:lnTo>
                    <a:pt x="74" y="386"/>
                  </a:lnTo>
                  <a:lnTo>
                    <a:pt x="77" y="388"/>
                  </a:lnTo>
                  <a:lnTo>
                    <a:pt x="80" y="385"/>
                  </a:lnTo>
                  <a:lnTo>
                    <a:pt x="81" y="381"/>
                  </a:lnTo>
                  <a:lnTo>
                    <a:pt x="80" y="377"/>
                  </a:lnTo>
                  <a:lnTo>
                    <a:pt x="80" y="374"/>
                  </a:lnTo>
                  <a:lnTo>
                    <a:pt x="82" y="372"/>
                  </a:lnTo>
                  <a:close/>
                  <a:moveTo>
                    <a:pt x="515" y="369"/>
                  </a:moveTo>
                  <a:lnTo>
                    <a:pt x="513" y="374"/>
                  </a:lnTo>
                  <a:lnTo>
                    <a:pt x="508" y="381"/>
                  </a:lnTo>
                  <a:lnTo>
                    <a:pt x="501" y="384"/>
                  </a:lnTo>
                  <a:lnTo>
                    <a:pt x="497" y="387"/>
                  </a:lnTo>
                  <a:lnTo>
                    <a:pt x="494" y="389"/>
                  </a:lnTo>
                  <a:lnTo>
                    <a:pt x="491" y="390"/>
                  </a:lnTo>
                  <a:lnTo>
                    <a:pt x="490" y="387"/>
                  </a:lnTo>
                  <a:lnTo>
                    <a:pt x="492" y="383"/>
                  </a:lnTo>
                  <a:lnTo>
                    <a:pt x="493" y="380"/>
                  </a:lnTo>
                  <a:lnTo>
                    <a:pt x="497" y="377"/>
                  </a:lnTo>
                  <a:lnTo>
                    <a:pt x="501" y="377"/>
                  </a:lnTo>
                  <a:lnTo>
                    <a:pt x="504" y="376"/>
                  </a:lnTo>
                  <a:lnTo>
                    <a:pt x="508" y="373"/>
                  </a:lnTo>
                  <a:lnTo>
                    <a:pt x="512" y="370"/>
                  </a:lnTo>
                  <a:lnTo>
                    <a:pt x="515" y="369"/>
                  </a:lnTo>
                  <a:close/>
                  <a:moveTo>
                    <a:pt x="87" y="369"/>
                  </a:moveTo>
                  <a:lnTo>
                    <a:pt x="89" y="370"/>
                  </a:lnTo>
                  <a:lnTo>
                    <a:pt x="91" y="373"/>
                  </a:lnTo>
                  <a:lnTo>
                    <a:pt x="91" y="377"/>
                  </a:lnTo>
                  <a:lnTo>
                    <a:pt x="90" y="380"/>
                  </a:lnTo>
                  <a:lnTo>
                    <a:pt x="93" y="380"/>
                  </a:lnTo>
                  <a:lnTo>
                    <a:pt x="96" y="379"/>
                  </a:lnTo>
                  <a:lnTo>
                    <a:pt x="96" y="383"/>
                  </a:lnTo>
                  <a:lnTo>
                    <a:pt x="93" y="385"/>
                  </a:lnTo>
                  <a:lnTo>
                    <a:pt x="91" y="381"/>
                  </a:lnTo>
                  <a:lnTo>
                    <a:pt x="88" y="377"/>
                  </a:lnTo>
                  <a:lnTo>
                    <a:pt x="87" y="375"/>
                  </a:lnTo>
                  <a:lnTo>
                    <a:pt x="85" y="372"/>
                  </a:lnTo>
                  <a:lnTo>
                    <a:pt x="87" y="369"/>
                  </a:lnTo>
                  <a:close/>
                  <a:moveTo>
                    <a:pt x="397" y="364"/>
                  </a:moveTo>
                  <a:lnTo>
                    <a:pt x="400" y="367"/>
                  </a:lnTo>
                  <a:lnTo>
                    <a:pt x="401" y="370"/>
                  </a:lnTo>
                  <a:lnTo>
                    <a:pt x="402" y="371"/>
                  </a:lnTo>
                  <a:lnTo>
                    <a:pt x="409" y="370"/>
                  </a:lnTo>
                  <a:lnTo>
                    <a:pt x="410" y="373"/>
                  </a:lnTo>
                  <a:lnTo>
                    <a:pt x="410" y="376"/>
                  </a:lnTo>
                  <a:lnTo>
                    <a:pt x="413" y="378"/>
                  </a:lnTo>
                  <a:lnTo>
                    <a:pt x="412" y="380"/>
                  </a:lnTo>
                  <a:lnTo>
                    <a:pt x="415" y="383"/>
                  </a:lnTo>
                  <a:lnTo>
                    <a:pt x="414" y="387"/>
                  </a:lnTo>
                  <a:lnTo>
                    <a:pt x="414" y="390"/>
                  </a:lnTo>
                  <a:lnTo>
                    <a:pt x="411" y="388"/>
                  </a:lnTo>
                  <a:lnTo>
                    <a:pt x="408" y="384"/>
                  </a:lnTo>
                  <a:lnTo>
                    <a:pt x="404" y="383"/>
                  </a:lnTo>
                  <a:lnTo>
                    <a:pt x="402" y="380"/>
                  </a:lnTo>
                  <a:lnTo>
                    <a:pt x="397" y="376"/>
                  </a:lnTo>
                  <a:lnTo>
                    <a:pt x="393" y="374"/>
                  </a:lnTo>
                  <a:lnTo>
                    <a:pt x="390" y="372"/>
                  </a:lnTo>
                  <a:lnTo>
                    <a:pt x="389" y="369"/>
                  </a:lnTo>
                  <a:lnTo>
                    <a:pt x="393" y="365"/>
                  </a:lnTo>
                  <a:lnTo>
                    <a:pt x="397" y="364"/>
                  </a:lnTo>
                  <a:close/>
                  <a:moveTo>
                    <a:pt x="107" y="357"/>
                  </a:moveTo>
                  <a:lnTo>
                    <a:pt x="106" y="362"/>
                  </a:lnTo>
                  <a:lnTo>
                    <a:pt x="106" y="360"/>
                  </a:lnTo>
                  <a:lnTo>
                    <a:pt x="107" y="357"/>
                  </a:lnTo>
                  <a:close/>
                  <a:moveTo>
                    <a:pt x="107" y="351"/>
                  </a:moveTo>
                  <a:lnTo>
                    <a:pt x="107" y="354"/>
                  </a:lnTo>
                  <a:lnTo>
                    <a:pt x="103" y="358"/>
                  </a:lnTo>
                  <a:lnTo>
                    <a:pt x="103" y="359"/>
                  </a:lnTo>
                  <a:lnTo>
                    <a:pt x="103" y="354"/>
                  </a:lnTo>
                  <a:lnTo>
                    <a:pt x="107" y="351"/>
                  </a:lnTo>
                  <a:close/>
                  <a:moveTo>
                    <a:pt x="95" y="351"/>
                  </a:moveTo>
                  <a:lnTo>
                    <a:pt x="95" y="351"/>
                  </a:lnTo>
                  <a:lnTo>
                    <a:pt x="94" y="354"/>
                  </a:lnTo>
                  <a:lnTo>
                    <a:pt x="95" y="357"/>
                  </a:lnTo>
                  <a:lnTo>
                    <a:pt x="92" y="353"/>
                  </a:lnTo>
                  <a:lnTo>
                    <a:pt x="95" y="351"/>
                  </a:lnTo>
                  <a:close/>
                  <a:moveTo>
                    <a:pt x="565" y="349"/>
                  </a:moveTo>
                  <a:lnTo>
                    <a:pt x="563" y="351"/>
                  </a:lnTo>
                  <a:lnTo>
                    <a:pt x="566" y="354"/>
                  </a:lnTo>
                  <a:lnTo>
                    <a:pt x="561" y="357"/>
                  </a:lnTo>
                  <a:lnTo>
                    <a:pt x="555" y="361"/>
                  </a:lnTo>
                  <a:lnTo>
                    <a:pt x="554" y="364"/>
                  </a:lnTo>
                  <a:lnTo>
                    <a:pt x="548" y="366"/>
                  </a:lnTo>
                  <a:lnTo>
                    <a:pt x="545" y="362"/>
                  </a:lnTo>
                  <a:lnTo>
                    <a:pt x="541" y="361"/>
                  </a:lnTo>
                  <a:lnTo>
                    <a:pt x="536" y="362"/>
                  </a:lnTo>
                  <a:lnTo>
                    <a:pt x="533" y="365"/>
                  </a:lnTo>
                  <a:lnTo>
                    <a:pt x="530" y="363"/>
                  </a:lnTo>
                  <a:lnTo>
                    <a:pt x="530" y="359"/>
                  </a:lnTo>
                  <a:lnTo>
                    <a:pt x="533" y="357"/>
                  </a:lnTo>
                  <a:lnTo>
                    <a:pt x="543" y="350"/>
                  </a:lnTo>
                  <a:lnTo>
                    <a:pt x="548" y="349"/>
                  </a:lnTo>
                  <a:lnTo>
                    <a:pt x="552" y="351"/>
                  </a:lnTo>
                  <a:lnTo>
                    <a:pt x="557" y="352"/>
                  </a:lnTo>
                  <a:lnTo>
                    <a:pt x="556" y="349"/>
                  </a:lnTo>
                  <a:lnTo>
                    <a:pt x="559" y="349"/>
                  </a:lnTo>
                  <a:lnTo>
                    <a:pt x="562" y="349"/>
                  </a:lnTo>
                  <a:lnTo>
                    <a:pt x="565" y="349"/>
                  </a:lnTo>
                  <a:close/>
                  <a:moveTo>
                    <a:pt x="86" y="336"/>
                  </a:moveTo>
                  <a:lnTo>
                    <a:pt x="89" y="339"/>
                  </a:lnTo>
                  <a:lnTo>
                    <a:pt x="89" y="343"/>
                  </a:lnTo>
                  <a:lnTo>
                    <a:pt x="90" y="346"/>
                  </a:lnTo>
                  <a:lnTo>
                    <a:pt x="89" y="349"/>
                  </a:lnTo>
                  <a:lnTo>
                    <a:pt x="89" y="351"/>
                  </a:lnTo>
                  <a:lnTo>
                    <a:pt x="91" y="355"/>
                  </a:lnTo>
                  <a:lnTo>
                    <a:pt x="88" y="358"/>
                  </a:lnTo>
                  <a:lnTo>
                    <a:pt x="85" y="360"/>
                  </a:lnTo>
                  <a:lnTo>
                    <a:pt x="82" y="358"/>
                  </a:lnTo>
                  <a:lnTo>
                    <a:pt x="80" y="361"/>
                  </a:lnTo>
                  <a:lnTo>
                    <a:pt x="79" y="351"/>
                  </a:lnTo>
                  <a:lnTo>
                    <a:pt x="80" y="348"/>
                  </a:lnTo>
                  <a:lnTo>
                    <a:pt x="80" y="343"/>
                  </a:lnTo>
                  <a:lnTo>
                    <a:pt x="82" y="339"/>
                  </a:lnTo>
                  <a:lnTo>
                    <a:pt x="86" y="336"/>
                  </a:lnTo>
                  <a:close/>
                  <a:moveTo>
                    <a:pt x="42" y="306"/>
                  </a:moveTo>
                  <a:lnTo>
                    <a:pt x="46" y="309"/>
                  </a:lnTo>
                  <a:lnTo>
                    <a:pt x="43" y="309"/>
                  </a:lnTo>
                  <a:lnTo>
                    <a:pt x="42" y="306"/>
                  </a:lnTo>
                  <a:close/>
                  <a:moveTo>
                    <a:pt x="443" y="296"/>
                  </a:moveTo>
                  <a:lnTo>
                    <a:pt x="446" y="299"/>
                  </a:lnTo>
                  <a:lnTo>
                    <a:pt x="446" y="302"/>
                  </a:lnTo>
                  <a:lnTo>
                    <a:pt x="442" y="304"/>
                  </a:lnTo>
                  <a:lnTo>
                    <a:pt x="442" y="301"/>
                  </a:lnTo>
                  <a:lnTo>
                    <a:pt x="439" y="299"/>
                  </a:lnTo>
                  <a:lnTo>
                    <a:pt x="441" y="297"/>
                  </a:lnTo>
                  <a:lnTo>
                    <a:pt x="443" y="296"/>
                  </a:lnTo>
                  <a:close/>
                  <a:moveTo>
                    <a:pt x="473" y="291"/>
                  </a:moveTo>
                  <a:lnTo>
                    <a:pt x="478" y="291"/>
                  </a:lnTo>
                  <a:lnTo>
                    <a:pt x="478" y="292"/>
                  </a:lnTo>
                  <a:lnTo>
                    <a:pt x="482" y="295"/>
                  </a:lnTo>
                  <a:lnTo>
                    <a:pt x="485" y="293"/>
                  </a:lnTo>
                  <a:lnTo>
                    <a:pt x="486" y="297"/>
                  </a:lnTo>
                  <a:lnTo>
                    <a:pt x="485" y="300"/>
                  </a:lnTo>
                  <a:lnTo>
                    <a:pt x="486" y="303"/>
                  </a:lnTo>
                  <a:lnTo>
                    <a:pt x="489" y="312"/>
                  </a:lnTo>
                  <a:lnTo>
                    <a:pt x="490" y="315"/>
                  </a:lnTo>
                  <a:lnTo>
                    <a:pt x="487" y="318"/>
                  </a:lnTo>
                  <a:lnTo>
                    <a:pt x="488" y="322"/>
                  </a:lnTo>
                  <a:lnTo>
                    <a:pt x="483" y="327"/>
                  </a:lnTo>
                  <a:lnTo>
                    <a:pt x="483" y="330"/>
                  </a:lnTo>
                  <a:lnTo>
                    <a:pt x="480" y="331"/>
                  </a:lnTo>
                  <a:lnTo>
                    <a:pt x="476" y="328"/>
                  </a:lnTo>
                  <a:lnTo>
                    <a:pt x="474" y="326"/>
                  </a:lnTo>
                  <a:lnTo>
                    <a:pt x="471" y="326"/>
                  </a:lnTo>
                  <a:lnTo>
                    <a:pt x="470" y="322"/>
                  </a:lnTo>
                  <a:lnTo>
                    <a:pt x="473" y="320"/>
                  </a:lnTo>
                  <a:lnTo>
                    <a:pt x="476" y="319"/>
                  </a:lnTo>
                  <a:lnTo>
                    <a:pt x="476" y="315"/>
                  </a:lnTo>
                  <a:lnTo>
                    <a:pt x="476" y="311"/>
                  </a:lnTo>
                  <a:lnTo>
                    <a:pt x="473" y="309"/>
                  </a:lnTo>
                  <a:lnTo>
                    <a:pt x="473" y="306"/>
                  </a:lnTo>
                  <a:lnTo>
                    <a:pt x="469" y="304"/>
                  </a:lnTo>
                  <a:lnTo>
                    <a:pt x="463" y="301"/>
                  </a:lnTo>
                  <a:lnTo>
                    <a:pt x="462" y="299"/>
                  </a:lnTo>
                  <a:lnTo>
                    <a:pt x="462" y="295"/>
                  </a:lnTo>
                  <a:lnTo>
                    <a:pt x="473" y="291"/>
                  </a:lnTo>
                  <a:close/>
                  <a:moveTo>
                    <a:pt x="273" y="289"/>
                  </a:moveTo>
                  <a:lnTo>
                    <a:pt x="277" y="290"/>
                  </a:lnTo>
                  <a:lnTo>
                    <a:pt x="278" y="293"/>
                  </a:lnTo>
                  <a:lnTo>
                    <a:pt x="282" y="295"/>
                  </a:lnTo>
                  <a:lnTo>
                    <a:pt x="284" y="300"/>
                  </a:lnTo>
                  <a:lnTo>
                    <a:pt x="286" y="304"/>
                  </a:lnTo>
                  <a:lnTo>
                    <a:pt x="291" y="306"/>
                  </a:lnTo>
                  <a:lnTo>
                    <a:pt x="295" y="308"/>
                  </a:lnTo>
                  <a:lnTo>
                    <a:pt x="298" y="309"/>
                  </a:lnTo>
                  <a:lnTo>
                    <a:pt x="301" y="310"/>
                  </a:lnTo>
                  <a:lnTo>
                    <a:pt x="305" y="309"/>
                  </a:lnTo>
                  <a:lnTo>
                    <a:pt x="308" y="310"/>
                  </a:lnTo>
                  <a:lnTo>
                    <a:pt x="309" y="312"/>
                  </a:lnTo>
                  <a:lnTo>
                    <a:pt x="314" y="314"/>
                  </a:lnTo>
                  <a:lnTo>
                    <a:pt x="317" y="314"/>
                  </a:lnTo>
                  <a:lnTo>
                    <a:pt x="321" y="314"/>
                  </a:lnTo>
                  <a:lnTo>
                    <a:pt x="325" y="314"/>
                  </a:lnTo>
                  <a:lnTo>
                    <a:pt x="327" y="312"/>
                  </a:lnTo>
                  <a:lnTo>
                    <a:pt x="330" y="312"/>
                  </a:lnTo>
                  <a:lnTo>
                    <a:pt x="333" y="312"/>
                  </a:lnTo>
                  <a:lnTo>
                    <a:pt x="338" y="312"/>
                  </a:lnTo>
                  <a:lnTo>
                    <a:pt x="338" y="316"/>
                  </a:lnTo>
                  <a:lnTo>
                    <a:pt x="346" y="322"/>
                  </a:lnTo>
                  <a:lnTo>
                    <a:pt x="346" y="325"/>
                  </a:lnTo>
                  <a:lnTo>
                    <a:pt x="345" y="328"/>
                  </a:lnTo>
                  <a:lnTo>
                    <a:pt x="345" y="332"/>
                  </a:lnTo>
                  <a:lnTo>
                    <a:pt x="346" y="334"/>
                  </a:lnTo>
                  <a:lnTo>
                    <a:pt x="348" y="337"/>
                  </a:lnTo>
                  <a:lnTo>
                    <a:pt x="349" y="341"/>
                  </a:lnTo>
                  <a:lnTo>
                    <a:pt x="351" y="343"/>
                  </a:lnTo>
                  <a:lnTo>
                    <a:pt x="352" y="346"/>
                  </a:lnTo>
                  <a:lnTo>
                    <a:pt x="353" y="348"/>
                  </a:lnTo>
                  <a:lnTo>
                    <a:pt x="354" y="351"/>
                  </a:lnTo>
                  <a:lnTo>
                    <a:pt x="359" y="353"/>
                  </a:lnTo>
                  <a:lnTo>
                    <a:pt x="363" y="354"/>
                  </a:lnTo>
                  <a:lnTo>
                    <a:pt x="366" y="355"/>
                  </a:lnTo>
                  <a:lnTo>
                    <a:pt x="369" y="354"/>
                  </a:lnTo>
                  <a:lnTo>
                    <a:pt x="372" y="354"/>
                  </a:lnTo>
                  <a:lnTo>
                    <a:pt x="378" y="351"/>
                  </a:lnTo>
                  <a:lnTo>
                    <a:pt x="378" y="357"/>
                  </a:lnTo>
                  <a:lnTo>
                    <a:pt x="380" y="361"/>
                  </a:lnTo>
                  <a:lnTo>
                    <a:pt x="380" y="366"/>
                  </a:lnTo>
                  <a:lnTo>
                    <a:pt x="377" y="370"/>
                  </a:lnTo>
                  <a:lnTo>
                    <a:pt x="374" y="372"/>
                  </a:lnTo>
                  <a:lnTo>
                    <a:pt x="370" y="368"/>
                  </a:lnTo>
                  <a:lnTo>
                    <a:pt x="367" y="368"/>
                  </a:lnTo>
                  <a:lnTo>
                    <a:pt x="368" y="371"/>
                  </a:lnTo>
                  <a:lnTo>
                    <a:pt x="364" y="372"/>
                  </a:lnTo>
                  <a:lnTo>
                    <a:pt x="362" y="369"/>
                  </a:lnTo>
                  <a:lnTo>
                    <a:pt x="360" y="365"/>
                  </a:lnTo>
                  <a:lnTo>
                    <a:pt x="356" y="362"/>
                  </a:lnTo>
                  <a:lnTo>
                    <a:pt x="354" y="363"/>
                  </a:lnTo>
                  <a:lnTo>
                    <a:pt x="352" y="361"/>
                  </a:lnTo>
                  <a:lnTo>
                    <a:pt x="351" y="358"/>
                  </a:lnTo>
                  <a:lnTo>
                    <a:pt x="350" y="354"/>
                  </a:lnTo>
                  <a:lnTo>
                    <a:pt x="347" y="351"/>
                  </a:lnTo>
                  <a:lnTo>
                    <a:pt x="344" y="352"/>
                  </a:lnTo>
                  <a:lnTo>
                    <a:pt x="345" y="349"/>
                  </a:lnTo>
                  <a:lnTo>
                    <a:pt x="342" y="349"/>
                  </a:lnTo>
                  <a:lnTo>
                    <a:pt x="343" y="344"/>
                  </a:lnTo>
                  <a:lnTo>
                    <a:pt x="339" y="343"/>
                  </a:lnTo>
                  <a:lnTo>
                    <a:pt x="335" y="344"/>
                  </a:lnTo>
                  <a:lnTo>
                    <a:pt x="338" y="341"/>
                  </a:lnTo>
                  <a:lnTo>
                    <a:pt x="336" y="337"/>
                  </a:lnTo>
                  <a:lnTo>
                    <a:pt x="331" y="338"/>
                  </a:lnTo>
                  <a:lnTo>
                    <a:pt x="326" y="340"/>
                  </a:lnTo>
                  <a:lnTo>
                    <a:pt x="321" y="339"/>
                  </a:lnTo>
                  <a:lnTo>
                    <a:pt x="317" y="341"/>
                  </a:lnTo>
                  <a:lnTo>
                    <a:pt x="311" y="340"/>
                  </a:lnTo>
                  <a:lnTo>
                    <a:pt x="307" y="342"/>
                  </a:lnTo>
                  <a:lnTo>
                    <a:pt x="303" y="337"/>
                  </a:lnTo>
                  <a:lnTo>
                    <a:pt x="304" y="333"/>
                  </a:lnTo>
                  <a:lnTo>
                    <a:pt x="302" y="328"/>
                  </a:lnTo>
                  <a:lnTo>
                    <a:pt x="296" y="327"/>
                  </a:lnTo>
                  <a:lnTo>
                    <a:pt x="293" y="326"/>
                  </a:lnTo>
                  <a:lnTo>
                    <a:pt x="290" y="322"/>
                  </a:lnTo>
                  <a:lnTo>
                    <a:pt x="288" y="320"/>
                  </a:lnTo>
                  <a:lnTo>
                    <a:pt x="285" y="318"/>
                  </a:lnTo>
                  <a:lnTo>
                    <a:pt x="281" y="316"/>
                  </a:lnTo>
                  <a:lnTo>
                    <a:pt x="278" y="314"/>
                  </a:lnTo>
                  <a:lnTo>
                    <a:pt x="268" y="309"/>
                  </a:lnTo>
                  <a:lnTo>
                    <a:pt x="264" y="308"/>
                  </a:lnTo>
                  <a:lnTo>
                    <a:pt x="260" y="309"/>
                  </a:lnTo>
                  <a:lnTo>
                    <a:pt x="256" y="307"/>
                  </a:lnTo>
                  <a:lnTo>
                    <a:pt x="253" y="307"/>
                  </a:lnTo>
                  <a:lnTo>
                    <a:pt x="249" y="307"/>
                  </a:lnTo>
                  <a:lnTo>
                    <a:pt x="253" y="310"/>
                  </a:lnTo>
                  <a:lnTo>
                    <a:pt x="243" y="313"/>
                  </a:lnTo>
                  <a:lnTo>
                    <a:pt x="242" y="311"/>
                  </a:lnTo>
                  <a:lnTo>
                    <a:pt x="246" y="308"/>
                  </a:lnTo>
                  <a:lnTo>
                    <a:pt x="249" y="306"/>
                  </a:lnTo>
                  <a:lnTo>
                    <a:pt x="254" y="303"/>
                  </a:lnTo>
                  <a:lnTo>
                    <a:pt x="256" y="300"/>
                  </a:lnTo>
                  <a:lnTo>
                    <a:pt x="259" y="298"/>
                  </a:lnTo>
                  <a:lnTo>
                    <a:pt x="259" y="296"/>
                  </a:lnTo>
                  <a:lnTo>
                    <a:pt x="266" y="293"/>
                  </a:lnTo>
                  <a:lnTo>
                    <a:pt x="270" y="289"/>
                  </a:lnTo>
                  <a:lnTo>
                    <a:pt x="273" y="289"/>
                  </a:lnTo>
                  <a:close/>
                  <a:moveTo>
                    <a:pt x="357" y="278"/>
                  </a:moveTo>
                  <a:lnTo>
                    <a:pt x="364" y="280"/>
                  </a:lnTo>
                  <a:lnTo>
                    <a:pt x="366" y="284"/>
                  </a:lnTo>
                  <a:lnTo>
                    <a:pt x="366" y="285"/>
                  </a:lnTo>
                  <a:lnTo>
                    <a:pt x="371" y="289"/>
                  </a:lnTo>
                  <a:lnTo>
                    <a:pt x="374" y="292"/>
                  </a:lnTo>
                  <a:lnTo>
                    <a:pt x="374" y="295"/>
                  </a:lnTo>
                  <a:lnTo>
                    <a:pt x="371" y="296"/>
                  </a:lnTo>
                  <a:lnTo>
                    <a:pt x="368" y="295"/>
                  </a:lnTo>
                  <a:lnTo>
                    <a:pt x="364" y="295"/>
                  </a:lnTo>
                  <a:lnTo>
                    <a:pt x="367" y="293"/>
                  </a:lnTo>
                  <a:lnTo>
                    <a:pt x="366" y="291"/>
                  </a:lnTo>
                  <a:lnTo>
                    <a:pt x="362" y="290"/>
                  </a:lnTo>
                  <a:lnTo>
                    <a:pt x="359" y="288"/>
                  </a:lnTo>
                  <a:lnTo>
                    <a:pt x="356" y="289"/>
                  </a:lnTo>
                  <a:lnTo>
                    <a:pt x="358" y="284"/>
                  </a:lnTo>
                  <a:lnTo>
                    <a:pt x="357" y="282"/>
                  </a:lnTo>
                  <a:lnTo>
                    <a:pt x="357" y="278"/>
                  </a:lnTo>
                  <a:close/>
                  <a:moveTo>
                    <a:pt x="281" y="271"/>
                  </a:moveTo>
                  <a:lnTo>
                    <a:pt x="284" y="271"/>
                  </a:lnTo>
                  <a:lnTo>
                    <a:pt x="285" y="273"/>
                  </a:lnTo>
                  <a:lnTo>
                    <a:pt x="283" y="275"/>
                  </a:lnTo>
                  <a:lnTo>
                    <a:pt x="280" y="277"/>
                  </a:lnTo>
                  <a:lnTo>
                    <a:pt x="277" y="277"/>
                  </a:lnTo>
                  <a:lnTo>
                    <a:pt x="279" y="274"/>
                  </a:lnTo>
                  <a:lnTo>
                    <a:pt x="281" y="271"/>
                  </a:lnTo>
                  <a:close/>
                  <a:moveTo>
                    <a:pt x="291" y="269"/>
                  </a:moveTo>
                  <a:lnTo>
                    <a:pt x="294" y="270"/>
                  </a:lnTo>
                  <a:lnTo>
                    <a:pt x="299" y="272"/>
                  </a:lnTo>
                  <a:lnTo>
                    <a:pt x="303" y="274"/>
                  </a:lnTo>
                  <a:lnTo>
                    <a:pt x="306" y="274"/>
                  </a:lnTo>
                  <a:lnTo>
                    <a:pt x="304" y="278"/>
                  </a:lnTo>
                  <a:lnTo>
                    <a:pt x="301" y="279"/>
                  </a:lnTo>
                  <a:lnTo>
                    <a:pt x="297" y="279"/>
                  </a:lnTo>
                  <a:lnTo>
                    <a:pt x="296" y="276"/>
                  </a:lnTo>
                  <a:lnTo>
                    <a:pt x="293" y="273"/>
                  </a:lnTo>
                  <a:lnTo>
                    <a:pt x="290" y="269"/>
                  </a:lnTo>
                  <a:lnTo>
                    <a:pt x="291" y="269"/>
                  </a:lnTo>
                  <a:close/>
                  <a:moveTo>
                    <a:pt x="314" y="258"/>
                  </a:moveTo>
                  <a:lnTo>
                    <a:pt x="316" y="260"/>
                  </a:lnTo>
                  <a:lnTo>
                    <a:pt x="315" y="263"/>
                  </a:lnTo>
                  <a:lnTo>
                    <a:pt x="314" y="266"/>
                  </a:lnTo>
                  <a:lnTo>
                    <a:pt x="313" y="269"/>
                  </a:lnTo>
                  <a:lnTo>
                    <a:pt x="308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4" y="258"/>
                  </a:lnTo>
                  <a:close/>
                  <a:moveTo>
                    <a:pt x="16" y="255"/>
                  </a:moveTo>
                  <a:lnTo>
                    <a:pt x="20" y="256"/>
                  </a:lnTo>
                  <a:lnTo>
                    <a:pt x="20" y="257"/>
                  </a:lnTo>
                  <a:lnTo>
                    <a:pt x="22" y="259"/>
                  </a:lnTo>
                  <a:lnTo>
                    <a:pt x="20" y="262"/>
                  </a:lnTo>
                  <a:lnTo>
                    <a:pt x="16" y="265"/>
                  </a:lnTo>
                  <a:lnTo>
                    <a:pt x="15" y="268"/>
                  </a:lnTo>
                  <a:lnTo>
                    <a:pt x="20" y="272"/>
                  </a:lnTo>
                  <a:lnTo>
                    <a:pt x="22" y="274"/>
                  </a:lnTo>
                  <a:lnTo>
                    <a:pt x="24" y="285"/>
                  </a:lnTo>
                  <a:lnTo>
                    <a:pt x="28" y="286"/>
                  </a:lnTo>
                  <a:lnTo>
                    <a:pt x="31" y="289"/>
                  </a:lnTo>
                  <a:lnTo>
                    <a:pt x="35" y="286"/>
                  </a:lnTo>
                  <a:lnTo>
                    <a:pt x="38" y="292"/>
                  </a:lnTo>
                  <a:lnTo>
                    <a:pt x="34" y="293"/>
                  </a:lnTo>
                  <a:lnTo>
                    <a:pt x="30" y="293"/>
                  </a:lnTo>
                  <a:lnTo>
                    <a:pt x="26" y="291"/>
                  </a:lnTo>
                  <a:lnTo>
                    <a:pt x="23" y="291"/>
                  </a:lnTo>
                  <a:lnTo>
                    <a:pt x="20" y="288"/>
                  </a:lnTo>
                  <a:lnTo>
                    <a:pt x="18" y="285"/>
                  </a:lnTo>
                  <a:lnTo>
                    <a:pt x="17" y="279"/>
                  </a:lnTo>
                  <a:lnTo>
                    <a:pt x="14" y="276"/>
                  </a:lnTo>
                  <a:lnTo>
                    <a:pt x="10" y="274"/>
                  </a:lnTo>
                  <a:lnTo>
                    <a:pt x="7" y="270"/>
                  </a:lnTo>
                  <a:lnTo>
                    <a:pt x="4" y="269"/>
                  </a:lnTo>
                  <a:lnTo>
                    <a:pt x="3" y="266"/>
                  </a:lnTo>
                  <a:lnTo>
                    <a:pt x="0" y="263"/>
                  </a:lnTo>
                  <a:lnTo>
                    <a:pt x="2" y="260"/>
                  </a:lnTo>
                  <a:lnTo>
                    <a:pt x="9" y="258"/>
                  </a:lnTo>
                  <a:lnTo>
                    <a:pt x="13" y="256"/>
                  </a:lnTo>
                  <a:lnTo>
                    <a:pt x="16" y="255"/>
                  </a:lnTo>
                  <a:close/>
                  <a:moveTo>
                    <a:pt x="322" y="250"/>
                  </a:moveTo>
                  <a:lnTo>
                    <a:pt x="325" y="254"/>
                  </a:lnTo>
                  <a:lnTo>
                    <a:pt x="321" y="253"/>
                  </a:lnTo>
                  <a:lnTo>
                    <a:pt x="321" y="250"/>
                  </a:lnTo>
                  <a:lnTo>
                    <a:pt x="322" y="250"/>
                  </a:lnTo>
                  <a:close/>
                  <a:moveTo>
                    <a:pt x="389" y="218"/>
                  </a:moveTo>
                  <a:lnTo>
                    <a:pt x="386" y="227"/>
                  </a:lnTo>
                  <a:lnTo>
                    <a:pt x="384" y="223"/>
                  </a:lnTo>
                  <a:lnTo>
                    <a:pt x="385" y="218"/>
                  </a:lnTo>
                  <a:lnTo>
                    <a:pt x="389" y="218"/>
                  </a:lnTo>
                  <a:close/>
                  <a:moveTo>
                    <a:pt x="484" y="214"/>
                  </a:moveTo>
                  <a:lnTo>
                    <a:pt x="487" y="216"/>
                  </a:lnTo>
                  <a:lnTo>
                    <a:pt x="490" y="217"/>
                  </a:lnTo>
                  <a:lnTo>
                    <a:pt x="490" y="218"/>
                  </a:lnTo>
                  <a:lnTo>
                    <a:pt x="488" y="223"/>
                  </a:lnTo>
                  <a:lnTo>
                    <a:pt x="492" y="226"/>
                  </a:lnTo>
                  <a:lnTo>
                    <a:pt x="495" y="227"/>
                  </a:lnTo>
                  <a:lnTo>
                    <a:pt x="499" y="230"/>
                  </a:lnTo>
                  <a:lnTo>
                    <a:pt x="501" y="233"/>
                  </a:lnTo>
                  <a:lnTo>
                    <a:pt x="503" y="235"/>
                  </a:lnTo>
                  <a:lnTo>
                    <a:pt x="506" y="239"/>
                  </a:lnTo>
                  <a:lnTo>
                    <a:pt x="509" y="241"/>
                  </a:lnTo>
                  <a:lnTo>
                    <a:pt x="508" y="244"/>
                  </a:lnTo>
                  <a:lnTo>
                    <a:pt x="505" y="245"/>
                  </a:lnTo>
                  <a:lnTo>
                    <a:pt x="502" y="242"/>
                  </a:lnTo>
                  <a:lnTo>
                    <a:pt x="502" y="239"/>
                  </a:lnTo>
                  <a:lnTo>
                    <a:pt x="500" y="237"/>
                  </a:lnTo>
                  <a:lnTo>
                    <a:pt x="497" y="237"/>
                  </a:lnTo>
                  <a:lnTo>
                    <a:pt x="500" y="241"/>
                  </a:lnTo>
                  <a:lnTo>
                    <a:pt x="503" y="244"/>
                  </a:lnTo>
                  <a:lnTo>
                    <a:pt x="505" y="247"/>
                  </a:lnTo>
                  <a:lnTo>
                    <a:pt x="501" y="249"/>
                  </a:lnTo>
                  <a:lnTo>
                    <a:pt x="497" y="251"/>
                  </a:lnTo>
                  <a:lnTo>
                    <a:pt x="493" y="250"/>
                  </a:lnTo>
                  <a:lnTo>
                    <a:pt x="491" y="251"/>
                  </a:lnTo>
                  <a:lnTo>
                    <a:pt x="488" y="250"/>
                  </a:lnTo>
                  <a:lnTo>
                    <a:pt x="481" y="249"/>
                  </a:lnTo>
                  <a:lnTo>
                    <a:pt x="478" y="250"/>
                  </a:lnTo>
                  <a:lnTo>
                    <a:pt x="474" y="247"/>
                  </a:lnTo>
                  <a:lnTo>
                    <a:pt x="476" y="243"/>
                  </a:lnTo>
                  <a:lnTo>
                    <a:pt x="478" y="240"/>
                  </a:lnTo>
                  <a:lnTo>
                    <a:pt x="482" y="237"/>
                  </a:lnTo>
                  <a:lnTo>
                    <a:pt x="484" y="234"/>
                  </a:lnTo>
                  <a:lnTo>
                    <a:pt x="480" y="232"/>
                  </a:lnTo>
                  <a:lnTo>
                    <a:pt x="476" y="233"/>
                  </a:lnTo>
                  <a:lnTo>
                    <a:pt x="474" y="238"/>
                  </a:lnTo>
                  <a:lnTo>
                    <a:pt x="472" y="243"/>
                  </a:lnTo>
                  <a:lnTo>
                    <a:pt x="467" y="245"/>
                  </a:lnTo>
                  <a:lnTo>
                    <a:pt x="461" y="244"/>
                  </a:lnTo>
                  <a:lnTo>
                    <a:pt x="458" y="243"/>
                  </a:lnTo>
                  <a:lnTo>
                    <a:pt x="452" y="241"/>
                  </a:lnTo>
                  <a:lnTo>
                    <a:pt x="451" y="238"/>
                  </a:lnTo>
                  <a:lnTo>
                    <a:pt x="451" y="235"/>
                  </a:lnTo>
                  <a:lnTo>
                    <a:pt x="454" y="230"/>
                  </a:lnTo>
                  <a:lnTo>
                    <a:pt x="459" y="230"/>
                  </a:lnTo>
                  <a:lnTo>
                    <a:pt x="461" y="228"/>
                  </a:lnTo>
                  <a:lnTo>
                    <a:pt x="464" y="227"/>
                  </a:lnTo>
                  <a:lnTo>
                    <a:pt x="467" y="225"/>
                  </a:lnTo>
                  <a:lnTo>
                    <a:pt x="471" y="224"/>
                  </a:lnTo>
                  <a:lnTo>
                    <a:pt x="473" y="222"/>
                  </a:lnTo>
                  <a:lnTo>
                    <a:pt x="471" y="217"/>
                  </a:lnTo>
                  <a:lnTo>
                    <a:pt x="484" y="214"/>
                  </a:lnTo>
                  <a:close/>
                  <a:moveTo>
                    <a:pt x="409" y="168"/>
                  </a:moveTo>
                  <a:lnTo>
                    <a:pt x="409" y="170"/>
                  </a:lnTo>
                  <a:lnTo>
                    <a:pt x="410" y="172"/>
                  </a:lnTo>
                  <a:lnTo>
                    <a:pt x="407" y="175"/>
                  </a:lnTo>
                  <a:lnTo>
                    <a:pt x="407" y="180"/>
                  </a:lnTo>
                  <a:lnTo>
                    <a:pt x="405" y="181"/>
                  </a:lnTo>
                  <a:lnTo>
                    <a:pt x="405" y="184"/>
                  </a:lnTo>
                  <a:lnTo>
                    <a:pt x="406" y="187"/>
                  </a:lnTo>
                  <a:lnTo>
                    <a:pt x="407" y="190"/>
                  </a:lnTo>
                  <a:lnTo>
                    <a:pt x="403" y="191"/>
                  </a:lnTo>
                  <a:lnTo>
                    <a:pt x="400" y="189"/>
                  </a:lnTo>
                  <a:lnTo>
                    <a:pt x="399" y="186"/>
                  </a:lnTo>
                  <a:lnTo>
                    <a:pt x="399" y="183"/>
                  </a:lnTo>
                  <a:lnTo>
                    <a:pt x="397" y="182"/>
                  </a:lnTo>
                  <a:lnTo>
                    <a:pt x="393" y="185"/>
                  </a:lnTo>
                  <a:lnTo>
                    <a:pt x="393" y="188"/>
                  </a:lnTo>
                  <a:lnTo>
                    <a:pt x="397" y="191"/>
                  </a:lnTo>
                  <a:lnTo>
                    <a:pt x="393" y="193"/>
                  </a:lnTo>
                  <a:lnTo>
                    <a:pt x="392" y="189"/>
                  </a:lnTo>
                  <a:lnTo>
                    <a:pt x="389" y="191"/>
                  </a:lnTo>
                  <a:lnTo>
                    <a:pt x="385" y="191"/>
                  </a:lnTo>
                  <a:lnTo>
                    <a:pt x="383" y="188"/>
                  </a:lnTo>
                  <a:lnTo>
                    <a:pt x="384" y="185"/>
                  </a:lnTo>
                  <a:lnTo>
                    <a:pt x="383" y="183"/>
                  </a:lnTo>
                  <a:lnTo>
                    <a:pt x="381" y="179"/>
                  </a:lnTo>
                  <a:lnTo>
                    <a:pt x="387" y="175"/>
                  </a:lnTo>
                  <a:lnTo>
                    <a:pt x="390" y="176"/>
                  </a:lnTo>
                  <a:lnTo>
                    <a:pt x="393" y="174"/>
                  </a:lnTo>
                  <a:lnTo>
                    <a:pt x="397" y="175"/>
                  </a:lnTo>
                  <a:lnTo>
                    <a:pt x="399" y="177"/>
                  </a:lnTo>
                  <a:lnTo>
                    <a:pt x="402" y="176"/>
                  </a:lnTo>
                  <a:lnTo>
                    <a:pt x="404" y="171"/>
                  </a:lnTo>
                  <a:lnTo>
                    <a:pt x="407" y="170"/>
                  </a:lnTo>
                  <a:lnTo>
                    <a:pt x="409" y="168"/>
                  </a:lnTo>
                  <a:close/>
                  <a:moveTo>
                    <a:pt x="410" y="122"/>
                  </a:moveTo>
                  <a:lnTo>
                    <a:pt x="416" y="123"/>
                  </a:lnTo>
                  <a:lnTo>
                    <a:pt x="417" y="123"/>
                  </a:lnTo>
                  <a:lnTo>
                    <a:pt x="419" y="127"/>
                  </a:lnTo>
                  <a:lnTo>
                    <a:pt x="413" y="133"/>
                  </a:lnTo>
                  <a:lnTo>
                    <a:pt x="409" y="132"/>
                  </a:lnTo>
                  <a:lnTo>
                    <a:pt x="403" y="129"/>
                  </a:lnTo>
                  <a:lnTo>
                    <a:pt x="406" y="124"/>
                  </a:lnTo>
                  <a:lnTo>
                    <a:pt x="410" y="122"/>
                  </a:lnTo>
                  <a:close/>
                  <a:moveTo>
                    <a:pt x="340" y="109"/>
                  </a:moveTo>
                  <a:lnTo>
                    <a:pt x="345" y="110"/>
                  </a:lnTo>
                  <a:lnTo>
                    <a:pt x="348" y="112"/>
                  </a:lnTo>
                  <a:lnTo>
                    <a:pt x="351" y="113"/>
                  </a:lnTo>
                  <a:lnTo>
                    <a:pt x="350" y="116"/>
                  </a:lnTo>
                  <a:lnTo>
                    <a:pt x="351" y="118"/>
                  </a:lnTo>
                  <a:lnTo>
                    <a:pt x="352" y="122"/>
                  </a:lnTo>
                  <a:lnTo>
                    <a:pt x="353" y="124"/>
                  </a:lnTo>
                  <a:lnTo>
                    <a:pt x="350" y="126"/>
                  </a:lnTo>
                  <a:lnTo>
                    <a:pt x="347" y="127"/>
                  </a:lnTo>
                  <a:lnTo>
                    <a:pt x="345" y="130"/>
                  </a:lnTo>
                  <a:lnTo>
                    <a:pt x="341" y="128"/>
                  </a:lnTo>
                  <a:lnTo>
                    <a:pt x="337" y="126"/>
                  </a:lnTo>
                  <a:lnTo>
                    <a:pt x="334" y="126"/>
                  </a:lnTo>
                  <a:lnTo>
                    <a:pt x="333" y="121"/>
                  </a:lnTo>
                  <a:lnTo>
                    <a:pt x="335" y="115"/>
                  </a:lnTo>
                  <a:lnTo>
                    <a:pt x="340" y="109"/>
                  </a:lnTo>
                  <a:close/>
                  <a:moveTo>
                    <a:pt x="432" y="0"/>
                  </a:moveTo>
                  <a:lnTo>
                    <a:pt x="436" y="2"/>
                  </a:lnTo>
                  <a:lnTo>
                    <a:pt x="440" y="1"/>
                  </a:lnTo>
                  <a:lnTo>
                    <a:pt x="443" y="1"/>
                  </a:lnTo>
                  <a:lnTo>
                    <a:pt x="448" y="2"/>
                  </a:lnTo>
                  <a:lnTo>
                    <a:pt x="450" y="5"/>
                  </a:lnTo>
                  <a:lnTo>
                    <a:pt x="455" y="7"/>
                  </a:lnTo>
                  <a:lnTo>
                    <a:pt x="458" y="8"/>
                  </a:lnTo>
                  <a:lnTo>
                    <a:pt x="461" y="9"/>
                  </a:lnTo>
                  <a:lnTo>
                    <a:pt x="461" y="12"/>
                  </a:lnTo>
                  <a:lnTo>
                    <a:pt x="463" y="17"/>
                  </a:lnTo>
                  <a:lnTo>
                    <a:pt x="464" y="20"/>
                  </a:lnTo>
                  <a:lnTo>
                    <a:pt x="466" y="24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63" y="33"/>
                  </a:lnTo>
                  <a:lnTo>
                    <a:pt x="458" y="36"/>
                  </a:lnTo>
                  <a:lnTo>
                    <a:pt x="455" y="39"/>
                  </a:lnTo>
                  <a:lnTo>
                    <a:pt x="453" y="42"/>
                  </a:lnTo>
                  <a:lnTo>
                    <a:pt x="448" y="44"/>
                  </a:lnTo>
                  <a:lnTo>
                    <a:pt x="449" y="48"/>
                  </a:lnTo>
                  <a:lnTo>
                    <a:pt x="449" y="51"/>
                  </a:lnTo>
                  <a:lnTo>
                    <a:pt x="450" y="55"/>
                  </a:lnTo>
                  <a:lnTo>
                    <a:pt x="451" y="59"/>
                  </a:lnTo>
                  <a:lnTo>
                    <a:pt x="453" y="62"/>
                  </a:lnTo>
                  <a:lnTo>
                    <a:pt x="456" y="64"/>
                  </a:lnTo>
                  <a:lnTo>
                    <a:pt x="453" y="67"/>
                  </a:lnTo>
                  <a:lnTo>
                    <a:pt x="455" y="69"/>
                  </a:lnTo>
                  <a:lnTo>
                    <a:pt x="452" y="73"/>
                  </a:lnTo>
                  <a:lnTo>
                    <a:pt x="452" y="76"/>
                  </a:lnTo>
                  <a:lnTo>
                    <a:pt x="449" y="77"/>
                  </a:lnTo>
                  <a:lnTo>
                    <a:pt x="447" y="79"/>
                  </a:lnTo>
                  <a:lnTo>
                    <a:pt x="448" y="83"/>
                  </a:lnTo>
                  <a:lnTo>
                    <a:pt x="445" y="87"/>
                  </a:lnTo>
                  <a:lnTo>
                    <a:pt x="444" y="91"/>
                  </a:lnTo>
                  <a:lnTo>
                    <a:pt x="441" y="95"/>
                  </a:lnTo>
                  <a:lnTo>
                    <a:pt x="438" y="95"/>
                  </a:lnTo>
                  <a:lnTo>
                    <a:pt x="437" y="92"/>
                  </a:lnTo>
                  <a:lnTo>
                    <a:pt x="434" y="89"/>
                  </a:lnTo>
                  <a:lnTo>
                    <a:pt x="437" y="88"/>
                  </a:lnTo>
                  <a:lnTo>
                    <a:pt x="434" y="88"/>
                  </a:lnTo>
                  <a:lnTo>
                    <a:pt x="430" y="87"/>
                  </a:lnTo>
                  <a:lnTo>
                    <a:pt x="426" y="88"/>
                  </a:lnTo>
                  <a:lnTo>
                    <a:pt x="421" y="89"/>
                  </a:lnTo>
                  <a:lnTo>
                    <a:pt x="415" y="90"/>
                  </a:lnTo>
                  <a:lnTo>
                    <a:pt x="412" y="90"/>
                  </a:lnTo>
                  <a:lnTo>
                    <a:pt x="409" y="89"/>
                  </a:lnTo>
                  <a:lnTo>
                    <a:pt x="406" y="89"/>
                  </a:lnTo>
                  <a:lnTo>
                    <a:pt x="403" y="91"/>
                  </a:lnTo>
                  <a:lnTo>
                    <a:pt x="400" y="90"/>
                  </a:lnTo>
                  <a:lnTo>
                    <a:pt x="393" y="89"/>
                  </a:lnTo>
                  <a:lnTo>
                    <a:pt x="389" y="89"/>
                  </a:lnTo>
                  <a:lnTo>
                    <a:pt x="385" y="87"/>
                  </a:lnTo>
                  <a:lnTo>
                    <a:pt x="383" y="87"/>
                  </a:lnTo>
                  <a:lnTo>
                    <a:pt x="380" y="90"/>
                  </a:lnTo>
                  <a:lnTo>
                    <a:pt x="375" y="89"/>
                  </a:lnTo>
                  <a:lnTo>
                    <a:pt x="371" y="88"/>
                  </a:lnTo>
                  <a:lnTo>
                    <a:pt x="372" y="86"/>
                  </a:lnTo>
                  <a:lnTo>
                    <a:pt x="365" y="85"/>
                  </a:lnTo>
                  <a:lnTo>
                    <a:pt x="363" y="89"/>
                  </a:lnTo>
                  <a:lnTo>
                    <a:pt x="361" y="92"/>
                  </a:lnTo>
                  <a:lnTo>
                    <a:pt x="359" y="93"/>
                  </a:lnTo>
                  <a:lnTo>
                    <a:pt x="356" y="95"/>
                  </a:lnTo>
                  <a:lnTo>
                    <a:pt x="353" y="97"/>
                  </a:lnTo>
                  <a:lnTo>
                    <a:pt x="352" y="100"/>
                  </a:lnTo>
                  <a:lnTo>
                    <a:pt x="347" y="102"/>
                  </a:lnTo>
                  <a:lnTo>
                    <a:pt x="345" y="104"/>
                  </a:lnTo>
                  <a:lnTo>
                    <a:pt x="342" y="104"/>
                  </a:lnTo>
                  <a:lnTo>
                    <a:pt x="339" y="104"/>
                  </a:lnTo>
                  <a:lnTo>
                    <a:pt x="335" y="101"/>
                  </a:lnTo>
                  <a:lnTo>
                    <a:pt x="333" y="98"/>
                  </a:lnTo>
                  <a:lnTo>
                    <a:pt x="329" y="97"/>
                  </a:lnTo>
                  <a:lnTo>
                    <a:pt x="326" y="98"/>
                  </a:lnTo>
                  <a:lnTo>
                    <a:pt x="321" y="100"/>
                  </a:lnTo>
                  <a:lnTo>
                    <a:pt x="319" y="103"/>
                  </a:lnTo>
                  <a:lnTo>
                    <a:pt x="316" y="106"/>
                  </a:lnTo>
                  <a:lnTo>
                    <a:pt x="317" y="109"/>
                  </a:lnTo>
                  <a:lnTo>
                    <a:pt x="310" y="118"/>
                  </a:lnTo>
                  <a:lnTo>
                    <a:pt x="304" y="123"/>
                  </a:lnTo>
                  <a:lnTo>
                    <a:pt x="301" y="124"/>
                  </a:lnTo>
                  <a:lnTo>
                    <a:pt x="298" y="125"/>
                  </a:lnTo>
                  <a:lnTo>
                    <a:pt x="295" y="124"/>
                  </a:lnTo>
                  <a:lnTo>
                    <a:pt x="286" y="122"/>
                  </a:lnTo>
                  <a:lnTo>
                    <a:pt x="282" y="122"/>
                  </a:lnTo>
                  <a:lnTo>
                    <a:pt x="278" y="125"/>
                  </a:lnTo>
                  <a:lnTo>
                    <a:pt x="276" y="127"/>
                  </a:lnTo>
                  <a:lnTo>
                    <a:pt x="275" y="132"/>
                  </a:lnTo>
                  <a:lnTo>
                    <a:pt x="278" y="134"/>
                  </a:lnTo>
                  <a:lnTo>
                    <a:pt x="280" y="135"/>
                  </a:lnTo>
                  <a:lnTo>
                    <a:pt x="283" y="138"/>
                  </a:lnTo>
                  <a:lnTo>
                    <a:pt x="287" y="142"/>
                  </a:lnTo>
                  <a:lnTo>
                    <a:pt x="290" y="141"/>
                  </a:lnTo>
                  <a:lnTo>
                    <a:pt x="293" y="143"/>
                  </a:lnTo>
                  <a:lnTo>
                    <a:pt x="288" y="146"/>
                  </a:lnTo>
                  <a:lnTo>
                    <a:pt x="287" y="149"/>
                  </a:lnTo>
                  <a:lnTo>
                    <a:pt x="292" y="156"/>
                  </a:lnTo>
                  <a:lnTo>
                    <a:pt x="295" y="157"/>
                  </a:lnTo>
                  <a:lnTo>
                    <a:pt x="298" y="157"/>
                  </a:lnTo>
                  <a:lnTo>
                    <a:pt x="301" y="156"/>
                  </a:lnTo>
                  <a:lnTo>
                    <a:pt x="301" y="154"/>
                  </a:lnTo>
                  <a:lnTo>
                    <a:pt x="300" y="150"/>
                  </a:lnTo>
                  <a:lnTo>
                    <a:pt x="303" y="152"/>
                  </a:lnTo>
                  <a:lnTo>
                    <a:pt x="305" y="155"/>
                  </a:lnTo>
                  <a:lnTo>
                    <a:pt x="309" y="158"/>
                  </a:lnTo>
                  <a:lnTo>
                    <a:pt x="313" y="157"/>
                  </a:lnTo>
                  <a:lnTo>
                    <a:pt x="316" y="159"/>
                  </a:lnTo>
                  <a:lnTo>
                    <a:pt x="321" y="162"/>
                  </a:lnTo>
                  <a:lnTo>
                    <a:pt x="327" y="167"/>
                  </a:lnTo>
                  <a:lnTo>
                    <a:pt x="332" y="170"/>
                  </a:lnTo>
                  <a:lnTo>
                    <a:pt x="331" y="175"/>
                  </a:lnTo>
                  <a:lnTo>
                    <a:pt x="328" y="176"/>
                  </a:lnTo>
                  <a:lnTo>
                    <a:pt x="326" y="173"/>
                  </a:lnTo>
                  <a:lnTo>
                    <a:pt x="321" y="171"/>
                  </a:lnTo>
                  <a:lnTo>
                    <a:pt x="319" y="169"/>
                  </a:lnTo>
                  <a:lnTo>
                    <a:pt x="317" y="166"/>
                  </a:lnTo>
                  <a:lnTo>
                    <a:pt x="312" y="163"/>
                  </a:lnTo>
                  <a:lnTo>
                    <a:pt x="306" y="164"/>
                  </a:lnTo>
                  <a:lnTo>
                    <a:pt x="302" y="162"/>
                  </a:lnTo>
                  <a:lnTo>
                    <a:pt x="299" y="160"/>
                  </a:lnTo>
                  <a:lnTo>
                    <a:pt x="294" y="160"/>
                  </a:lnTo>
                  <a:lnTo>
                    <a:pt x="291" y="160"/>
                  </a:lnTo>
                  <a:lnTo>
                    <a:pt x="287" y="162"/>
                  </a:lnTo>
                  <a:lnTo>
                    <a:pt x="283" y="162"/>
                  </a:lnTo>
                  <a:lnTo>
                    <a:pt x="281" y="166"/>
                  </a:lnTo>
                  <a:lnTo>
                    <a:pt x="282" y="169"/>
                  </a:lnTo>
                  <a:lnTo>
                    <a:pt x="283" y="171"/>
                  </a:lnTo>
                  <a:lnTo>
                    <a:pt x="287" y="174"/>
                  </a:lnTo>
                  <a:lnTo>
                    <a:pt x="289" y="176"/>
                  </a:lnTo>
                  <a:lnTo>
                    <a:pt x="295" y="177"/>
                  </a:lnTo>
                  <a:lnTo>
                    <a:pt x="299" y="178"/>
                  </a:lnTo>
                  <a:lnTo>
                    <a:pt x="304" y="180"/>
                  </a:lnTo>
                  <a:lnTo>
                    <a:pt x="304" y="183"/>
                  </a:lnTo>
                  <a:lnTo>
                    <a:pt x="306" y="185"/>
                  </a:lnTo>
                  <a:lnTo>
                    <a:pt x="306" y="188"/>
                  </a:lnTo>
                  <a:lnTo>
                    <a:pt x="307" y="192"/>
                  </a:lnTo>
                  <a:lnTo>
                    <a:pt x="306" y="195"/>
                  </a:lnTo>
                  <a:lnTo>
                    <a:pt x="302" y="196"/>
                  </a:lnTo>
                  <a:lnTo>
                    <a:pt x="301" y="194"/>
                  </a:lnTo>
                  <a:lnTo>
                    <a:pt x="297" y="193"/>
                  </a:lnTo>
                  <a:lnTo>
                    <a:pt x="295" y="192"/>
                  </a:lnTo>
                  <a:lnTo>
                    <a:pt x="292" y="189"/>
                  </a:lnTo>
                  <a:lnTo>
                    <a:pt x="291" y="186"/>
                  </a:lnTo>
                  <a:lnTo>
                    <a:pt x="289" y="183"/>
                  </a:lnTo>
                  <a:lnTo>
                    <a:pt x="281" y="176"/>
                  </a:lnTo>
                  <a:lnTo>
                    <a:pt x="277" y="175"/>
                  </a:lnTo>
                  <a:lnTo>
                    <a:pt x="271" y="175"/>
                  </a:lnTo>
                  <a:lnTo>
                    <a:pt x="267" y="174"/>
                  </a:lnTo>
                  <a:lnTo>
                    <a:pt x="264" y="173"/>
                  </a:lnTo>
                  <a:lnTo>
                    <a:pt x="261" y="174"/>
                  </a:lnTo>
                  <a:lnTo>
                    <a:pt x="258" y="179"/>
                  </a:lnTo>
                  <a:lnTo>
                    <a:pt x="259" y="182"/>
                  </a:lnTo>
                  <a:lnTo>
                    <a:pt x="260" y="185"/>
                  </a:lnTo>
                  <a:lnTo>
                    <a:pt x="263" y="186"/>
                  </a:lnTo>
                  <a:lnTo>
                    <a:pt x="269" y="192"/>
                  </a:lnTo>
                  <a:lnTo>
                    <a:pt x="279" y="197"/>
                  </a:lnTo>
                  <a:lnTo>
                    <a:pt x="284" y="197"/>
                  </a:lnTo>
                  <a:lnTo>
                    <a:pt x="286" y="200"/>
                  </a:lnTo>
                  <a:lnTo>
                    <a:pt x="290" y="201"/>
                  </a:lnTo>
                  <a:lnTo>
                    <a:pt x="282" y="203"/>
                  </a:lnTo>
                  <a:lnTo>
                    <a:pt x="271" y="201"/>
                  </a:lnTo>
                  <a:lnTo>
                    <a:pt x="264" y="202"/>
                  </a:lnTo>
                  <a:lnTo>
                    <a:pt x="264" y="199"/>
                  </a:lnTo>
                  <a:lnTo>
                    <a:pt x="262" y="197"/>
                  </a:lnTo>
                  <a:lnTo>
                    <a:pt x="260" y="193"/>
                  </a:lnTo>
                  <a:lnTo>
                    <a:pt x="257" y="191"/>
                  </a:lnTo>
                  <a:lnTo>
                    <a:pt x="258" y="188"/>
                  </a:lnTo>
                  <a:lnTo>
                    <a:pt x="258" y="184"/>
                  </a:lnTo>
                  <a:lnTo>
                    <a:pt x="257" y="181"/>
                  </a:lnTo>
                  <a:lnTo>
                    <a:pt x="252" y="178"/>
                  </a:lnTo>
                  <a:lnTo>
                    <a:pt x="246" y="177"/>
                  </a:lnTo>
                  <a:lnTo>
                    <a:pt x="243" y="177"/>
                  </a:lnTo>
                  <a:lnTo>
                    <a:pt x="239" y="175"/>
                  </a:lnTo>
                  <a:lnTo>
                    <a:pt x="236" y="174"/>
                  </a:lnTo>
                  <a:lnTo>
                    <a:pt x="232" y="172"/>
                  </a:lnTo>
                  <a:lnTo>
                    <a:pt x="228" y="170"/>
                  </a:lnTo>
                  <a:lnTo>
                    <a:pt x="226" y="170"/>
                  </a:lnTo>
                  <a:lnTo>
                    <a:pt x="223" y="170"/>
                  </a:lnTo>
                  <a:lnTo>
                    <a:pt x="223" y="167"/>
                  </a:lnTo>
                  <a:lnTo>
                    <a:pt x="220" y="165"/>
                  </a:lnTo>
                  <a:lnTo>
                    <a:pt x="218" y="162"/>
                  </a:lnTo>
                  <a:lnTo>
                    <a:pt x="223" y="159"/>
                  </a:lnTo>
                  <a:lnTo>
                    <a:pt x="226" y="157"/>
                  </a:lnTo>
                  <a:lnTo>
                    <a:pt x="227" y="153"/>
                  </a:lnTo>
                  <a:lnTo>
                    <a:pt x="224" y="149"/>
                  </a:lnTo>
                  <a:lnTo>
                    <a:pt x="221" y="146"/>
                  </a:lnTo>
                  <a:lnTo>
                    <a:pt x="217" y="147"/>
                  </a:lnTo>
                  <a:lnTo>
                    <a:pt x="218" y="150"/>
                  </a:lnTo>
                  <a:lnTo>
                    <a:pt x="215" y="154"/>
                  </a:lnTo>
                  <a:lnTo>
                    <a:pt x="213" y="154"/>
                  </a:lnTo>
                  <a:lnTo>
                    <a:pt x="211" y="158"/>
                  </a:lnTo>
                  <a:lnTo>
                    <a:pt x="210" y="161"/>
                  </a:lnTo>
                  <a:lnTo>
                    <a:pt x="206" y="160"/>
                  </a:lnTo>
                  <a:lnTo>
                    <a:pt x="207" y="163"/>
                  </a:lnTo>
                  <a:lnTo>
                    <a:pt x="204" y="165"/>
                  </a:lnTo>
                  <a:lnTo>
                    <a:pt x="201" y="166"/>
                  </a:lnTo>
                  <a:lnTo>
                    <a:pt x="203" y="168"/>
                  </a:lnTo>
                  <a:lnTo>
                    <a:pt x="203" y="171"/>
                  </a:lnTo>
                  <a:lnTo>
                    <a:pt x="206" y="173"/>
                  </a:lnTo>
                  <a:lnTo>
                    <a:pt x="207" y="177"/>
                  </a:lnTo>
                  <a:lnTo>
                    <a:pt x="206" y="180"/>
                  </a:lnTo>
                  <a:lnTo>
                    <a:pt x="204" y="187"/>
                  </a:lnTo>
                  <a:lnTo>
                    <a:pt x="203" y="194"/>
                  </a:lnTo>
                  <a:lnTo>
                    <a:pt x="204" y="198"/>
                  </a:lnTo>
                  <a:lnTo>
                    <a:pt x="205" y="201"/>
                  </a:lnTo>
                  <a:lnTo>
                    <a:pt x="206" y="204"/>
                  </a:lnTo>
                  <a:lnTo>
                    <a:pt x="208" y="207"/>
                  </a:lnTo>
                  <a:lnTo>
                    <a:pt x="212" y="210"/>
                  </a:lnTo>
                  <a:lnTo>
                    <a:pt x="215" y="210"/>
                  </a:lnTo>
                  <a:lnTo>
                    <a:pt x="217" y="213"/>
                  </a:lnTo>
                  <a:lnTo>
                    <a:pt x="218" y="216"/>
                  </a:lnTo>
                  <a:lnTo>
                    <a:pt x="223" y="221"/>
                  </a:lnTo>
                  <a:lnTo>
                    <a:pt x="226" y="223"/>
                  </a:lnTo>
                  <a:lnTo>
                    <a:pt x="229" y="226"/>
                  </a:lnTo>
                  <a:lnTo>
                    <a:pt x="230" y="229"/>
                  </a:lnTo>
                  <a:lnTo>
                    <a:pt x="231" y="232"/>
                  </a:lnTo>
                  <a:lnTo>
                    <a:pt x="234" y="237"/>
                  </a:lnTo>
                  <a:lnTo>
                    <a:pt x="237" y="242"/>
                  </a:lnTo>
                  <a:lnTo>
                    <a:pt x="239" y="244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1" y="249"/>
                  </a:lnTo>
                  <a:lnTo>
                    <a:pt x="253" y="252"/>
                  </a:lnTo>
                  <a:lnTo>
                    <a:pt x="261" y="258"/>
                  </a:lnTo>
                  <a:lnTo>
                    <a:pt x="266" y="263"/>
                  </a:lnTo>
                  <a:lnTo>
                    <a:pt x="268" y="267"/>
                  </a:lnTo>
                  <a:lnTo>
                    <a:pt x="273" y="274"/>
                  </a:lnTo>
                  <a:lnTo>
                    <a:pt x="271" y="278"/>
                  </a:lnTo>
                  <a:lnTo>
                    <a:pt x="267" y="279"/>
                  </a:lnTo>
                  <a:lnTo>
                    <a:pt x="265" y="282"/>
                  </a:lnTo>
                  <a:lnTo>
                    <a:pt x="262" y="284"/>
                  </a:lnTo>
                  <a:lnTo>
                    <a:pt x="260" y="285"/>
                  </a:lnTo>
                  <a:lnTo>
                    <a:pt x="257" y="286"/>
                  </a:lnTo>
                  <a:lnTo>
                    <a:pt x="254" y="286"/>
                  </a:lnTo>
                  <a:lnTo>
                    <a:pt x="254" y="282"/>
                  </a:lnTo>
                  <a:lnTo>
                    <a:pt x="257" y="279"/>
                  </a:lnTo>
                  <a:lnTo>
                    <a:pt x="257" y="285"/>
                  </a:lnTo>
                  <a:lnTo>
                    <a:pt x="262" y="281"/>
                  </a:lnTo>
                  <a:lnTo>
                    <a:pt x="264" y="277"/>
                  </a:lnTo>
                  <a:lnTo>
                    <a:pt x="262" y="273"/>
                  </a:lnTo>
                  <a:lnTo>
                    <a:pt x="260" y="269"/>
                  </a:lnTo>
                  <a:lnTo>
                    <a:pt x="257" y="267"/>
                  </a:lnTo>
                  <a:lnTo>
                    <a:pt x="254" y="266"/>
                  </a:lnTo>
                  <a:lnTo>
                    <a:pt x="248" y="266"/>
                  </a:lnTo>
                  <a:lnTo>
                    <a:pt x="246" y="263"/>
                  </a:lnTo>
                  <a:lnTo>
                    <a:pt x="243" y="263"/>
                  </a:lnTo>
                  <a:lnTo>
                    <a:pt x="241" y="267"/>
                  </a:lnTo>
                  <a:lnTo>
                    <a:pt x="238" y="270"/>
                  </a:lnTo>
                  <a:lnTo>
                    <a:pt x="235" y="271"/>
                  </a:lnTo>
                  <a:lnTo>
                    <a:pt x="235" y="276"/>
                  </a:lnTo>
                  <a:lnTo>
                    <a:pt x="238" y="283"/>
                  </a:lnTo>
                  <a:lnTo>
                    <a:pt x="239" y="280"/>
                  </a:lnTo>
                  <a:lnTo>
                    <a:pt x="243" y="283"/>
                  </a:lnTo>
                  <a:lnTo>
                    <a:pt x="244" y="286"/>
                  </a:lnTo>
                  <a:lnTo>
                    <a:pt x="247" y="286"/>
                  </a:lnTo>
                  <a:lnTo>
                    <a:pt x="249" y="290"/>
                  </a:lnTo>
                  <a:lnTo>
                    <a:pt x="248" y="294"/>
                  </a:lnTo>
                  <a:lnTo>
                    <a:pt x="252" y="293"/>
                  </a:lnTo>
                  <a:lnTo>
                    <a:pt x="256" y="292"/>
                  </a:lnTo>
                  <a:lnTo>
                    <a:pt x="254" y="295"/>
                  </a:lnTo>
                  <a:lnTo>
                    <a:pt x="253" y="298"/>
                  </a:lnTo>
                  <a:lnTo>
                    <a:pt x="249" y="301"/>
                  </a:lnTo>
                  <a:lnTo>
                    <a:pt x="246" y="303"/>
                  </a:lnTo>
                  <a:lnTo>
                    <a:pt x="244" y="305"/>
                  </a:lnTo>
                  <a:lnTo>
                    <a:pt x="241" y="305"/>
                  </a:lnTo>
                  <a:lnTo>
                    <a:pt x="240" y="308"/>
                  </a:lnTo>
                  <a:lnTo>
                    <a:pt x="238" y="309"/>
                  </a:lnTo>
                  <a:lnTo>
                    <a:pt x="235" y="311"/>
                  </a:lnTo>
                  <a:lnTo>
                    <a:pt x="232" y="310"/>
                  </a:lnTo>
                  <a:lnTo>
                    <a:pt x="230" y="311"/>
                  </a:lnTo>
                  <a:lnTo>
                    <a:pt x="225" y="309"/>
                  </a:lnTo>
                  <a:lnTo>
                    <a:pt x="222" y="311"/>
                  </a:lnTo>
                  <a:lnTo>
                    <a:pt x="219" y="313"/>
                  </a:lnTo>
                  <a:lnTo>
                    <a:pt x="221" y="315"/>
                  </a:lnTo>
                  <a:lnTo>
                    <a:pt x="224" y="315"/>
                  </a:lnTo>
                  <a:lnTo>
                    <a:pt x="227" y="316"/>
                  </a:lnTo>
                  <a:lnTo>
                    <a:pt x="231" y="314"/>
                  </a:lnTo>
                  <a:lnTo>
                    <a:pt x="234" y="316"/>
                  </a:lnTo>
                  <a:lnTo>
                    <a:pt x="237" y="319"/>
                  </a:lnTo>
                  <a:lnTo>
                    <a:pt x="240" y="318"/>
                  </a:lnTo>
                  <a:lnTo>
                    <a:pt x="243" y="318"/>
                  </a:lnTo>
                  <a:lnTo>
                    <a:pt x="246" y="318"/>
                  </a:lnTo>
                  <a:lnTo>
                    <a:pt x="248" y="318"/>
                  </a:lnTo>
                  <a:lnTo>
                    <a:pt x="256" y="318"/>
                  </a:lnTo>
                  <a:lnTo>
                    <a:pt x="260" y="320"/>
                  </a:lnTo>
                  <a:lnTo>
                    <a:pt x="263" y="327"/>
                  </a:lnTo>
                  <a:lnTo>
                    <a:pt x="266" y="327"/>
                  </a:lnTo>
                  <a:lnTo>
                    <a:pt x="269" y="326"/>
                  </a:lnTo>
                  <a:lnTo>
                    <a:pt x="269" y="322"/>
                  </a:lnTo>
                  <a:lnTo>
                    <a:pt x="273" y="323"/>
                  </a:lnTo>
                  <a:lnTo>
                    <a:pt x="277" y="324"/>
                  </a:lnTo>
                  <a:lnTo>
                    <a:pt x="280" y="326"/>
                  </a:lnTo>
                  <a:lnTo>
                    <a:pt x="280" y="329"/>
                  </a:lnTo>
                  <a:lnTo>
                    <a:pt x="278" y="333"/>
                  </a:lnTo>
                  <a:lnTo>
                    <a:pt x="281" y="333"/>
                  </a:lnTo>
                  <a:lnTo>
                    <a:pt x="284" y="333"/>
                  </a:lnTo>
                  <a:lnTo>
                    <a:pt x="282" y="336"/>
                  </a:lnTo>
                  <a:lnTo>
                    <a:pt x="288" y="336"/>
                  </a:lnTo>
                  <a:lnTo>
                    <a:pt x="296" y="336"/>
                  </a:lnTo>
                  <a:lnTo>
                    <a:pt x="299" y="334"/>
                  </a:lnTo>
                  <a:lnTo>
                    <a:pt x="301" y="337"/>
                  </a:lnTo>
                  <a:lnTo>
                    <a:pt x="302" y="340"/>
                  </a:lnTo>
                  <a:lnTo>
                    <a:pt x="309" y="346"/>
                  </a:lnTo>
                  <a:lnTo>
                    <a:pt x="312" y="347"/>
                  </a:lnTo>
                  <a:lnTo>
                    <a:pt x="317" y="346"/>
                  </a:lnTo>
                  <a:lnTo>
                    <a:pt x="328" y="348"/>
                  </a:lnTo>
                  <a:lnTo>
                    <a:pt x="331" y="348"/>
                  </a:lnTo>
                  <a:lnTo>
                    <a:pt x="334" y="351"/>
                  </a:lnTo>
                  <a:lnTo>
                    <a:pt x="338" y="353"/>
                  </a:lnTo>
                  <a:lnTo>
                    <a:pt x="341" y="357"/>
                  </a:lnTo>
                  <a:lnTo>
                    <a:pt x="341" y="360"/>
                  </a:lnTo>
                  <a:lnTo>
                    <a:pt x="336" y="364"/>
                  </a:lnTo>
                  <a:lnTo>
                    <a:pt x="338" y="369"/>
                  </a:lnTo>
                  <a:lnTo>
                    <a:pt x="339" y="372"/>
                  </a:lnTo>
                  <a:lnTo>
                    <a:pt x="341" y="374"/>
                  </a:lnTo>
                  <a:lnTo>
                    <a:pt x="340" y="378"/>
                  </a:lnTo>
                  <a:lnTo>
                    <a:pt x="341" y="380"/>
                  </a:lnTo>
                  <a:lnTo>
                    <a:pt x="343" y="383"/>
                  </a:lnTo>
                  <a:lnTo>
                    <a:pt x="343" y="385"/>
                  </a:lnTo>
                  <a:lnTo>
                    <a:pt x="345" y="388"/>
                  </a:lnTo>
                  <a:lnTo>
                    <a:pt x="347" y="391"/>
                  </a:lnTo>
                  <a:lnTo>
                    <a:pt x="348" y="395"/>
                  </a:lnTo>
                  <a:lnTo>
                    <a:pt x="347" y="398"/>
                  </a:lnTo>
                  <a:lnTo>
                    <a:pt x="348" y="400"/>
                  </a:lnTo>
                  <a:lnTo>
                    <a:pt x="347" y="404"/>
                  </a:lnTo>
                  <a:lnTo>
                    <a:pt x="342" y="405"/>
                  </a:lnTo>
                  <a:lnTo>
                    <a:pt x="339" y="403"/>
                  </a:lnTo>
                  <a:lnTo>
                    <a:pt x="338" y="400"/>
                  </a:lnTo>
                  <a:lnTo>
                    <a:pt x="335" y="396"/>
                  </a:lnTo>
                  <a:lnTo>
                    <a:pt x="332" y="394"/>
                  </a:lnTo>
                  <a:lnTo>
                    <a:pt x="329" y="393"/>
                  </a:lnTo>
                  <a:lnTo>
                    <a:pt x="326" y="394"/>
                  </a:lnTo>
                  <a:lnTo>
                    <a:pt x="321" y="391"/>
                  </a:lnTo>
                  <a:lnTo>
                    <a:pt x="317" y="385"/>
                  </a:lnTo>
                  <a:lnTo>
                    <a:pt x="314" y="384"/>
                  </a:lnTo>
                  <a:lnTo>
                    <a:pt x="311" y="384"/>
                  </a:lnTo>
                  <a:lnTo>
                    <a:pt x="308" y="383"/>
                  </a:lnTo>
                  <a:lnTo>
                    <a:pt x="308" y="380"/>
                  </a:lnTo>
                  <a:lnTo>
                    <a:pt x="308" y="377"/>
                  </a:lnTo>
                  <a:lnTo>
                    <a:pt x="303" y="377"/>
                  </a:lnTo>
                  <a:lnTo>
                    <a:pt x="299" y="379"/>
                  </a:lnTo>
                  <a:lnTo>
                    <a:pt x="295" y="383"/>
                  </a:lnTo>
                  <a:lnTo>
                    <a:pt x="290" y="385"/>
                  </a:lnTo>
                  <a:lnTo>
                    <a:pt x="282" y="387"/>
                  </a:lnTo>
                  <a:lnTo>
                    <a:pt x="280" y="389"/>
                  </a:lnTo>
                  <a:lnTo>
                    <a:pt x="277" y="392"/>
                  </a:lnTo>
                  <a:lnTo>
                    <a:pt x="274" y="394"/>
                  </a:lnTo>
                  <a:lnTo>
                    <a:pt x="270" y="394"/>
                  </a:lnTo>
                  <a:lnTo>
                    <a:pt x="268" y="394"/>
                  </a:lnTo>
                  <a:lnTo>
                    <a:pt x="268" y="397"/>
                  </a:lnTo>
                  <a:lnTo>
                    <a:pt x="267" y="400"/>
                  </a:lnTo>
                  <a:lnTo>
                    <a:pt x="271" y="401"/>
                  </a:lnTo>
                  <a:lnTo>
                    <a:pt x="275" y="400"/>
                  </a:lnTo>
                  <a:lnTo>
                    <a:pt x="279" y="401"/>
                  </a:lnTo>
                  <a:lnTo>
                    <a:pt x="281" y="402"/>
                  </a:lnTo>
                  <a:lnTo>
                    <a:pt x="282" y="406"/>
                  </a:lnTo>
                  <a:lnTo>
                    <a:pt x="278" y="408"/>
                  </a:lnTo>
                  <a:lnTo>
                    <a:pt x="280" y="410"/>
                  </a:lnTo>
                  <a:lnTo>
                    <a:pt x="282" y="413"/>
                  </a:lnTo>
                  <a:lnTo>
                    <a:pt x="282" y="416"/>
                  </a:lnTo>
                  <a:lnTo>
                    <a:pt x="283" y="420"/>
                  </a:lnTo>
                  <a:lnTo>
                    <a:pt x="288" y="422"/>
                  </a:lnTo>
                  <a:lnTo>
                    <a:pt x="292" y="425"/>
                  </a:lnTo>
                  <a:lnTo>
                    <a:pt x="295" y="426"/>
                  </a:lnTo>
                  <a:lnTo>
                    <a:pt x="298" y="425"/>
                  </a:lnTo>
                  <a:lnTo>
                    <a:pt x="296" y="419"/>
                  </a:lnTo>
                  <a:lnTo>
                    <a:pt x="296" y="416"/>
                  </a:lnTo>
                  <a:lnTo>
                    <a:pt x="299" y="415"/>
                  </a:lnTo>
                  <a:lnTo>
                    <a:pt x="300" y="419"/>
                  </a:lnTo>
                  <a:lnTo>
                    <a:pt x="299" y="423"/>
                  </a:lnTo>
                  <a:lnTo>
                    <a:pt x="303" y="425"/>
                  </a:lnTo>
                  <a:lnTo>
                    <a:pt x="306" y="428"/>
                  </a:lnTo>
                  <a:lnTo>
                    <a:pt x="311" y="431"/>
                  </a:lnTo>
                  <a:lnTo>
                    <a:pt x="310" y="434"/>
                  </a:lnTo>
                  <a:lnTo>
                    <a:pt x="306" y="436"/>
                  </a:lnTo>
                  <a:lnTo>
                    <a:pt x="297" y="438"/>
                  </a:lnTo>
                  <a:lnTo>
                    <a:pt x="294" y="439"/>
                  </a:lnTo>
                  <a:lnTo>
                    <a:pt x="291" y="441"/>
                  </a:lnTo>
                  <a:lnTo>
                    <a:pt x="293" y="443"/>
                  </a:lnTo>
                  <a:lnTo>
                    <a:pt x="290" y="445"/>
                  </a:lnTo>
                  <a:lnTo>
                    <a:pt x="290" y="449"/>
                  </a:lnTo>
                  <a:lnTo>
                    <a:pt x="287" y="449"/>
                  </a:lnTo>
                  <a:lnTo>
                    <a:pt x="283" y="447"/>
                  </a:lnTo>
                  <a:lnTo>
                    <a:pt x="280" y="446"/>
                  </a:lnTo>
                  <a:lnTo>
                    <a:pt x="279" y="443"/>
                  </a:lnTo>
                  <a:lnTo>
                    <a:pt x="282" y="440"/>
                  </a:lnTo>
                  <a:lnTo>
                    <a:pt x="283" y="437"/>
                  </a:lnTo>
                  <a:lnTo>
                    <a:pt x="280" y="436"/>
                  </a:lnTo>
                  <a:lnTo>
                    <a:pt x="276" y="437"/>
                  </a:lnTo>
                  <a:lnTo>
                    <a:pt x="273" y="437"/>
                  </a:lnTo>
                  <a:lnTo>
                    <a:pt x="272" y="434"/>
                  </a:lnTo>
                  <a:lnTo>
                    <a:pt x="268" y="432"/>
                  </a:lnTo>
                  <a:lnTo>
                    <a:pt x="265" y="431"/>
                  </a:lnTo>
                  <a:lnTo>
                    <a:pt x="262" y="434"/>
                  </a:lnTo>
                  <a:lnTo>
                    <a:pt x="259" y="431"/>
                  </a:lnTo>
                  <a:lnTo>
                    <a:pt x="256" y="428"/>
                  </a:lnTo>
                  <a:lnTo>
                    <a:pt x="252" y="430"/>
                  </a:lnTo>
                  <a:lnTo>
                    <a:pt x="252" y="433"/>
                  </a:lnTo>
                  <a:lnTo>
                    <a:pt x="253" y="436"/>
                  </a:lnTo>
                  <a:lnTo>
                    <a:pt x="253" y="438"/>
                  </a:lnTo>
                  <a:lnTo>
                    <a:pt x="255" y="442"/>
                  </a:lnTo>
                  <a:lnTo>
                    <a:pt x="256" y="445"/>
                  </a:lnTo>
                  <a:lnTo>
                    <a:pt x="261" y="450"/>
                  </a:lnTo>
                  <a:lnTo>
                    <a:pt x="262" y="452"/>
                  </a:lnTo>
                  <a:lnTo>
                    <a:pt x="265" y="456"/>
                  </a:lnTo>
                  <a:lnTo>
                    <a:pt x="269" y="461"/>
                  </a:lnTo>
                  <a:lnTo>
                    <a:pt x="270" y="464"/>
                  </a:lnTo>
                  <a:lnTo>
                    <a:pt x="270" y="468"/>
                  </a:lnTo>
                  <a:lnTo>
                    <a:pt x="274" y="469"/>
                  </a:lnTo>
                  <a:lnTo>
                    <a:pt x="276" y="471"/>
                  </a:lnTo>
                  <a:lnTo>
                    <a:pt x="279" y="476"/>
                  </a:lnTo>
                  <a:lnTo>
                    <a:pt x="280" y="478"/>
                  </a:lnTo>
                  <a:lnTo>
                    <a:pt x="280" y="481"/>
                  </a:lnTo>
                  <a:lnTo>
                    <a:pt x="281" y="484"/>
                  </a:lnTo>
                  <a:lnTo>
                    <a:pt x="284" y="489"/>
                  </a:lnTo>
                  <a:lnTo>
                    <a:pt x="286" y="491"/>
                  </a:lnTo>
                  <a:lnTo>
                    <a:pt x="289" y="495"/>
                  </a:lnTo>
                  <a:lnTo>
                    <a:pt x="288" y="498"/>
                  </a:lnTo>
                  <a:lnTo>
                    <a:pt x="290" y="501"/>
                  </a:lnTo>
                  <a:lnTo>
                    <a:pt x="287" y="502"/>
                  </a:lnTo>
                  <a:lnTo>
                    <a:pt x="285" y="505"/>
                  </a:lnTo>
                  <a:lnTo>
                    <a:pt x="286" y="509"/>
                  </a:lnTo>
                  <a:lnTo>
                    <a:pt x="288" y="513"/>
                  </a:lnTo>
                  <a:lnTo>
                    <a:pt x="291" y="517"/>
                  </a:lnTo>
                  <a:lnTo>
                    <a:pt x="295" y="518"/>
                  </a:lnTo>
                  <a:lnTo>
                    <a:pt x="297" y="521"/>
                  </a:lnTo>
                  <a:lnTo>
                    <a:pt x="298" y="524"/>
                  </a:lnTo>
                  <a:lnTo>
                    <a:pt x="302" y="526"/>
                  </a:lnTo>
                  <a:lnTo>
                    <a:pt x="299" y="528"/>
                  </a:lnTo>
                  <a:lnTo>
                    <a:pt x="294" y="529"/>
                  </a:lnTo>
                  <a:lnTo>
                    <a:pt x="291" y="526"/>
                  </a:lnTo>
                  <a:lnTo>
                    <a:pt x="291" y="523"/>
                  </a:lnTo>
                  <a:lnTo>
                    <a:pt x="285" y="523"/>
                  </a:lnTo>
                  <a:lnTo>
                    <a:pt x="280" y="518"/>
                  </a:lnTo>
                  <a:lnTo>
                    <a:pt x="275" y="515"/>
                  </a:lnTo>
                  <a:lnTo>
                    <a:pt x="272" y="510"/>
                  </a:lnTo>
                  <a:lnTo>
                    <a:pt x="270" y="507"/>
                  </a:lnTo>
                  <a:lnTo>
                    <a:pt x="268" y="502"/>
                  </a:lnTo>
                  <a:lnTo>
                    <a:pt x="265" y="500"/>
                  </a:lnTo>
                  <a:lnTo>
                    <a:pt x="259" y="501"/>
                  </a:lnTo>
                  <a:lnTo>
                    <a:pt x="254" y="502"/>
                  </a:lnTo>
                  <a:lnTo>
                    <a:pt x="251" y="505"/>
                  </a:lnTo>
                  <a:lnTo>
                    <a:pt x="252" y="508"/>
                  </a:lnTo>
                  <a:lnTo>
                    <a:pt x="248" y="512"/>
                  </a:lnTo>
                  <a:lnTo>
                    <a:pt x="251" y="514"/>
                  </a:lnTo>
                  <a:lnTo>
                    <a:pt x="247" y="517"/>
                  </a:lnTo>
                  <a:lnTo>
                    <a:pt x="249" y="521"/>
                  </a:lnTo>
                  <a:lnTo>
                    <a:pt x="246" y="521"/>
                  </a:lnTo>
                  <a:lnTo>
                    <a:pt x="247" y="527"/>
                  </a:lnTo>
                  <a:lnTo>
                    <a:pt x="248" y="531"/>
                  </a:lnTo>
                  <a:lnTo>
                    <a:pt x="251" y="534"/>
                  </a:lnTo>
                  <a:lnTo>
                    <a:pt x="249" y="537"/>
                  </a:lnTo>
                  <a:lnTo>
                    <a:pt x="251" y="540"/>
                  </a:lnTo>
                  <a:lnTo>
                    <a:pt x="247" y="537"/>
                  </a:lnTo>
                  <a:lnTo>
                    <a:pt x="243" y="534"/>
                  </a:lnTo>
                  <a:lnTo>
                    <a:pt x="240" y="534"/>
                  </a:lnTo>
                  <a:lnTo>
                    <a:pt x="237" y="532"/>
                  </a:lnTo>
                  <a:lnTo>
                    <a:pt x="238" y="528"/>
                  </a:lnTo>
                  <a:lnTo>
                    <a:pt x="238" y="525"/>
                  </a:lnTo>
                  <a:lnTo>
                    <a:pt x="237" y="522"/>
                  </a:lnTo>
                  <a:lnTo>
                    <a:pt x="238" y="519"/>
                  </a:lnTo>
                  <a:lnTo>
                    <a:pt x="237" y="517"/>
                  </a:lnTo>
                  <a:lnTo>
                    <a:pt x="237" y="514"/>
                  </a:lnTo>
                  <a:lnTo>
                    <a:pt x="234" y="513"/>
                  </a:lnTo>
                  <a:lnTo>
                    <a:pt x="232" y="510"/>
                  </a:lnTo>
                  <a:lnTo>
                    <a:pt x="230" y="507"/>
                  </a:lnTo>
                  <a:lnTo>
                    <a:pt x="223" y="498"/>
                  </a:lnTo>
                  <a:lnTo>
                    <a:pt x="219" y="500"/>
                  </a:lnTo>
                  <a:lnTo>
                    <a:pt x="216" y="498"/>
                  </a:lnTo>
                  <a:lnTo>
                    <a:pt x="217" y="495"/>
                  </a:lnTo>
                  <a:lnTo>
                    <a:pt x="217" y="490"/>
                  </a:lnTo>
                  <a:lnTo>
                    <a:pt x="216" y="487"/>
                  </a:lnTo>
                  <a:lnTo>
                    <a:pt x="211" y="487"/>
                  </a:lnTo>
                  <a:lnTo>
                    <a:pt x="208" y="487"/>
                  </a:lnTo>
                  <a:lnTo>
                    <a:pt x="204" y="490"/>
                  </a:lnTo>
                  <a:lnTo>
                    <a:pt x="202" y="491"/>
                  </a:lnTo>
                  <a:lnTo>
                    <a:pt x="201" y="503"/>
                  </a:lnTo>
                  <a:lnTo>
                    <a:pt x="202" y="506"/>
                  </a:lnTo>
                  <a:lnTo>
                    <a:pt x="202" y="509"/>
                  </a:lnTo>
                  <a:lnTo>
                    <a:pt x="206" y="510"/>
                  </a:lnTo>
                  <a:lnTo>
                    <a:pt x="203" y="514"/>
                  </a:lnTo>
                  <a:lnTo>
                    <a:pt x="201" y="517"/>
                  </a:lnTo>
                  <a:lnTo>
                    <a:pt x="198" y="516"/>
                  </a:lnTo>
                  <a:lnTo>
                    <a:pt x="195" y="511"/>
                  </a:lnTo>
                  <a:lnTo>
                    <a:pt x="190" y="513"/>
                  </a:lnTo>
                  <a:lnTo>
                    <a:pt x="187" y="511"/>
                  </a:lnTo>
                  <a:lnTo>
                    <a:pt x="184" y="508"/>
                  </a:lnTo>
                  <a:lnTo>
                    <a:pt x="184" y="505"/>
                  </a:lnTo>
                  <a:lnTo>
                    <a:pt x="185" y="502"/>
                  </a:lnTo>
                  <a:lnTo>
                    <a:pt x="184" y="499"/>
                  </a:lnTo>
                  <a:lnTo>
                    <a:pt x="181" y="499"/>
                  </a:lnTo>
                  <a:lnTo>
                    <a:pt x="180" y="496"/>
                  </a:lnTo>
                  <a:lnTo>
                    <a:pt x="174" y="491"/>
                  </a:lnTo>
                  <a:lnTo>
                    <a:pt x="172" y="489"/>
                  </a:lnTo>
                  <a:lnTo>
                    <a:pt x="171" y="485"/>
                  </a:lnTo>
                  <a:lnTo>
                    <a:pt x="171" y="482"/>
                  </a:lnTo>
                  <a:lnTo>
                    <a:pt x="171" y="478"/>
                  </a:lnTo>
                  <a:lnTo>
                    <a:pt x="176" y="471"/>
                  </a:lnTo>
                  <a:lnTo>
                    <a:pt x="179" y="466"/>
                  </a:lnTo>
                  <a:lnTo>
                    <a:pt x="177" y="462"/>
                  </a:lnTo>
                  <a:lnTo>
                    <a:pt x="175" y="459"/>
                  </a:lnTo>
                  <a:lnTo>
                    <a:pt x="169" y="450"/>
                  </a:lnTo>
                  <a:lnTo>
                    <a:pt x="166" y="446"/>
                  </a:lnTo>
                  <a:lnTo>
                    <a:pt x="157" y="442"/>
                  </a:lnTo>
                  <a:lnTo>
                    <a:pt x="153" y="439"/>
                  </a:lnTo>
                  <a:lnTo>
                    <a:pt x="148" y="438"/>
                  </a:lnTo>
                  <a:lnTo>
                    <a:pt x="147" y="441"/>
                  </a:lnTo>
                  <a:lnTo>
                    <a:pt x="145" y="438"/>
                  </a:lnTo>
                  <a:lnTo>
                    <a:pt x="145" y="434"/>
                  </a:lnTo>
                  <a:lnTo>
                    <a:pt x="143" y="429"/>
                  </a:lnTo>
                  <a:lnTo>
                    <a:pt x="138" y="426"/>
                  </a:lnTo>
                  <a:lnTo>
                    <a:pt x="130" y="425"/>
                  </a:lnTo>
                  <a:lnTo>
                    <a:pt x="129" y="421"/>
                  </a:lnTo>
                  <a:lnTo>
                    <a:pt x="129" y="414"/>
                  </a:lnTo>
                  <a:lnTo>
                    <a:pt x="135" y="413"/>
                  </a:lnTo>
                  <a:lnTo>
                    <a:pt x="138" y="410"/>
                  </a:lnTo>
                  <a:lnTo>
                    <a:pt x="140" y="408"/>
                  </a:lnTo>
                  <a:lnTo>
                    <a:pt x="142" y="404"/>
                  </a:lnTo>
                  <a:lnTo>
                    <a:pt x="140" y="406"/>
                  </a:lnTo>
                  <a:lnTo>
                    <a:pt x="142" y="401"/>
                  </a:lnTo>
                  <a:lnTo>
                    <a:pt x="144" y="396"/>
                  </a:lnTo>
                  <a:lnTo>
                    <a:pt x="144" y="388"/>
                  </a:lnTo>
                  <a:lnTo>
                    <a:pt x="147" y="388"/>
                  </a:lnTo>
                  <a:lnTo>
                    <a:pt x="150" y="387"/>
                  </a:lnTo>
                  <a:lnTo>
                    <a:pt x="155" y="390"/>
                  </a:lnTo>
                  <a:lnTo>
                    <a:pt x="161" y="390"/>
                  </a:lnTo>
                  <a:lnTo>
                    <a:pt x="164" y="389"/>
                  </a:lnTo>
                  <a:lnTo>
                    <a:pt x="167" y="384"/>
                  </a:lnTo>
                  <a:lnTo>
                    <a:pt x="169" y="378"/>
                  </a:lnTo>
                  <a:lnTo>
                    <a:pt x="176" y="371"/>
                  </a:lnTo>
                  <a:lnTo>
                    <a:pt x="182" y="371"/>
                  </a:lnTo>
                  <a:lnTo>
                    <a:pt x="185" y="370"/>
                  </a:lnTo>
                  <a:lnTo>
                    <a:pt x="188" y="371"/>
                  </a:lnTo>
                  <a:lnTo>
                    <a:pt x="191" y="373"/>
                  </a:lnTo>
                  <a:lnTo>
                    <a:pt x="195" y="375"/>
                  </a:lnTo>
                  <a:lnTo>
                    <a:pt x="198" y="375"/>
                  </a:lnTo>
                  <a:lnTo>
                    <a:pt x="201" y="378"/>
                  </a:lnTo>
                  <a:lnTo>
                    <a:pt x="205" y="379"/>
                  </a:lnTo>
                  <a:lnTo>
                    <a:pt x="209" y="380"/>
                  </a:lnTo>
                  <a:lnTo>
                    <a:pt x="212" y="380"/>
                  </a:lnTo>
                  <a:lnTo>
                    <a:pt x="215" y="380"/>
                  </a:lnTo>
                  <a:lnTo>
                    <a:pt x="219" y="381"/>
                  </a:lnTo>
                  <a:lnTo>
                    <a:pt x="222" y="381"/>
                  </a:lnTo>
                  <a:lnTo>
                    <a:pt x="228" y="382"/>
                  </a:lnTo>
                  <a:lnTo>
                    <a:pt x="236" y="385"/>
                  </a:lnTo>
                  <a:lnTo>
                    <a:pt x="241" y="385"/>
                  </a:lnTo>
                  <a:lnTo>
                    <a:pt x="249" y="390"/>
                  </a:lnTo>
                  <a:lnTo>
                    <a:pt x="253" y="393"/>
                  </a:lnTo>
                  <a:lnTo>
                    <a:pt x="257" y="395"/>
                  </a:lnTo>
                  <a:lnTo>
                    <a:pt x="261" y="393"/>
                  </a:lnTo>
                  <a:lnTo>
                    <a:pt x="264" y="390"/>
                  </a:lnTo>
                  <a:lnTo>
                    <a:pt x="262" y="388"/>
                  </a:lnTo>
                  <a:lnTo>
                    <a:pt x="258" y="386"/>
                  </a:lnTo>
                  <a:lnTo>
                    <a:pt x="255" y="386"/>
                  </a:lnTo>
                  <a:lnTo>
                    <a:pt x="257" y="384"/>
                  </a:lnTo>
                  <a:lnTo>
                    <a:pt x="260" y="381"/>
                  </a:lnTo>
                  <a:lnTo>
                    <a:pt x="266" y="381"/>
                  </a:lnTo>
                  <a:lnTo>
                    <a:pt x="270" y="381"/>
                  </a:lnTo>
                  <a:lnTo>
                    <a:pt x="277" y="378"/>
                  </a:lnTo>
                  <a:lnTo>
                    <a:pt x="280" y="376"/>
                  </a:lnTo>
                  <a:lnTo>
                    <a:pt x="276" y="374"/>
                  </a:lnTo>
                  <a:lnTo>
                    <a:pt x="280" y="371"/>
                  </a:lnTo>
                  <a:lnTo>
                    <a:pt x="274" y="371"/>
                  </a:lnTo>
                  <a:lnTo>
                    <a:pt x="271" y="367"/>
                  </a:lnTo>
                  <a:lnTo>
                    <a:pt x="269" y="370"/>
                  </a:lnTo>
                  <a:lnTo>
                    <a:pt x="265" y="370"/>
                  </a:lnTo>
                  <a:lnTo>
                    <a:pt x="264" y="368"/>
                  </a:lnTo>
                  <a:lnTo>
                    <a:pt x="259" y="368"/>
                  </a:lnTo>
                  <a:lnTo>
                    <a:pt x="261" y="371"/>
                  </a:lnTo>
                  <a:lnTo>
                    <a:pt x="257" y="371"/>
                  </a:lnTo>
                  <a:lnTo>
                    <a:pt x="255" y="367"/>
                  </a:lnTo>
                  <a:lnTo>
                    <a:pt x="252" y="368"/>
                  </a:lnTo>
                  <a:lnTo>
                    <a:pt x="248" y="369"/>
                  </a:lnTo>
                  <a:lnTo>
                    <a:pt x="244" y="368"/>
                  </a:lnTo>
                  <a:lnTo>
                    <a:pt x="246" y="365"/>
                  </a:lnTo>
                  <a:lnTo>
                    <a:pt x="242" y="364"/>
                  </a:lnTo>
                  <a:lnTo>
                    <a:pt x="239" y="363"/>
                  </a:lnTo>
                  <a:lnTo>
                    <a:pt x="237" y="361"/>
                  </a:lnTo>
                  <a:lnTo>
                    <a:pt x="236" y="357"/>
                  </a:lnTo>
                  <a:lnTo>
                    <a:pt x="233" y="359"/>
                  </a:lnTo>
                  <a:lnTo>
                    <a:pt x="230" y="362"/>
                  </a:lnTo>
                  <a:lnTo>
                    <a:pt x="232" y="365"/>
                  </a:lnTo>
                  <a:lnTo>
                    <a:pt x="229" y="366"/>
                  </a:lnTo>
                  <a:lnTo>
                    <a:pt x="227" y="364"/>
                  </a:lnTo>
                  <a:lnTo>
                    <a:pt x="226" y="361"/>
                  </a:lnTo>
                  <a:lnTo>
                    <a:pt x="221" y="357"/>
                  </a:lnTo>
                  <a:lnTo>
                    <a:pt x="215" y="353"/>
                  </a:lnTo>
                  <a:lnTo>
                    <a:pt x="216" y="355"/>
                  </a:lnTo>
                  <a:lnTo>
                    <a:pt x="214" y="360"/>
                  </a:lnTo>
                  <a:lnTo>
                    <a:pt x="216" y="362"/>
                  </a:lnTo>
                  <a:lnTo>
                    <a:pt x="213" y="364"/>
                  </a:lnTo>
                  <a:lnTo>
                    <a:pt x="208" y="365"/>
                  </a:lnTo>
                  <a:lnTo>
                    <a:pt x="205" y="364"/>
                  </a:lnTo>
                  <a:lnTo>
                    <a:pt x="202" y="367"/>
                  </a:lnTo>
                  <a:lnTo>
                    <a:pt x="199" y="366"/>
                  </a:lnTo>
                  <a:lnTo>
                    <a:pt x="195" y="364"/>
                  </a:lnTo>
                  <a:lnTo>
                    <a:pt x="191" y="363"/>
                  </a:lnTo>
                  <a:lnTo>
                    <a:pt x="188" y="364"/>
                  </a:lnTo>
                  <a:lnTo>
                    <a:pt x="184" y="363"/>
                  </a:lnTo>
                  <a:lnTo>
                    <a:pt x="180" y="366"/>
                  </a:lnTo>
                  <a:lnTo>
                    <a:pt x="175" y="365"/>
                  </a:lnTo>
                  <a:lnTo>
                    <a:pt x="171" y="369"/>
                  </a:lnTo>
                  <a:lnTo>
                    <a:pt x="171" y="372"/>
                  </a:lnTo>
                  <a:lnTo>
                    <a:pt x="166" y="370"/>
                  </a:lnTo>
                  <a:lnTo>
                    <a:pt x="162" y="371"/>
                  </a:lnTo>
                  <a:lnTo>
                    <a:pt x="159" y="373"/>
                  </a:lnTo>
                  <a:lnTo>
                    <a:pt x="154" y="376"/>
                  </a:lnTo>
                  <a:lnTo>
                    <a:pt x="151" y="378"/>
                  </a:lnTo>
                  <a:lnTo>
                    <a:pt x="146" y="376"/>
                  </a:lnTo>
                  <a:lnTo>
                    <a:pt x="150" y="377"/>
                  </a:lnTo>
                  <a:lnTo>
                    <a:pt x="149" y="374"/>
                  </a:lnTo>
                  <a:lnTo>
                    <a:pt x="146" y="372"/>
                  </a:lnTo>
                  <a:lnTo>
                    <a:pt x="143" y="370"/>
                  </a:lnTo>
                  <a:lnTo>
                    <a:pt x="140" y="364"/>
                  </a:lnTo>
                  <a:lnTo>
                    <a:pt x="136" y="362"/>
                  </a:lnTo>
                  <a:lnTo>
                    <a:pt x="139" y="368"/>
                  </a:lnTo>
                  <a:lnTo>
                    <a:pt x="139" y="370"/>
                  </a:lnTo>
                  <a:lnTo>
                    <a:pt x="136" y="373"/>
                  </a:lnTo>
                  <a:lnTo>
                    <a:pt x="134" y="376"/>
                  </a:lnTo>
                  <a:lnTo>
                    <a:pt x="131" y="378"/>
                  </a:lnTo>
                  <a:lnTo>
                    <a:pt x="128" y="380"/>
                  </a:lnTo>
                  <a:lnTo>
                    <a:pt x="124" y="378"/>
                  </a:lnTo>
                  <a:lnTo>
                    <a:pt x="121" y="378"/>
                  </a:lnTo>
                  <a:lnTo>
                    <a:pt x="122" y="375"/>
                  </a:lnTo>
                  <a:lnTo>
                    <a:pt x="125" y="373"/>
                  </a:lnTo>
                  <a:lnTo>
                    <a:pt x="121" y="373"/>
                  </a:lnTo>
                  <a:lnTo>
                    <a:pt x="120" y="370"/>
                  </a:lnTo>
                  <a:lnTo>
                    <a:pt x="122" y="370"/>
                  </a:lnTo>
                  <a:lnTo>
                    <a:pt x="121" y="367"/>
                  </a:lnTo>
                  <a:lnTo>
                    <a:pt x="120" y="365"/>
                  </a:lnTo>
                  <a:lnTo>
                    <a:pt x="120" y="362"/>
                  </a:lnTo>
                  <a:lnTo>
                    <a:pt x="117" y="363"/>
                  </a:lnTo>
                  <a:lnTo>
                    <a:pt x="114" y="362"/>
                  </a:lnTo>
                  <a:lnTo>
                    <a:pt x="114" y="357"/>
                  </a:lnTo>
                  <a:lnTo>
                    <a:pt x="112" y="353"/>
                  </a:lnTo>
                  <a:lnTo>
                    <a:pt x="110" y="349"/>
                  </a:lnTo>
                  <a:lnTo>
                    <a:pt x="107" y="349"/>
                  </a:lnTo>
                  <a:lnTo>
                    <a:pt x="101" y="340"/>
                  </a:lnTo>
                  <a:lnTo>
                    <a:pt x="98" y="339"/>
                  </a:lnTo>
                  <a:lnTo>
                    <a:pt x="96" y="342"/>
                  </a:lnTo>
                  <a:lnTo>
                    <a:pt x="93" y="343"/>
                  </a:lnTo>
                  <a:lnTo>
                    <a:pt x="89" y="339"/>
                  </a:lnTo>
                  <a:lnTo>
                    <a:pt x="90" y="336"/>
                  </a:lnTo>
                  <a:lnTo>
                    <a:pt x="93" y="333"/>
                  </a:lnTo>
                  <a:lnTo>
                    <a:pt x="90" y="330"/>
                  </a:lnTo>
                  <a:lnTo>
                    <a:pt x="90" y="327"/>
                  </a:lnTo>
                  <a:lnTo>
                    <a:pt x="93" y="328"/>
                  </a:lnTo>
                  <a:lnTo>
                    <a:pt x="95" y="327"/>
                  </a:lnTo>
                  <a:lnTo>
                    <a:pt x="97" y="324"/>
                  </a:lnTo>
                  <a:lnTo>
                    <a:pt x="98" y="327"/>
                  </a:lnTo>
                  <a:lnTo>
                    <a:pt x="100" y="326"/>
                  </a:lnTo>
                  <a:lnTo>
                    <a:pt x="103" y="325"/>
                  </a:lnTo>
                  <a:lnTo>
                    <a:pt x="107" y="324"/>
                  </a:lnTo>
                  <a:lnTo>
                    <a:pt x="110" y="325"/>
                  </a:lnTo>
                  <a:lnTo>
                    <a:pt x="110" y="328"/>
                  </a:lnTo>
                  <a:lnTo>
                    <a:pt x="115" y="330"/>
                  </a:lnTo>
                  <a:lnTo>
                    <a:pt x="115" y="327"/>
                  </a:lnTo>
                  <a:lnTo>
                    <a:pt x="118" y="326"/>
                  </a:lnTo>
                  <a:lnTo>
                    <a:pt x="121" y="329"/>
                  </a:lnTo>
                  <a:lnTo>
                    <a:pt x="120" y="325"/>
                  </a:lnTo>
                  <a:lnTo>
                    <a:pt x="118" y="323"/>
                  </a:lnTo>
                  <a:lnTo>
                    <a:pt x="118" y="320"/>
                  </a:lnTo>
                  <a:lnTo>
                    <a:pt x="117" y="315"/>
                  </a:lnTo>
                  <a:lnTo>
                    <a:pt x="113" y="312"/>
                  </a:lnTo>
                  <a:lnTo>
                    <a:pt x="110" y="317"/>
                  </a:lnTo>
                  <a:lnTo>
                    <a:pt x="106" y="317"/>
                  </a:lnTo>
                  <a:lnTo>
                    <a:pt x="103" y="316"/>
                  </a:lnTo>
                  <a:lnTo>
                    <a:pt x="102" y="314"/>
                  </a:lnTo>
                  <a:lnTo>
                    <a:pt x="99" y="314"/>
                  </a:lnTo>
                  <a:lnTo>
                    <a:pt x="96" y="315"/>
                  </a:lnTo>
                  <a:lnTo>
                    <a:pt x="93" y="314"/>
                  </a:lnTo>
                  <a:lnTo>
                    <a:pt x="93" y="311"/>
                  </a:lnTo>
                  <a:lnTo>
                    <a:pt x="91" y="312"/>
                  </a:lnTo>
                  <a:lnTo>
                    <a:pt x="90" y="316"/>
                  </a:lnTo>
                  <a:lnTo>
                    <a:pt x="89" y="318"/>
                  </a:lnTo>
                  <a:lnTo>
                    <a:pt x="92" y="322"/>
                  </a:lnTo>
                  <a:lnTo>
                    <a:pt x="90" y="323"/>
                  </a:lnTo>
                  <a:lnTo>
                    <a:pt x="88" y="326"/>
                  </a:lnTo>
                  <a:lnTo>
                    <a:pt x="86" y="323"/>
                  </a:lnTo>
                  <a:lnTo>
                    <a:pt x="85" y="318"/>
                  </a:lnTo>
                  <a:lnTo>
                    <a:pt x="81" y="314"/>
                  </a:lnTo>
                  <a:lnTo>
                    <a:pt x="76" y="312"/>
                  </a:lnTo>
                  <a:lnTo>
                    <a:pt x="70" y="306"/>
                  </a:lnTo>
                  <a:lnTo>
                    <a:pt x="67" y="304"/>
                  </a:lnTo>
                  <a:lnTo>
                    <a:pt x="66" y="301"/>
                  </a:lnTo>
                  <a:lnTo>
                    <a:pt x="64" y="298"/>
                  </a:lnTo>
                  <a:lnTo>
                    <a:pt x="61" y="299"/>
                  </a:lnTo>
                  <a:lnTo>
                    <a:pt x="58" y="299"/>
                  </a:lnTo>
                  <a:lnTo>
                    <a:pt x="55" y="298"/>
                  </a:lnTo>
                  <a:lnTo>
                    <a:pt x="52" y="296"/>
                  </a:lnTo>
                  <a:lnTo>
                    <a:pt x="52" y="293"/>
                  </a:lnTo>
                  <a:lnTo>
                    <a:pt x="49" y="290"/>
                  </a:lnTo>
                  <a:lnTo>
                    <a:pt x="46" y="286"/>
                  </a:lnTo>
                  <a:lnTo>
                    <a:pt x="49" y="285"/>
                  </a:lnTo>
                  <a:lnTo>
                    <a:pt x="45" y="281"/>
                  </a:lnTo>
                  <a:lnTo>
                    <a:pt x="48" y="281"/>
                  </a:lnTo>
                  <a:lnTo>
                    <a:pt x="46" y="278"/>
                  </a:lnTo>
                  <a:lnTo>
                    <a:pt x="43" y="279"/>
                  </a:lnTo>
                  <a:lnTo>
                    <a:pt x="40" y="278"/>
                  </a:lnTo>
                  <a:lnTo>
                    <a:pt x="39" y="275"/>
                  </a:lnTo>
                  <a:lnTo>
                    <a:pt x="42" y="271"/>
                  </a:lnTo>
                  <a:lnTo>
                    <a:pt x="40" y="269"/>
                  </a:lnTo>
                  <a:lnTo>
                    <a:pt x="36" y="267"/>
                  </a:lnTo>
                  <a:lnTo>
                    <a:pt x="30" y="266"/>
                  </a:lnTo>
                  <a:lnTo>
                    <a:pt x="27" y="265"/>
                  </a:lnTo>
                  <a:lnTo>
                    <a:pt x="30" y="264"/>
                  </a:lnTo>
                  <a:lnTo>
                    <a:pt x="34" y="265"/>
                  </a:lnTo>
                  <a:lnTo>
                    <a:pt x="37" y="266"/>
                  </a:lnTo>
                  <a:lnTo>
                    <a:pt x="41" y="268"/>
                  </a:lnTo>
                  <a:lnTo>
                    <a:pt x="43" y="265"/>
                  </a:lnTo>
                  <a:lnTo>
                    <a:pt x="45" y="263"/>
                  </a:lnTo>
                  <a:lnTo>
                    <a:pt x="48" y="260"/>
                  </a:lnTo>
                  <a:lnTo>
                    <a:pt x="47" y="257"/>
                  </a:lnTo>
                  <a:lnTo>
                    <a:pt x="46" y="255"/>
                  </a:lnTo>
                  <a:lnTo>
                    <a:pt x="46" y="252"/>
                  </a:lnTo>
                  <a:lnTo>
                    <a:pt x="50" y="253"/>
                  </a:lnTo>
                  <a:lnTo>
                    <a:pt x="54" y="252"/>
                  </a:lnTo>
                  <a:lnTo>
                    <a:pt x="54" y="248"/>
                  </a:lnTo>
                  <a:lnTo>
                    <a:pt x="50" y="243"/>
                  </a:lnTo>
                  <a:lnTo>
                    <a:pt x="46" y="236"/>
                  </a:lnTo>
                  <a:lnTo>
                    <a:pt x="49" y="234"/>
                  </a:lnTo>
                  <a:lnTo>
                    <a:pt x="51" y="231"/>
                  </a:lnTo>
                  <a:lnTo>
                    <a:pt x="54" y="227"/>
                  </a:lnTo>
                  <a:lnTo>
                    <a:pt x="57" y="226"/>
                  </a:lnTo>
                  <a:lnTo>
                    <a:pt x="62" y="226"/>
                  </a:lnTo>
                  <a:lnTo>
                    <a:pt x="68" y="223"/>
                  </a:lnTo>
                  <a:lnTo>
                    <a:pt x="69" y="218"/>
                  </a:lnTo>
                  <a:lnTo>
                    <a:pt x="69" y="215"/>
                  </a:lnTo>
                  <a:lnTo>
                    <a:pt x="70" y="212"/>
                  </a:lnTo>
                  <a:lnTo>
                    <a:pt x="70" y="208"/>
                  </a:lnTo>
                  <a:lnTo>
                    <a:pt x="70" y="204"/>
                  </a:lnTo>
                  <a:lnTo>
                    <a:pt x="72" y="201"/>
                  </a:lnTo>
                  <a:lnTo>
                    <a:pt x="73" y="198"/>
                  </a:lnTo>
                  <a:lnTo>
                    <a:pt x="74" y="195"/>
                  </a:lnTo>
                  <a:lnTo>
                    <a:pt x="73" y="191"/>
                  </a:lnTo>
                  <a:lnTo>
                    <a:pt x="76" y="189"/>
                  </a:lnTo>
                  <a:lnTo>
                    <a:pt x="77" y="186"/>
                  </a:lnTo>
                  <a:lnTo>
                    <a:pt x="79" y="185"/>
                  </a:lnTo>
                  <a:lnTo>
                    <a:pt x="83" y="185"/>
                  </a:lnTo>
                  <a:lnTo>
                    <a:pt x="85" y="183"/>
                  </a:lnTo>
                  <a:lnTo>
                    <a:pt x="86" y="179"/>
                  </a:lnTo>
                  <a:lnTo>
                    <a:pt x="88" y="177"/>
                  </a:lnTo>
                  <a:lnTo>
                    <a:pt x="89" y="174"/>
                  </a:lnTo>
                  <a:lnTo>
                    <a:pt x="89" y="170"/>
                  </a:lnTo>
                  <a:lnTo>
                    <a:pt x="89" y="166"/>
                  </a:lnTo>
                  <a:lnTo>
                    <a:pt x="87" y="163"/>
                  </a:lnTo>
                  <a:lnTo>
                    <a:pt x="83" y="160"/>
                  </a:lnTo>
                  <a:lnTo>
                    <a:pt x="81" y="157"/>
                  </a:lnTo>
                  <a:lnTo>
                    <a:pt x="82" y="154"/>
                  </a:lnTo>
                  <a:lnTo>
                    <a:pt x="82" y="149"/>
                  </a:lnTo>
                  <a:lnTo>
                    <a:pt x="92" y="147"/>
                  </a:lnTo>
                  <a:lnTo>
                    <a:pt x="96" y="144"/>
                  </a:lnTo>
                  <a:lnTo>
                    <a:pt x="102" y="145"/>
                  </a:lnTo>
                  <a:lnTo>
                    <a:pt x="108" y="143"/>
                  </a:lnTo>
                  <a:lnTo>
                    <a:pt x="111" y="140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3" y="141"/>
                  </a:lnTo>
                  <a:lnTo>
                    <a:pt x="126" y="140"/>
                  </a:lnTo>
                  <a:lnTo>
                    <a:pt x="128" y="138"/>
                  </a:lnTo>
                  <a:lnTo>
                    <a:pt x="131" y="134"/>
                  </a:lnTo>
                  <a:lnTo>
                    <a:pt x="135" y="134"/>
                  </a:lnTo>
                  <a:lnTo>
                    <a:pt x="138" y="132"/>
                  </a:lnTo>
                  <a:lnTo>
                    <a:pt x="138" y="130"/>
                  </a:lnTo>
                  <a:lnTo>
                    <a:pt x="141" y="126"/>
                  </a:lnTo>
                  <a:lnTo>
                    <a:pt x="143" y="122"/>
                  </a:lnTo>
                  <a:lnTo>
                    <a:pt x="144" y="118"/>
                  </a:lnTo>
                  <a:lnTo>
                    <a:pt x="146" y="115"/>
                  </a:lnTo>
                  <a:lnTo>
                    <a:pt x="152" y="111"/>
                  </a:lnTo>
                  <a:lnTo>
                    <a:pt x="157" y="112"/>
                  </a:lnTo>
                  <a:lnTo>
                    <a:pt x="161" y="108"/>
                  </a:lnTo>
                  <a:lnTo>
                    <a:pt x="164" y="107"/>
                  </a:lnTo>
                  <a:lnTo>
                    <a:pt x="168" y="107"/>
                  </a:lnTo>
                  <a:lnTo>
                    <a:pt x="171" y="107"/>
                  </a:lnTo>
                  <a:lnTo>
                    <a:pt x="174" y="108"/>
                  </a:lnTo>
                  <a:lnTo>
                    <a:pt x="177" y="108"/>
                  </a:lnTo>
                  <a:lnTo>
                    <a:pt x="181" y="109"/>
                  </a:lnTo>
                  <a:lnTo>
                    <a:pt x="184" y="108"/>
                  </a:lnTo>
                  <a:lnTo>
                    <a:pt x="187" y="107"/>
                  </a:lnTo>
                  <a:lnTo>
                    <a:pt x="191" y="107"/>
                  </a:lnTo>
                  <a:lnTo>
                    <a:pt x="193" y="105"/>
                  </a:lnTo>
                  <a:lnTo>
                    <a:pt x="194" y="102"/>
                  </a:lnTo>
                  <a:lnTo>
                    <a:pt x="196" y="101"/>
                  </a:lnTo>
                  <a:lnTo>
                    <a:pt x="200" y="103"/>
                  </a:lnTo>
                  <a:lnTo>
                    <a:pt x="201" y="97"/>
                  </a:lnTo>
                  <a:lnTo>
                    <a:pt x="200" y="90"/>
                  </a:lnTo>
                  <a:lnTo>
                    <a:pt x="200" y="87"/>
                  </a:lnTo>
                  <a:lnTo>
                    <a:pt x="205" y="84"/>
                  </a:lnTo>
                  <a:lnTo>
                    <a:pt x="211" y="83"/>
                  </a:lnTo>
                  <a:lnTo>
                    <a:pt x="225" y="83"/>
                  </a:lnTo>
                  <a:lnTo>
                    <a:pt x="228" y="81"/>
                  </a:lnTo>
                  <a:lnTo>
                    <a:pt x="231" y="79"/>
                  </a:lnTo>
                  <a:lnTo>
                    <a:pt x="231" y="76"/>
                  </a:lnTo>
                  <a:lnTo>
                    <a:pt x="233" y="73"/>
                  </a:lnTo>
                  <a:lnTo>
                    <a:pt x="236" y="72"/>
                  </a:lnTo>
                  <a:lnTo>
                    <a:pt x="239" y="74"/>
                  </a:lnTo>
                  <a:lnTo>
                    <a:pt x="241" y="73"/>
                  </a:lnTo>
                  <a:lnTo>
                    <a:pt x="245" y="70"/>
                  </a:lnTo>
                  <a:lnTo>
                    <a:pt x="252" y="69"/>
                  </a:lnTo>
                  <a:lnTo>
                    <a:pt x="257" y="71"/>
                  </a:lnTo>
                  <a:lnTo>
                    <a:pt x="260" y="70"/>
                  </a:lnTo>
                  <a:lnTo>
                    <a:pt x="263" y="67"/>
                  </a:lnTo>
                  <a:lnTo>
                    <a:pt x="268" y="66"/>
                  </a:lnTo>
                  <a:lnTo>
                    <a:pt x="270" y="63"/>
                  </a:lnTo>
                  <a:lnTo>
                    <a:pt x="273" y="62"/>
                  </a:lnTo>
                  <a:lnTo>
                    <a:pt x="276" y="60"/>
                  </a:lnTo>
                  <a:lnTo>
                    <a:pt x="281" y="60"/>
                  </a:lnTo>
                  <a:lnTo>
                    <a:pt x="284" y="58"/>
                  </a:lnTo>
                  <a:lnTo>
                    <a:pt x="286" y="58"/>
                  </a:lnTo>
                  <a:lnTo>
                    <a:pt x="287" y="54"/>
                  </a:lnTo>
                  <a:lnTo>
                    <a:pt x="287" y="51"/>
                  </a:lnTo>
                  <a:lnTo>
                    <a:pt x="291" y="49"/>
                  </a:lnTo>
                  <a:lnTo>
                    <a:pt x="294" y="50"/>
                  </a:lnTo>
                  <a:lnTo>
                    <a:pt x="296" y="47"/>
                  </a:lnTo>
                  <a:lnTo>
                    <a:pt x="299" y="45"/>
                  </a:lnTo>
                  <a:lnTo>
                    <a:pt x="303" y="47"/>
                  </a:lnTo>
                  <a:lnTo>
                    <a:pt x="307" y="48"/>
                  </a:lnTo>
                  <a:lnTo>
                    <a:pt x="310" y="46"/>
                  </a:lnTo>
                  <a:lnTo>
                    <a:pt x="312" y="46"/>
                  </a:lnTo>
                  <a:lnTo>
                    <a:pt x="316" y="43"/>
                  </a:lnTo>
                  <a:lnTo>
                    <a:pt x="319" y="43"/>
                  </a:lnTo>
                  <a:lnTo>
                    <a:pt x="321" y="47"/>
                  </a:lnTo>
                  <a:lnTo>
                    <a:pt x="325" y="50"/>
                  </a:lnTo>
                  <a:lnTo>
                    <a:pt x="327" y="52"/>
                  </a:lnTo>
                  <a:lnTo>
                    <a:pt x="330" y="52"/>
                  </a:lnTo>
                  <a:lnTo>
                    <a:pt x="333" y="53"/>
                  </a:lnTo>
                  <a:lnTo>
                    <a:pt x="335" y="54"/>
                  </a:lnTo>
                  <a:lnTo>
                    <a:pt x="338" y="56"/>
                  </a:lnTo>
                  <a:lnTo>
                    <a:pt x="341" y="57"/>
                  </a:lnTo>
                  <a:lnTo>
                    <a:pt x="341" y="54"/>
                  </a:lnTo>
                  <a:lnTo>
                    <a:pt x="344" y="52"/>
                  </a:lnTo>
                  <a:lnTo>
                    <a:pt x="347" y="51"/>
                  </a:lnTo>
                  <a:lnTo>
                    <a:pt x="361" y="54"/>
                  </a:lnTo>
                  <a:lnTo>
                    <a:pt x="364" y="55"/>
                  </a:lnTo>
                  <a:lnTo>
                    <a:pt x="367" y="56"/>
                  </a:lnTo>
                  <a:lnTo>
                    <a:pt x="372" y="60"/>
                  </a:lnTo>
                  <a:lnTo>
                    <a:pt x="375" y="61"/>
                  </a:lnTo>
                  <a:lnTo>
                    <a:pt x="387" y="54"/>
                  </a:lnTo>
                  <a:lnTo>
                    <a:pt x="390" y="53"/>
                  </a:lnTo>
                  <a:lnTo>
                    <a:pt x="392" y="51"/>
                  </a:lnTo>
                  <a:lnTo>
                    <a:pt x="400" y="49"/>
                  </a:lnTo>
                  <a:lnTo>
                    <a:pt x="403" y="49"/>
                  </a:lnTo>
                  <a:lnTo>
                    <a:pt x="406" y="47"/>
                  </a:lnTo>
                  <a:lnTo>
                    <a:pt x="409" y="46"/>
                  </a:lnTo>
                  <a:lnTo>
                    <a:pt x="411" y="44"/>
                  </a:lnTo>
                  <a:lnTo>
                    <a:pt x="416" y="46"/>
                  </a:lnTo>
                  <a:lnTo>
                    <a:pt x="419" y="44"/>
                  </a:lnTo>
                  <a:lnTo>
                    <a:pt x="422" y="44"/>
                  </a:lnTo>
                  <a:lnTo>
                    <a:pt x="425" y="41"/>
                  </a:lnTo>
                  <a:lnTo>
                    <a:pt x="431" y="38"/>
                  </a:lnTo>
                  <a:lnTo>
                    <a:pt x="433" y="34"/>
                  </a:lnTo>
                  <a:lnTo>
                    <a:pt x="434" y="31"/>
                  </a:lnTo>
                  <a:lnTo>
                    <a:pt x="433" y="28"/>
                  </a:lnTo>
                  <a:lnTo>
                    <a:pt x="432" y="25"/>
                  </a:lnTo>
                  <a:lnTo>
                    <a:pt x="432" y="21"/>
                  </a:lnTo>
                  <a:lnTo>
                    <a:pt x="429" y="19"/>
                  </a:lnTo>
                  <a:lnTo>
                    <a:pt x="428" y="15"/>
                  </a:lnTo>
                  <a:lnTo>
                    <a:pt x="425" y="13"/>
                  </a:lnTo>
                  <a:lnTo>
                    <a:pt x="422" y="10"/>
                  </a:lnTo>
                  <a:lnTo>
                    <a:pt x="421" y="8"/>
                  </a:lnTo>
                  <a:lnTo>
                    <a:pt x="425" y="3"/>
                  </a:lnTo>
                  <a:lnTo>
                    <a:pt x="430" y="2"/>
                  </a:lnTo>
                  <a:lnTo>
                    <a:pt x="432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61" name="HU">
              <a:extLst>
                <a:ext uri="{FF2B5EF4-FFF2-40B4-BE49-F238E27FC236}">
                  <a16:creationId xmlns:a16="http://schemas.microsoft.com/office/drawing/2014/main" id="{F01D7CAA-65A1-379D-187E-E3E0FA111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826" y="4660613"/>
              <a:ext cx="793969" cy="511229"/>
            </a:xfrm>
            <a:custGeom>
              <a:avLst/>
              <a:gdLst>
                <a:gd name="T0" fmla="*/ 329 w 414"/>
                <a:gd name="T1" fmla="*/ 10 h 286"/>
                <a:gd name="T2" fmla="*/ 346 w 414"/>
                <a:gd name="T3" fmla="*/ 14 h 286"/>
                <a:gd name="T4" fmla="*/ 367 w 414"/>
                <a:gd name="T5" fmla="*/ 5 h 286"/>
                <a:gd name="T6" fmla="*/ 377 w 414"/>
                <a:gd name="T7" fmla="*/ 20 h 286"/>
                <a:gd name="T8" fmla="*/ 392 w 414"/>
                <a:gd name="T9" fmla="*/ 28 h 286"/>
                <a:gd name="T10" fmla="*/ 409 w 414"/>
                <a:gd name="T11" fmla="*/ 31 h 286"/>
                <a:gd name="T12" fmla="*/ 408 w 414"/>
                <a:gd name="T13" fmla="*/ 49 h 286"/>
                <a:gd name="T14" fmla="*/ 397 w 414"/>
                <a:gd name="T15" fmla="*/ 63 h 286"/>
                <a:gd name="T16" fmla="*/ 379 w 414"/>
                <a:gd name="T17" fmla="*/ 69 h 286"/>
                <a:gd name="T18" fmla="*/ 371 w 414"/>
                <a:gd name="T19" fmla="*/ 84 h 286"/>
                <a:gd name="T20" fmla="*/ 367 w 414"/>
                <a:gd name="T21" fmla="*/ 101 h 286"/>
                <a:gd name="T22" fmla="*/ 359 w 414"/>
                <a:gd name="T23" fmla="*/ 121 h 286"/>
                <a:gd name="T24" fmla="*/ 350 w 414"/>
                <a:gd name="T25" fmla="*/ 140 h 286"/>
                <a:gd name="T26" fmla="*/ 349 w 414"/>
                <a:gd name="T27" fmla="*/ 157 h 286"/>
                <a:gd name="T28" fmla="*/ 346 w 414"/>
                <a:gd name="T29" fmla="*/ 170 h 286"/>
                <a:gd name="T30" fmla="*/ 334 w 414"/>
                <a:gd name="T31" fmla="*/ 188 h 286"/>
                <a:gd name="T32" fmla="*/ 331 w 414"/>
                <a:gd name="T33" fmla="*/ 201 h 286"/>
                <a:gd name="T34" fmla="*/ 321 w 414"/>
                <a:gd name="T35" fmla="*/ 218 h 286"/>
                <a:gd name="T36" fmla="*/ 307 w 414"/>
                <a:gd name="T37" fmla="*/ 218 h 286"/>
                <a:gd name="T38" fmla="*/ 296 w 414"/>
                <a:gd name="T39" fmla="*/ 232 h 286"/>
                <a:gd name="T40" fmla="*/ 274 w 414"/>
                <a:gd name="T41" fmla="*/ 237 h 286"/>
                <a:gd name="T42" fmla="*/ 256 w 414"/>
                <a:gd name="T43" fmla="*/ 235 h 286"/>
                <a:gd name="T44" fmla="*/ 234 w 414"/>
                <a:gd name="T45" fmla="*/ 236 h 286"/>
                <a:gd name="T46" fmla="*/ 223 w 414"/>
                <a:gd name="T47" fmla="*/ 247 h 286"/>
                <a:gd name="T48" fmla="*/ 212 w 414"/>
                <a:gd name="T49" fmla="*/ 258 h 286"/>
                <a:gd name="T50" fmla="*/ 188 w 414"/>
                <a:gd name="T51" fmla="*/ 265 h 286"/>
                <a:gd name="T52" fmla="*/ 172 w 414"/>
                <a:gd name="T53" fmla="*/ 271 h 286"/>
                <a:gd name="T54" fmla="*/ 160 w 414"/>
                <a:gd name="T55" fmla="*/ 285 h 286"/>
                <a:gd name="T56" fmla="*/ 146 w 414"/>
                <a:gd name="T57" fmla="*/ 284 h 286"/>
                <a:gd name="T58" fmla="*/ 122 w 414"/>
                <a:gd name="T59" fmla="*/ 285 h 286"/>
                <a:gd name="T60" fmla="*/ 101 w 414"/>
                <a:gd name="T61" fmla="*/ 273 h 286"/>
                <a:gd name="T62" fmla="*/ 87 w 414"/>
                <a:gd name="T63" fmla="*/ 271 h 286"/>
                <a:gd name="T64" fmla="*/ 72 w 414"/>
                <a:gd name="T65" fmla="*/ 260 h 286"/>
                <a:gd name="T66" fmla="*/ 55 w 414"/>
                <a:gd name="T67" fmla="*/ 243 h 286"/>
                <a:gd name="T68" fmla="*/ 40 w 414"/>
                <a:gd name="T69" fmla="*/ 232 h 286"/>
                <a:gd name="T70" fmla="*/ 23 w 414"/>
                <a:gd name="T71" fmla="*/ 219 h 286"/>
                <a:gd name="T72" fmla="*/ 16 w 414"/>
                <a:gd name="T73" fmla="*/ 208 h 286"/>
                <a:gd name="T74" fmla="*/ 3 w 414"/>
                <a:gd name="T75" fmla="*/ 198 h 286"/>
                <a:gd name="T76" fmla="*/ 10 w 414"/>
                <a:gd name="T77" fmla="*/ 184 h 286"/>
                <a:gd name="T78" fmla="*/ 24 w 414"/>
                <a:gd name="T79" fmla="*/ 183 h 286"/>
                <a:gd name="T80" fmla="*/ 20 w 414"/>
                <a:gd name="T81" fmla="*/ 169 h 286"/>
                <a:gd name="T82" fmla="*/ 21 w 414"/>
                <a:gd name="T83" fmla="*/ 155 h 286"/>
                <a:gd name="T84" fmla="*/ 30 w 414"/>
                <a:gd name="T85" fmla="*/ 139 h 286"/>
                <a:gd name="T86" fmla="*/ 29 w 414"/>
                <a:gd name="T87" fmla="*/ 125 h 286"/>
                <a:gd name="T88" fmla="*/ 18 w 414"/>
                <a:gd name="T89" fmla="*/ 118 h 286"/>
                <a:gd name="T90" fmla="*/ 31 w 414"/>
                <a:gd name="T91" fmla="*/ 114 h 286"/>
                <a:gd name="T92" fmla="*/ 50 w 414"/>
                <a:gd name="T93" fmla="*/ 115 h 286"/>
                <a:gd name="T94" fmla="*/ 52 w 414"/>
                <a:gd name="T95" fmla="*/ 101 h 286"/>
                <a:gd name="T96" fmla="*/ 58 w 414"/>
                <a:gd name="T97" fmla="*/ 85 h 286"/>
                <a:gd name="T98" fmla="*/ 82 w 414"/>
                <a:gd name="T99" fmla="*/ 94 h 286"/>
                <a:gd name="T100" fmla="*/ 96 w 414"/>
                <a:gd name="T101" fmla="*/ 104 h 286"/>
                <a:gd name="T102" fmla="*/ 135 w 414"/>
                <a:gd name="T103" fmla="*/ 98 h 286"/>
                <a:gd name="T104" fmla="*/ 159 w 414"/>
                <a:gd name="T105" fmla="*/ 92 h 286"/>
                <a:gd name="T106" fmla="*/ 158 w 414"/>
                <a:gd name="T107" fmla="*/ 76 h 286"/>
                <a:gd name="T108" fmla="*/ 178 w 414"/>
                <a:gd name="T109" fmla="*/ 65 h 286"/>
                <a:gd name="T110" fmla="*/ 202 w 414"/>
                <a:gd name="T111" fmla="*/ 55 h 286"/>
                <a:gd name="T112" fmla="*/ 219 w 414"/>
                <a:gd name="T113" fmla="*/ 50 h 286"/>
                <a:gd name="T114" fmla="*/ 231 w 414"/>
                <a:gd name="T115" fmla="*/ 50 h 286"/>
                <a:gd name="T116" fmla="*/ 247 w 414"/>
                <a:gd name="T117" fmla="*/ 39 h 286"/>
                <a:gd name="T118" fmla="*/ 256 w 414"/>
                <a:gd name="T119" fmla="*/ 20 h 286"/>
                <a:gd name="T120" fmla="*/ 280 w 414"/>
                <a:gd name="T121" fmla="*/ 7 h 286"/>
                <a:gd name="T122" fmla="*/ 295 w 414"/>
                <a:gd name="T123" fmla="*/ 9 h 286"/>
                <a:gd name="T124" fmla="*/ 315 w 414"/>
                <a:gd name="T125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" h="286">
                  <a:moveTo>
                    <a:pt x="315" y="0"/>
                  </a:moveTo>
                  <a:lnTo>
                    <a:pt x="318" y="1"/>
                  </a:lnTo>
                  <a:lnTo>
                    <a:pt x="321" y="4"/>
                  </a:lnTo>
                  <a:lnTo>
                    <a:pt x="327" y="5"/>
                  </a:lnTo>
                  <a:lnTo>
                    <a:pt x="329" y="10"/>
                  </a:lnTo>
                  <a:lnTo>
                    <a:pt x="333" y="15"/>
                  </a:lnTo>
                  <a:lnTo>
                    <a:pt x="336" y="17"/>
                  </a:lnTo>
                  <a:lnTo>
                    <a:pt x="341" y="17"/>
                  </a:lnTo>
                  <a:lnTo>
                    <a:pt x="344" y="15"/>
                  </a:lnTo>
                  <a:lnTo>
                    <a:pt x="346" y="14"/>
                  </a:lnTo>
                  <a:lnTo>
                    <a:pt x="349" y="12"/>
                  </a:lnTo>
                  <a:lnTo>
                    <a:pt x="354" y="11"/>
                  </a:lnTo>
                  <a:lnTo>
                    <a:pt x="359" y="10"/>
                  </a:lnTo>
                  <a:lnTo>
                    <a:pt x="363" y="6"/>
                  </a:lnTo>
                  <a:lnTo>
                    <a:pt x="367" y="5"/>
                  </a:lnTo>
                  <a:lnTo>
                    <a:pt x="369" y="6"/>
                  </a:lnTo>
                  <a:lnTo>
                    <a:pt x="371" y="10"/>
                  </a:lnTo>
                  <a:lnTo>
                    <a:pt x="372" y="12"/>
                  </a:lnTo>
                  <a:lnTo>
                    <a:pt x="373" y="16"/>
                  </a:lnTo>
                  <a:lnTo>
                    <a:pt x="377" y="20"/>
                  </a:lnTo>
                  <a:lnTo>
                    <a:pt x="379" y="19"/>
                  </a:lnTo>
                  <a:lnTo>
                    <a:pt x="381" y="19"/>
                  </a:lnTo>
                  <a:lnTo>
                    <a:pt x="384" y="18"/>
                  </a:lnTo>
                  <a:lnTo>
                    <a:pt x="390" y="24"/>
                  </a:lnTo>
                  <a:lnTo>
                    <a:pt x="392" y="28"/>
                  </a:lnTo>
                  <a:lnTo>
                    <a:pt x="395" y="30"/>
                  </a:lnTo>
                  <a:lnTo>
                    <a:pt x="399" y="29"/>
                  </a:lnTo>
                  <a:lnTo>
                    <a:pt x="402" y="27"/>
                  </a:lnTo>
                  <a:lnTo>
                    <a:pt x="406" y="29"/>
                  </a:lnTo>
                  <a:lnTo>
                    <a:pt x="409" y="31"/>
                  </a:lnTo>
                  <a:lnTo>
                    <a:pt x="412" y="35"/>
                  </a:lnTo>
                  <a:lnTo>
                    <a:pt x="411" y="38"/>
                  </a:lnTo>
                  <a:lnTo>
                    <a:pt x="414" y="42"/>
                  </a:lnTo>
                  <a:lnTo>
                    <a:pt x="412" y="47"/>
                  </a:lnTo>
                  <a:lnTo>
                    <a:pt x="408" y="49"/>
                  </a:lnTo>
                  <a:lnTo>
                    <a:pt x="407" y="52"/>
                  </a:lnTo>
                  <a:lnTo>
                    <a:pt x="405" y="55"/>
                  </a:lnTo>
                  <a:lnTo>
                    <a:pt x="402" y="59"/>
                  </a:lnTo>
                  <a:lnTo>
                    <a:pt x="399" y="62"/>
                  </a:lnTo>
                  <a:lnTo>
                    <a:pt x="397" y="63"/>
                  </a:lnTo>
                  <a:lnTo>
                    <a:pt x="389" y="61"/>
                  </a:lnTo>
                  <a:lnTo>
                    <a:pt x="387" y="66"/>
                  </a:lnTo>
                  <a:lnTo>
                    <a:pt x="385" y="67"/>
                  </a:lnTo>
                  <a:lnTo>
                    <a:pt x="382" y="67"/>
                  </a:lnTo>
                  <a:lnTo>
                    <a:pt x="379" y="69"/>
                  </a:lnTo>
                  <a:lnTo>
                    <a:pt x="378" y="72"/>
                  </a:lnTo>
                  <a:lnTo>
                    <a:pt x="376" y="75"/>
                  </a:lnTo>
                  <a:lnTo>
                    <a:pt x="375" y="80"/>
                  </a:lnTo>
                  <a:lnTo>
                    <a:pt x="375" y="82"/>
                  </a:lnTo>
                  <a:lnTo>
                    <a:pt x="371" y="84"/>
                  </a:lnTo>
                  <a:lnTo>
                    <a:pt x="368" y="88"/>
                  </a:lnTo>
                  <a:lnTo>
                    <a:pt x="365" y="93"/>
                  </a:lnTo>
                  <a:lnTo>
                    <a:pt x="366" y="95"/>
                  </a:lnTo>
                  <a:lnTo>
                    <a:pt x="367" y="98"/>
                  </a:lnTo>
                  <a:lnTo>
                    <a:pt x="367" y="101"/>
                  </a:lnTo>
                  <a:lnTo>
                    <a:pt x="364" y="106"/>
                  </a:lnTo>
                  <a:lnTo>
                    <a:pt x="362" y="109"/>
                  </a:lnTo>
                  <a:lnTo>
                    <a:pt x="360" y="113"/>
                  </a:lnTo>
                  <a:lnTo>
                    <a:pt x="360" y="117"/>
                  </a:lnTo>
                  <a:lnTo>
                    <a:pt x="359" y="121"/>
                  </a:lnTo>
                  <a:lnTo>
                    <a:pt x="360" y="123"/>
                  </a:lnTo>
                  <a:lnTo>
                    <a:pt x="358" y="127"/>
                  </a:lnTo>
                  <a:lnTo>
                    <a:pt x="357" y="130"/>
                  </a:lnTo>
                  <a:lnTo>
                    <a:pt x="353" y="135"/>
                  </a:lnTo>
                  <a:lnTo>
                    <a:pt x="350" y="140"/>
                  </a:lnTo>
                  <a:lnTo>
                    <a:pt x="353" y="142"/>
                  </a:lnTo>
                  <a:lnTo>
                    <a:pt x="352" y="147"/>
                  </a:lnTo>
                  <a:lnTo>
                    <a:pt x="349" y="151"/>
                  </a:lnTo>
                  <a:lnTo>
                    <a:pt x="349" y="154"/>
                  </a:lnTo>
                  <a:lnTo>
                    <a:pt x="349" y="157"/>
                  </a:lnTo>
                  <a:lnTo>
                    <a:pt x="347" y="158"/>
                  </a:lnTo>
                  <a:lnTo>
                    <a:pt x="345" y="161"/>
                  </a:lnTo>
                  <a:lnTo>
                    <a:pt x="344" y="165"/>
                  </a:lnTo>
                  <a:lnTo>
                    <a:pt x="344" y="167"/>
                  </a:lnTo>
                  <a:lnTo>
                    <a:pt x="346" y="170"/>
                  </a:lnTo>
                  <a:lnTo>
                    <a:pt x="344" y="174"/>
                  </a:lnTo>
                  <a:lnTo>
                    <a:pt x="342" y="176"/>
                  </a:lnTo>
                  <a:lnTo>
                    <a:pt x="341" y="179"/>
                  </a:lnTo>
                  <a:lnTo>
                    <a:pt x="336" y="180"/>
                  </a:lnTo>
                  <a:lnTo>
                    <a:pt x="334" y="188"/>
                  </a:lnTo>
                  <a:lnTo>
                    <a:pt x="333" y="191"/>
                  </a:lnTo>
                  <a:lnTo>
                    <a:pt x="332" y="194"/>
                  </a:lnTo>
                  <a:lnTo>
                    <a:pt x="335" y="198"/>
                  </a:lnTo>
                  <a:lnTo>
                    <a:pt x="334" y="201"/>
                  </a:lnTo>
                  <a:lnTo>
                    <a:pt x="331" y="201"/>
                  </a:lnTo>
                  <a:lnTo>
                    <a:pt x="329" y="210"/>
                  </a:lnTo>
                  <a:lnTo>
                    <a:pt x="328" y="213"/>
                  </a:lnTo>
                  <a:lnTo>
                    <a:pt x="326" y="214"/>
                  </a:lnTo>
                  <a:lnTo>
                    <a:pt x="323" y="218"/>
                  </a:lnTo>
                  <a:lnTo>
                    <a:pt x="321" y="218"/>
                  </a:lnTo>
                  <a:lnTo>
                    <a:pt x="317" y="218"/>
                  </a:lnTo>
                  <a:lnTo>
                    <a:pt x="315" y="217"/>
                  </a:lnTo>
                  <a:lnTo>
                    <a:pt x="312" y="218"/>
                  </a:lnTo>
                  <a:lnTo>
                    <a:pt x="310" y="217"/>
                  </a:lnTo>
                  <a:lnTo>
                    <a:pt x="307" y="218"/>
                  </a:lnTo>
                  <a:lnTo>
                    <a:pt x="303" y="221"/>
                  </a:lnTo>
                  <a:lnTo>
                    <a:pt x="304" y="224"/>
                  </a:lnTo>
                  <a:lnTo>
                    <a:pt x="302" y="226"/>
                  </a:lnTo>
                  <a:lnTo>
                    <a:pt x="301" y="230"/>
                  </a:lnTo>
                  <a:lnTo>
                    <a:pt x="296" y="232"/>
                  </a:lnTo>
                  <a:lnTo>
                    <a:pt x="292" y="230"/>
                  </a:lnTo>
                  <a:lnTo>
                    <a:pt x="290" y="229"/>
                  </a:lnTo>
                  <a:lnTo>
                    <a:pt x="287" y="229"/>
                  </a:lnTo>
                  <a:lnTo>
                    <a:pt x="276" y="234"/>
                  </a:lnTo>
                  <a:lnTo>
                    <a:pt x="274" y="237"/>
                  </a:lnTo>
                  <a:lnTo>
                    <a:pt x="270" y="235"/>
                  </a:lnTo>
                  <a:lnTo>
                    <a:pt x="267" y="235"/>
                  </a:lnTo>
                  <a:lnTo>
                    <a:pt x="263" y="234"/>
                  </a:lnTo>
                  <a:lnTo>
                    <a:pt x="259" y="236"/>
                  </a:lnTo>
                  <a:lnTo>
                    <a:pt x="256" y="235"/>
                  </a:lnTo>
                  <a:lnTo>
                    <a:pt x="252" y="235"/>
                  </a:lnTo>
                  <a:lnTo>
                    <a:pt x="250" y="236"/>
                  </a:lnTo>
                  <a:lnTo>
                    <a:pt x="244" y="240"/>
                  </a:lnTo>
                  <a:lnTo>
                    <a:pt x="237" y="236"/>
                  </a:lnTo>
                  <a:lnTo>
                    <a:pt x="234" y="236"/>
                  </a:lnTo>
                  <a:lnTo>
                    <a:pt x="231" y="237"/>
                  </a:lnTo>
                  <a:lnTo>
                    <a:pt x="228" y="238"/>
                  </a:lnTo>
                  <a:lnTo>
                    <a:pt x="225" y="241"/>
                  </a:lnTo>
                  <a:lnTo>
                    <a:pt x="225" y="244"/>
                  </a:lnTo>
                  <a:lnTo>
                    <a:pt x="223" y="247"/>
                  </a:lnTo>
                  <a:lnTo>
                    <a:pt x="221" y="249"/>
                  </a:lnTo>
                  <a:lnTo>
                    <a:pt x="219" y="252"/>
                  </a:lnTo>
                  <a:lnTo>
                    <a:pt x="215" y="253"/>
                  </a:lnTo>
                  <a:lnTo>
                    <a:pt x="213" y="255"/>
                  </a:lnTo>
                  <a:lnTo>
                    <a:pt x="212" y="258"/>
                  </a:lnTo>
                  <a:lnTo>
                    <a:pt x="210" y="258"/>
                  </a:lnTo>
                  <a:lnTo>
                    <a:pt x="198" y="261"/>
                  </a:lnTo>
                  <a:lnTo>
                    <a:pt x="196" y="262"/>
                  </a:lnTo>
                  <a:lnTo>
                    <a:pt x="195" y="265"/>
                  </a:lnTo>
                  <a:lnTo>
                    <a:pt x="188" y="265"/>
                  </a:lnTo>
                  <a:lnTo>
                    <a:pt x="184" y="268"/>
                  </a:lnTo>
                  <a:lnTo>
                    <a:pt x="182" y="270"/>
                  </a:lnTo>
                  <a:lnTo>
                    <a:pt x="177" y="270"/>
                  </a:lnTo>
                  <a:lnTo>
                    <a:pt x="174" y="269"/>
                  </a:lnTo>
                  <a:lnTo>
                    <a:pt x="172" y="271"/>
                  </a:lnTo>
                  <a:lnTo>
                    <a:pt x="170" y="274"/>
                  </a:lnTo>
                  <a:lnTo>
                    <a:pt x="169" y="277"/>
                  </a:lnTo>
                  <a:lnTo>
                    <a:pt x="166" y="281"/>
                  </a:lnTo>
                  <a:lnTo>
                    <a:pt x="163" y="281"/>
                  </a:lnTo>
                  <a:lnTo>
                    <a:pt x="160" y="285"/>
                  </a:lnTo>
                  <a:lnTo>
                    <a:pt x="158" y="286"/>
                  </a:lnTo>
                  <a:lnTo>
                    <a:pt x="155" y="285"/>
                  </a:lnTo>
                  <a:lnTo>
                    <a:pt x="152" y="286"/>
                  </a:lnTo>
                  <a:lnTo>
                    <a:pt x="149" y="285"/>
                  </a:lnTo>
                  <a:lnTo>
                    <a:pt x="146" y="284"/>
                  </a:lnTo>
                  <a:lnTo>
                    <a:pt x="141" y="284"/>
                  </a:lnTo>
                  <a:lnTo>
                    <a:pt x="138" y="286"/>
                  </a:lnTo>
                  <a:lnTo>
                    <a:pt x="131" y="285"/>
                  </a:lnTo>
                  <a:lnTo>
                    <a:pt x="125" y="285"/>
                  </a:lnTo>
                  <a:lnTo>
                    <a:pt x="122" y="285"/>
                  </a:lnTo>
                  <a:lnTo>
                    <a:pt x="111" y="282"/>
                  </a:lnTo>
                  <a:lnTo>
                    <a:pt x="108" y="280"/>
                  </a:lnTo>
                  <a:lnTo>
                    <a:pt x="107" y="277"/>
                  </a:lnTo>
                  <a:lnTo>
                    <a:pt x="104" y="274"/>
                  </a:lnTo>
                  <a:lnTo>
                    <a:pt x="101" y="273"/>
                  </a:lnTo>
                  <a:lnTo>
                    <a:pt x="99" y="273"/>
                  </a:lnTo>
                  <a:lnTo>
                    <a:pt x="93" y="273"/>
                  </a:lnTo>
                  <a:lnTo>
                    <a:pt x="91" y="273"/>
                  </a:lnTo>
                  <a:lnTo>
                    <a:pt x="88" y="274"/>
                  </a:lnTo>
                  <a:lnTo>
                    <a:pt x="87" y="271"/>
                  </a:lnTo>
                  <a:lnTo>
                    <a:pt x="84" y="272"/>
                  </a:lnTo>
                  <a:lnTo>
                    <a:pt x="82" y="268"/>
                  </a:lnTo>
                  <a:lnTo>
                    <a:pt x="81" y="264"/>
                  </a:lnTo>
                  <a:lnTo>
                    <a:pt x="78" y="260"/>
                  </a:lnTo>
                  <a:lnTo>
                    <a:pt x="72" y="260"/>
                  </a:lnTo>
                  <a:lnTo>
                    <a:pt x="68" y="258"/>
                  </a:lnTo>
                  <a:lnTo>
                    <a:pt x="62" y="253"/>
                  </a:lnTo>
                  <a:lnTo>
                    <a:pt x="60" y="249"/>
                  </a:lnTo>
                  <a:lnTo>
                    <a:pt x="57" y="247"/>
                  </a:lnTo>
                  <a:lnTo>
                    <a:pt x="55" y="243"/>
                  </a:lnTo>
                  <a:lnTo>
                    <a:pt x="54" y="240"/>
                  </a:lnTo>
                  <a:lnTo>
                    <a:pt x="51" y="238"/>
                  </a:lnTo>
                  <a:lnTo>
                    <a:pt x="47" y="236"/>
                  </a:lnTo>
                  <a:lnTo>
                    <a:pt x="43" y="235"/>
                  </a:lnTo>
                  <a:lnTo>
                    <a:pt x="40" y="232"/>
                  </a:lnTo>
                  <a:lnTo>
                    <a:pt x="38" y="230"/>
                  </a:lnTo>
                  <a:lnTo>
                    <a:pt x="35" y="229"/>
                  </a:lnTo>
                  <a:lnTo>
                    <a:pt x="30" y="228"/>
                  </a:lnTo>
                  <a:lnTo>
                    <a:pt x="28" y="224"/>
                  </a:lnTo>
                  <a:lnTo>
                    <a:pt x="23" y="219"/>
                  </a:lnTo>
                  <a:lnTo>
                    <a:pt x="21" y="218"/>
                  </a:lnTo>
                  <a:lnTo>
                    <a:pt x="20" y="215"/>
                  </a:lnTo>
                  <a:lnTo>
                    <a:pt x="21" y="212"/>
                  </a:lnTo>
                  <a:lnTo>
                    <a:pt x="18" y="211"/>
                  </a:lnTo>
                  <a:lnTo>
                    <a:pt x="16" y="208"/>
                  </a:lnTo>
                  <a:lnTo>
                    <a:pt x="14" y="204"/>
                  </a:lnTo>
                  <a:lnTo>
                    <a:pt x="15" y="202"/>
                  </a:lnTo>
                  <a:lnTo>
                    <a:pt x="15" y="198"/>
                  </a:lnTo>
                  <a:lnTo>
                    <a:pt x="12" y="196"/>
                  </a:lnTo>
                  <a:lnTo>
                    <a:pt x="3" y="198"/>
                  </a:lnTo>
                  <a:lnTo>
                    <a:pt x="0" y="197"/>
                  </a:lnTo>
                  <a:lnTo>
                    <a:pt x="4" y="192"/>
                  </a:lnTo>
                  <a:lnTo>
                    <a:pt x="6" y="190"/>
                  </a:lnTo>
                  <a:lnTo>
                    <a:pt x="8" y="188"/>
                  </a:lnTo>
                  <a:lnTo>
                    <a:pt x="10" y="184"/>
                  </a:lnTo>
                  <a:lnTo>
                    <a:pt x="14" y="183"/>
                  </a:lnTo>
                  <a:lnTo>
                    <a:pt x="16" y="183"/>
                  </a:lnTo>
                  <a:lnTo>
                    <a:pt x="19" y="184"/>
                  </a:lnTo>
                  <a:lnTo>
                    <a:pt x="21" y="183"/>
                  </a:lnTo>
                  <a:lnTo>
                    <a:pt x="24" y="183"/>
                  </a:lnTo>
                  <a:lnTo>
                    <a:pt x="20" y="181"/>
                  </a:lnTo>
                  <a:lnTo>
                    <a:pt x="23" y="178"/>
                  </a:lnTo>
                  <a:lnTo>
                    <a:pt x="21" y="175"/>
                  </a:lnTo>
                  <a:lnTo>
                    <a:pt x="24" y="170"/>
                  </a:lnTo>
                  <a:lnTo>
                    <a:pt x="20" y="169"/>
                  </a:lnTo>
                  <a:lnTo>
                    <a:pt x="20" y="166"/>
                  </a:lnTo>
                  <a:lnTo>
                    <a:pt x="17" y="163"/>
                  </a:lnTo>
                  <a:lnTo>
                    <a:pt x="18" y="160"/>
                  </a:lnTo>
                  <a:lnTo>
                    <a:pt x="21" y="157"/>
                  </a:lnTo>
                  <a:lnTo>
                    <a:pt x="21" y="155"/>
                  </a:lnTo>
                  <a:lnTo>
                    <a:pt x="18" y="151"/>
                  </a:lnTo>
                  <a:lnTo>
                    <a:pt x="18" y="145"/>
                  </a:lnTo>
                  <a:lnTo>
                    <a:pt x="20" y="144"/>
                  </a:lnTo>
                  <a:lnTo>
                    <a:pt x="27" y="142"/>
                  </a:lnTo>
                  <a:lnTo>
                    <a:pt x="30" y="139"/>
                  </a:lnTo>
                  <a:lnTo>
                    <a:pt x="29" y="135"/>
                  </a:lnTo>
                  <a:lnTo>
                    <a:pt x="32" y="134"/>
                  </a:lnTo>
                  <a:lnTo>
                    <a:pt x="32" y="131"/>
                  </a:lnTo>
                  <a:lnTo>
                    <a:pt x="30" y="129"/>
                  </a:lnTo>
                  <a:lnTo>
                    <a:pt x="29" y="125"/>
                  </a:lnTo>
                  <a:lnTo>
                    <a:pt x="27" y="123"/>
                  </a:lnTo>
                  <a:lnTo>
                    <a:pt x="20" y="122"/>
                  </a:lnTo>
                  <a:lnTo>
                    <a:pt x="15" y="122"/>
                  </a:lnTo>
                  <a:lnTo>
                    <a:pt x="15" y="119"/>
                  </a:lnTo>
                  <a:lnTo>
                    <a:pt x="18" y="118"/>
                  </a:lnTo>
                  <a:lnTo>
                    <a:pt x="20" y="117"/>
                  </a:lnTo>
                  <a:lnTo>
                    <a:pt x="21" y="113"/>
                  </a:lnTo>
                  <a:lnTo>
                    <a:pt x="23" y="112"/>
                  </a:lnTo>
                  <a:lnTo>
                    <a:pt x="26" y="112"/>
                  </a:lnTo>
                  <a:lnTo>
                    <a:pt x="31" y="114"/>
                  </a:lnTo>
                  <a:lnTo>
                    <a:pt x="33" y="117"/>
                  </a:lnTo>
                  <a:lnTo>
                    <a:pt x="38" y="118"/>
                  </a:lnTo>
                  <a:lnTo>
                    <a:pt x="40" y="115"/>
                  </a:lnTo>
                  <a:lnTo>
                    <a:pt x="44" y="117"/>
                  </a:lnTo>
                  <a:lnTo>
                    <a:pt x="50" y="115"/>
                  </a:lnTo>
                  <a:lnTo>
                    <a:pt x="55" y="114"/>
                  </a:lnTo>
                  <a:lnTo>
                    <a:pt x="54" y="111"/>
                  </a:lnTo>
                  <a:lnTo>
                    <a:pt x="54" y="108"/>
                  </a:lnTo>
                  <a:lnTo>
                    <a:pt x="53" y="105"/>
                  </a:lnTo>
                  <a:lnTo>
                    <a:pt x="52" y="101"/>
                  </a:lnTo>
                  <a:lnTo>
                    <a:pt x="51" y="98"/>
                  </a:lnTo>
                  <a:lnTo>
                    <a:pt x="54" y="96"/>
                  </a:lnTo>
                  <a:lnTo>
                    <a:pt x="55" y="93"/>
                  </a:lnTo>
                  <a:lnTo>
                    <a:pt x="54" y="88"/>
                  </a:lnTo>
                  <a:lnTo>
                    <a:pt x="58" y="85"/>
                  </a:lnTo>
                  <a:lnTo>
                    <a:pt x="62" y="83"/>
                  </a:lnTo>
                  <a:lnTo>
                    <a:pt x="65" y="84"/>
                  </a:lnTo>
                  <a:lnTo>
                    <a:pt x="69" y="84"/>
                  </a:lnTo>
                  <a:lnTo>
                    <a:pt x="79" y="93"/>
                  </a:lnTo>
                  <a:lnTo>
                    <a:pt x="82" y="94"/>
                  </a:lnTo>
                  <a:lnTo>
                    <a:pt x="85" y="97"/>
                  </a:lnTo>
                  <a:lnTo>
                    <a:pt x="87" y="97"/>
                  </a:lnTo>
                  <a:lnTo>
                    <a:pt x="90" y="99"/>
                  </a:lnTo>
                  <a:lnTo>
                    <a:pt x="92" y="101"/>
                  </a:lnTo>
                  <a:lnTo>
                    <a:pt x="96" y="104"/>
                  </a:lnTo>
                  <a:lnTo>
                    <a:pt x="102" y="105"/>
                  </a:lnTo>
                  <a:lnTo>
                    <a:pt x="119" y="101"/>
                  </a:lnTo>
                  <a:lnTo>
                    <a:pt x="128" y="101"/>
                  </a:lnTo>
                  <a:lnTo>
                    <a:pt x="130" y="100"/>
                  </a:lnTo>
                  <a:lnTo>
                    <a:pt x="135" y="98"/>
                  </a:lnTo>
                  <a:lnTo>
                    <a:pt x="147" y="95"/>
                  </a:lnTo>
                  <a:lnTo>
                    <a:pt x="150" y="95"/>
                  </a:lnTo>
                  <a:lnTo>
                    <a:pt x="152" y="95"/>
                  </a:lnTo>
                  <a:lnTo>
                    <a:pt x="156" y="95"/>
                  </a:lnTo>
                  <a:lnTo>
                    <a:pt x="159" y="92"/>
                  </a:lnTo>
                  <a:lnTo>
                    <a:pt x="161" y="90"/>
                  </a:lnTo>
                  <a:lnTo>
                    <a:pt x="158" y="86"/>
                  </a:lnTo>
                  <a:lnTo>
                    <a:pt x="158" y="83"/>
                  </a:lnTo>
                  <a:lnTo>
                    <a:pt x="158" y="79"/>
                  </a:lnTo>
                  <a:lnTo>
                    <a:pt x="158" y="76"/>
                  </a:lnTo>
                  <a:lnTo>
                    <a:pt x="160" y="75"/>
                  </a:lnTo>
                  <a:lnTo>
                    <a:pt x="161" y="71"/>
                  </a:lnTo>
                  <a:lnTo>
                    <a:pt x="171" y="67"/>
                  </a:lnTo>
                  <a:lnTo>
                    <a:pt x="174" y="66"/>
                  </a:lnTo>
                  <a:lnTo>
                    <a:pt x="178" y="65"/>
                  </a:lnTo>
                  <a:lnTo>
                    <a:pt x="186" y="65"/>
                  </a:lnTo>
                  <a:lnTo>
                    <a:pt x="189" y="62"/>
                  </a:lnTo>
                  <a:lnTo>
                    <a:pt x="199" y="62"/>
                  </a:lnTo>
                  <a:lnTo>
                    <a:pt x="202" y="59"/>
                  </a:lnTo>
                  <a:lnTo>
                    <a:pt x="202" y="55"/>
                  </a:lnTo>
                  <a:lnTo>
                    <a:pt x="204" y="49"/>
                  </a:lnTo>
                  <a:lnTo>
                    <a:pt x="209" y="47"/>
                  </a:lnTo>
                  <a:lnTo>
                    <a:pt x="213" y="49"/>
                  </a:lnTo>
                  <a:lnTo>
                    <a:pt x="216" y="48"/>
                  </a:lnTo>
                  <a:lnTo>
                    <a:pt x="219" y="50"/>
                  </a:lnTo>
                  <a:lnTo>
                    <a:pt x="220" y="53"/>
                  </a:lnTo>
                  <a:lnTo>
                    <a:pt x="222" y="52"/>
                  </a:lnTo>
                  <a:lnTo>
                    <a:pt x="226" y="54"/>
                  </a:lnTo>
                  <a:lnTo>
                    <a:pt x="229" y="53"/>
                  </a:lnTo>
                  <a:lnTo>
                    <a:pt x="231" y="50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0" y="41"/>
                  </a:lnTo>
                  <a:lnTo>
                    <a:pt x="243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3"/>
                  </a:lnTo>
                  <a:lnTo>
                    <a:pt x="253" y="30"/>
                  </a:lnTo>
                  <a:lnTo>
                    <a:pt x="254" y="23"/>
                  </a:lnTo>
                  <a:lnTo>
                    <a:pt x="256" y="20"/>
                  </a:lnTo>
                  <a:lnTo>
                    <a:pt x="258" y="15"/>
                  </a:lnTo>
                  <a:lnTo>
                    <a:pt x="259" y="11"/>
                  </a:lnTo>
                  <a:lnTo>
                    <a:pt x="263" y="10"/>
                  </a:lnTo>
                  <a:lnTo>
                    <a:pt x="277" y="5"/>
                  </a:lnTo>
                  <a:lnTo>
                    <a:pt x="280" y="7"/>
                  </a:lnTo>
                  <a:lnTo>
                    <a:pt x="283" y="7"/>
                  </a:lnTo>
                  <a:lnTo>
                    <a:pt x="287" y="8"/>
                  </a:lnTo>
                  <a:lnTo>
                    <a:pt x="290" y="8"/>
                  </a:lnTo>
                  <a:lnTo>
                    <a:pt x="294" y="8"/>
                  </a:lnTo>
                  <a:lnTo>
                    <a:pt x="295" y="9"/>
                  </a:lnTo>
                  <a:lnTo>
                    <a:pt x="301" y="6"/>
                  </a:lnTo>
                  <a:lnTo>
                    <a:pt x="304" y="6"/>
                  </a:lnTo>
                  <a:lnTo>
                    <a:pt x="307" y="6"/>
                  </a:lnTo>
                  <a:lnTo>
                    <a:pt x="308" y="3"/>
                  </a:lnTo>
                  <a:lnTo>
                    <a:pt x="315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62" name="IE">
              <a:extLst>
                <a:ext uri="{FF2B5EF4-FFF2-40B4-BE49-F238E27FC236}">
                  <a16:creationId xmlns:a16="http://schemas.microsoft.com/office/drawing/2014/main" id="{2B2BEDCD-BF5E-4BEE-D028-9E4CC9B274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920" y="3437264"/>
              <a:ext cx="542693" cy="574960"/>
            </a:xfrm>
            <a:custGeom>
              <a:avLst/>
              <a:gdLst>
                <a:gd name="T0" fmla="*/ 69 w 283"/>
                <a:gd name="T1" fmla="*/ 168 h 326"/>
                <a:gd name="T2" fmla="*/ 68 w 283"/>
                <a:gd name="T3" fmla="*/ 83 h 326"/>
                <a:gd name="T4" fmla="*/ 67 w 283"/>
                <a:gd name="T5" fmla="*/ 87 h 326"/>
                <a:gd name="T6" fmla="*/ 257 w 283"/>
                <a:gd name="T7" fmla="*/ 9 h 326"/>
                <a:gd name="T8" fmla="*/ 244 w 283"/>
                <a:gd name="T9" fmla="*/ 29 h 326"/>
                <a:gd name="T10" fmla="*/ 212 w 283"/>
                <a:gd name="T11" fmla="*/ 55 h 326"/>
                <a:gd name="T12" fmla="*/ 192 w 283"/>
                <a:gd name="T13" fmla="*/ 68 h 326"/>
                <a:gd name="T14" fmla="*/ 206 w 283"/>
                <a:gd name="T15" fmla="*/ 104 h 326"/>
                <a:gd name="T16" fmla="*/ 234 w 283"/>
                <a:gd name="T17" fmla="*/ 103 h 326"/>
                <a:gd name="T18" fmla="*/ 250 w 283"/>
                <a:gd name="T19" fmla="*/ 109 h 326"/>
                <a:gd name="T20" fmla="*/ 271 w 283"/>
                <a:gd name="T21" fmla="*/ 128 h 326"/>
                <a:gd name="T22" fmla="*/ 267 w 283"/>
                <a:gd name="T23" fmla="*/ 142 h 326"/>
                <a:gd name="T24" fmla="*/ 275 w 283"/>
                <a:gd name="T25" fmla="*/ 183 h 326"/>
                <a:gd name="T26" fmla="*/ 267 w 283"/>
                <a:gd name="T27" fmla="*/ 204 h 326"/>
                <a:gd name="T28" fmla="*/ 262 w 283"/>
                <a:gd name="T29" fmla="*/ 243 h 326"/>
                <a:gd name="T30" fmla="*/ 235 w 283"/>
                <a:gd name="T31" fmla="*/ 286 h 326"/>
                <a:gd name="T32" fmla="*/ 222 w 283"/>
                <a:gd name="T33" fmla="*/ 299 h 326"/>
                <a:gd name="T34" fmla="*/ 201 w 283"/>
                <a:gd name="T35" fmla="*/ 292 h 326"/>
                <a:gd name="T36" fmla="*/ 183 w 283"/>
                <a:gd name="T37" fmla="*/ 296 h 326"/>
                <a:gd name="T38" fmla="*/ 151 w 283"/>
                <a:gd name="T39" fmla="*/ 305 h 326"/>
                <a:gd name="T40" fmla="*/ 119 w 283"/>
                <a:gd name="T41" fmla="*/ 308 h 326"/>
                <a:gd name="T42" fmla="*/ 114 w 283"/>
                <a:gd name="T43" fmla="*/ 313 h 326"/>
                <a:gd name="T44" fmla="*/ 92 w 283"/>
                <a:gd name="T45" fmla="*/ 321 h 326"/>
                <a:gd name="T46" fmla="*/ 63 w 283"/>
                <a:gd name="T47" fmla="*/ 321 h 326"/>
                <a:gd name="T48" fmla="*/ 47 w 283"/>
                <a:gd name="T49" fmla="*/ 318 h 326"/>
                <a:gd name="T50" fmla="*/ 33 w 283"/>
                <a:gd name="T51" fmla="*/ 313 h 326"/>
                <a:gd name="T52" fmla="*/ 48 w 283"/>
                <a:gd name="T53" fmla="*/ 302 h 326"/>
                <a:gd name="T54" fmla="*/ 9 w 283"/>
                <a:gd name="T55" fmla="*/ 301 h 326"/>
                <a:gd name="T56" fmla="*/ 33 w 283"/>
                <a:gd name="T57" fmla="*/ 288 h 326"/>
                <a:gd name="T58" fmla="*/ 12 w 283"/>
                <a:gd name="T59" fmla="*/ 288 h 326"/>
                <a:gd name="T60" fmla="*/ 14 w 283"/>
                <a:gd name="T61" fmla="*/ 264 h 326"/>
                <a:gd name="T62" fmla="*/ 29 w 283"/>
                <a:gd name="T63" fmla="*/ 255 h 326"/>
                <a:gd name="T64" fmla="*/ 9 w 283"/>
                <a:gd name="T65" fmla="*/ 245 h 326"/>
                <a:gd name="T66" fmla="*/ 34 w 283"/>
                <a:gd name="T67" fmla="*/ 246 h 326"/>
                <a:gd name="T68" fmla="*/ 51 w 283"/>
                <a:gd name="T69" fmla="*/ 230 h 326"/>
                <a:gd name="T70" fmla="*/ 92 w 283"/>
                <a:gd name="T71" fmla="*/ 225 h 326"/>
                <a:gd name="T72" fmla="*/ 79 w 283"/>
                <a:gd name="T73" fmla="*/ 224 h 326"/>
                <a:gd name="T74" fmla="*/ 47 w 283"/>
                <a:gd name="T75" fmla="*/ 216 h 326"/>
                <a:gd name="T76" fmla="*/ 79 w 283"/>
                <a:gd name="T77" fmla="*/ 191 h 326"/>
                <a:gd name="T78" fmla="*/ 107 w 283"/>
                <a:gd name="T79" fmla="*/ 178 h 326"/>
                <a:gd name="T80" fmla="*/ 90 w 283"/>
                <a:gd name="T81" fmla="*/ 163 h 326"/>
                <a:gd name="T82" fmla="*/ 81 w 283"/>
                <a:gd name="T83" fmla="*/ 151 h 326"/>
                <a:gd name="T84" fmla="*/ 72 w 283"/>
                <a:gd name="T85" fmla="*/ 143 h 326"/>
                <a:gd name="T86" fmla="*/ 57 w 283"/>
                <a:gd name="T87" fmla="*/ 127 h 326"/>
                <a:gd name="T88" fmla="*/ 79 w 283"/>
                <a:gd name="T89" fmla="*/ 126 h 326"/>
                <a:gd name="T90" fmla="*/ 96 w 283"/>
                <a:gd name="T91" fmla="*/ 103 h 326"/>
                <a:gd name="T92" fmla="*/ 83 w 283"/>
                <a:gd name="T93" fmla="*/ 86 h 326"/>
                <a:gd name="T94" fmla="*/ 83 w 283"/>
                <a:gd name="T95" fmla="*/ 68 h 326"/>
                <a:gd name="T96" fmla="*/ 88 w 283"/>
                <a:gd name="T97" fmla="*/ 63 h 326"/>
                <a:gd name="T98" fmla="*/ 100 w 283"/>
                <a:gd name="T99" fmla="*/ 62 h 326"/>
                <a:gd name="T100" fmla="*/ 127 w 283"/>
                <a:gd name="T101" fmla="*/ 83 h 326"/>
                <a:gd name="T102" fmla="*/ 157 w 283"/>
                <a:gd name="T103" fmla="*/ 87 h 326"/>
                <a:gd name="T104" fmla="*/ 172 w 283"/>
                <a:gd name="T105" fmla="*/ 68 h 326"/>
                <a:gd name="T106" fmla="*/ 172 w 283"/>
                <a:gd name="T107" fmla="*/ 58 h 326"/>
                <a:gd name="T108" fmla="*/ 173 w 283"/>
                <a:gd name="T109" fmla="*/ 38 h 326"/>
                <a:gd name="T110" fmla="*/ 186 w 283"/>
                <a:gd name="T111" fmla="*/ 31 h 326"/>
                <a:gd name="T112" fmla="*/ 190 w 283"/>
                <a:gd name="T113" fmla="*/ 17 h 326"/>
                <a:gd name="T114" fmla="*/ 210 w 283"/>
                <a:gd name="T115" fmla="*/ 8 h 326"/>
                <a:gd name="T116" fmla="*/ 225 w 283"/>
                <a:gd name="T117" fmla="*/ 16 h 326"/>
                <a:gd name="T118" fmla="*/ 233 w 283"/>
                <a:gd name="T119" fmla="*/ 17 h 326"/>
                <a:gd name="T120" fmla="*/ 236 w 283"/>
                <a:gd name="T121" fmla="*/ 25 h 326"/>
                <a:gd name="T122" fmla="*/ 251 w 283"/>
                <a:gd name="T123" fmla="*/ 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3" h="326">
                  <a:moveTo>
                    <a:pt x="23" y="301"/>
                  </a:moveTo>
                  <a:lnTo>
                    <a:pt x="26" y="302"/>
                  </a:lnTo>
                  <a:lnTo>
                    <a:pt x="22" y="304"/>
                  </a:lnTo>
                  <a:lnTo>
                    <a:pt x="23" y="301"/>
                  </a:lnTo>
                  <a:close/>
                  <a:moveTo>
                    <a:pt x="4" y="268"/>
                  </a:moveTo>
                  <a:lnTo>
                    <a:pt x="6" y="269"/>
                  </a:lnTo>
                  <a:lnTo>
                    <a:pt x="2" y="271"/>
                  </a:lnTo>
                  <a:lnTo>
                    <a:pt x="0" y="271"/>
                  </a:lnTo>
                  <a:lnTo>
                    <a:pt x="4" y="268"/>
                  </a:lnTo>
                  <a:close/>
                  <a:moveTo>
                    <a:pt x="67" y="168"/>
                  </a:moveTo>
                  <a:lnTo>
                    <a:pt x="69" y="168"/>
                  </a:lnTo>
                  <a:lnTo>
                    <a:pt x="72" y="170"/>
                  </a:lnTo>
                  <a:lnTo>
                    <a:pt x="72" y="173"/>
                  </a:lnTo>
                  <a:lnTo>
                    <a:pt x="66" y="169"/>
                  </a:lnTo>
                  <a:lnTo>
                    <a:pt x="67" y="168"/>
                  </a:lnTo>
                  <a:close/>
                  <a:moveTo>
                    <a:pt x="73" y="156"/>
                  </a:moveTo>
                  <a:lnTo>
                    <a:pt x="76" y="156"/>
                  </a:lnTo>
                  <a:lnTo>
                    <a:pt x="77" y="159"/>
                  </a:lnTo>
                  <a:lnTo>
                    <a:pt x="76" y="161"/>
                  </a:lnTo>
                  <a:lnTo>
                    <a:pt x="72" y="160"/>
                  </a:lnTo>
                  <a:lnTo>
                    <a:pt x="73" y="156"/>
                  </a:lnTo>
                  <a:close/>
                  <a:moveTo>
                    <a:pt x="68" y="83"/>
                  </a:moveTo>
                  <a:lnTo>
                    <a:pt x="71" y="84"/>
                  </a:lnTo>
                  <a:lnTo>
                    <a:pt x="74" y="83"/>
                  </a:lnTo>
                  <a:lnTo>
                    <a:pt x="79" y="85"/>
                  </a:lnTo>
                  <a:lnTo>
                    <a:pt x="80" y="86"/>
                  </a:lnTo>
                  <a:lnTo>
                    <a:pt x="79" y="89"/>
                  </a:lnTo>
                  <a:lnTo>
                    <a:pt x="80" y="92"/>
                  </a:lnTo>
                  <a:lnTo>
                    <a:pt x="78" y="96"/>
                  </a:lnTo>
                  <a:lnTo>
                    <a:pt x="76" y="97"/>
                  </a:lnTo>
                  <a:lnTo>
                    <a:pt x="73" y="94"/>
                  </a:lnTo>
                  <a:lnTo>
                    <a:pt x="72" y="90"/>
                  </a:lnTo>
                  <a:lnTo>
                    <a:pt x="67" y="87"/>
                  </a:lnTo>
                  <a:lnTo>
                    <a:pt x="63" y="85"/>
                  </a:lnTo>
                  <a:lnTo>
                    <a:pt x="66" y="84"/>
                  </a:lnTo>
                  <a:lnTo>
                    <a:pt x="68" y="83"/>
                  </a:lnTo>
                  <a:close/>
                  <a:moveTo>
                    <a:pt x="178" y="16"/>
                  </a:moveTo>
                  <a:lnTo>
                    <a:pt x="180" y="20"/>
                  </a:lnTo>
                  <a:lnTo>
                    <a:pt x="178" y="20"/>
                  </a:lnTo>
                  <a:lnTo>
                    <a:pt x="178" y="16"/>
                  </a:lnTo>
                  <a:close/>
                  <a:moveTo>
                    <a:pt x="248" y="0"/>
                  </a:moveTo>
                  <a:lnTo>
                    <a:pt x="252" y="1"/>
                  </a:lnTo>
                  <a:lnTo>
                    <a:pt x="255" y="3"/>
                  </a:lnTo>
                  <a:lnTo>
                    <a:pt x="257" y="9"/>
                  </a:lnTo>
                  <a:lnTo>
                    <a:pt x="258" y="10"/>
                  </a:lnTo>
                  <a:lnTo>
                    <a:pt x="260" y="11"/>
                  </a:lnTo>
                  <a:lnTo>
                    <a:pt x="264" y="14"/>
                  </a:lnTo>
                  <a:lnTo>
                    <a:pt x="266" y="18"/>
                  </a:lnTo>
                  <a:lnTo>
                    <a:pt x="262" y="18"/>
                  </a:lnTo>
                  <a:lnTo>
                    <a:pt x="259" y="19"/>
                  </a:lnTo>
                  <a:lnTo>
                    <a:pt x="255" y="21"/>
                  </a:lnTo>
                  <a:lnTo>
                    <a:pt x="252" y="22"/>
                  </a:lnTo>
                  <a:lnTo>
                    <a:pt x="249" y="24"/>
                  </a:lnTo>
                  <a:lnTo>
                    <a:pt x="247" y="27"/>
                  </a:lnTo>
                  <a:lnTo>
                    <a:pt x="244" y="29"/>
                  </a:lnTo>
                  <a:lnTo>
                    <a:pt x="241" y="29"/>
                  </a:lnTo>
                  <a:lnTo>
                    <a:pt x="237" y="31"/>
                  </a:lnTo>
                  <a:lnTo>
                    <a:pt x="236" y="35"/>
                  </a:lnTo>
                  <a:lnTo>
                    <a:pt x="233" y="37"/>
                  </a:lnTo>
                  <a:lnTo>
                    <a:pt x="233" y="41"/>
                  </a:lnTo>
                  <a:lnTo>
                    <a:pt x="231" y="44"/>
                  </a:lnTo>
                  <a:lnTo>
                    <a:pt x="225" y="50"/>
                  </a:lnTo>
                  <a:lnTo>
                    <a:pt x="224" y="53"/>
                  </a:lnTo>
                  <a:lnTo>
                    <a:pt x="219" y="53"/>
                  </a:lnTo>
                  <a:lnTo>
                    <a:pt x="217" y="53"/>
                  </a:lnTo>
                  <a:lnTo>
                    <a:pt x="212" y="55"/>
                  </a:lnTo>
                  <a:lnTo>
                    <a:pt x="209" y="53"/>
                  </a:lnTo>
                  <a:lnTo>
                    <a:pt x="202" y="53"/>
                  </a:lnTo>
                  <a:lnTo>
                    <a:pt x="203" y="57"/>
                  </a:lnTo>
                  <a:lnTo>
                    <a:pt x="206" y="60"/>
                  </a:lnTo>
                  <a:lnTo>
                    <a:pt x="209" y="62"/>
                  </a:lnTo>
                  <a:lnTo>
                    <a:pt x="211" y="62"/>
                  </a:lnTo>
                  <a:lnTo>
                    <a:pt x="209" y="65"/>
                  </a:lnTo>
                  <a:lnTo>
                    <a:pt x="203" y="68"/>
                  </a:lnTo>
                  <a:lnTo>
                    <a:pt x="201" y="68"/>
                  </a:lnTo>
                  <a:lnTo>
                    <a:pt x="195" y="66"/>
                  </a:lnTo>
                  <a:lnTo>
                    <a:pt x="192" y="68"/>
                  </a:lnTo>
                  <a:lnTo>
                    <a:pt x="189" y="70"/>
                  </a:lnTo>
                  <a:lnTo>
                    <a:pt x="186" y="71"/>
                  </a:lnTo>
                  <a:lnTo>
                    <a:pt x="185" y="73"/>
                  </a:lnTo>
                  <a:lnTo>
                    <a:pt x="187" y="80"/>
                  </a:lnTo>
                  <a:lnTo>
                    <a:pt x="189" y="82"/>
                  </a:lnTo>
                  <a:lnTo>
                    <a:pt x="191" y="86"/>
                  </a:lnTo>
                  <a:lnTo>
                    <a:pt x="193" y="89"/>
                  </a:lnTo>
                  <a:lnTo>
                    <a:pt x="194" y="96"/>
                  </a:lnTo>
                  <a:lnTo>
                    <a:pt x="198" y="100"/>
                  </a:lnTo>
                  <a:lnTo>
                    <a:pt x="202" y="100"/>
                  </a:lnTo>
                  <a:lnTo>
                    <a:pt x="206" y="104"/>
                  </a:lnTo>
                  <a:lnTo>
                    <a:pt x="206" y="107"/>
                  </a:lnTo>
                  <a:lnTo>
                    <a:pt x="211" y="111"/>
                  </a:lnTo>
                  <a:lnTo>
                    <a:pt x="215" y="109"/>
                  </a:lnTo>
                  <a:lnTo>
                    <a:pt x="221" y="114"/>
                  </a:lnTo>
                  <a:lnTo>
                    <a:pt x="222" y="112"/>
                  </a:lnTo>
                  <a:lnTo>
                    <a:pt x="224" y="109"/>
                  </a:lnTo>
                  <a:lnTo>
                    <a:pt x="223" y="113"/>
                  </a:lnTo>
                  <a:lnTo>
                    <a:pt x="227" y="111"/>
                  </a:lnTo>
                  <a:lnTo>
                    <a:pt x="227" y="107"/>
                  </a:lnTo>
                  <a:lnTo>
                    <a:pt x="231" y="106"/>
                  </a:lnTo>
                  <a:lnTo>
                    <a:pt x="234" y="103"/>
                  </a:lnTo>
                  <a:lnTo>
                    <a:pt x="233" y="100"/>
                  </a:lnTo>
                  <a:lnTo>
                    <a:pt x="232" y="98"/>
                  </a:lnTo>
                  <a:lnTo>
                    <a:pt x="233" y="95"/>
                  </a:lnTo>
                  <a:lnTo>
                    <a:pt x="237" y="95"/>
                  </a:lnTo>
                  <a:lnTo>
                    <a:pt x="240" y="91"/>
                  </a:lnTo>
                  <a:lnTo>
                    <a:pt x="244" y="90"/>
                  </a:lnTo>
                  <a:lnTo>
                    <a:pt x="248" y="95"/>
                  </a:lnTo>
                  <a:lnTo>
                    <a:pt x="249" y="98"/>
                  </a:lnTo>
                  <a:lnTo>
                    <a:pt x="250" y="102"/>
                  </a:lnTo>
                  <a:lnTo>
                    <a:pt x="248" y="104"/>
                  </a:lnTo>
                  <a:lnTo>
                    <a:pt x="250" y="109"/>
                  </a:lnTo>
                  <a:lnTo>
                    <a:pt x="251" y="113"/>
                  </a:lnTo>
                  <a:lnTo>
                    <a:pt x="253" y="115"/>
                  </a:lnTo>
                  <a:lnTo>
                    <a:pt x="256" y="114"/>
                  </a:lnTo>
                  <a:lnTo>
                    <a:pt x="258" y="120"/>
                  </a:lnTo>
                  <a:lnTo>
                    <a:pt x="256" y="122"/>
                  </a:lnTo>
                  <a:lnTo>
                    <a:pt x="255" y="127"/>
                  </a:lnTo>
                  <a:lnTo>
                    <a:pt x="256" y="129"/>
                  </a:lnTo>
                  <a:lnTo>
                    <a:pt x="259" y="129"/>
                  </a:lnTo>
                  <a:lnTo>
                    <a:pt x="265" y="129"/>
                  </a:lnTo>
                  <a:lnTo>
                    <a:pt x="269" y="131"/>
                  </a:lnTo>
                  <a:lnTo>
                    <a:pt x="271" y="128"/>
                  </a:lnTo>
                  <a:lnTo>
                    <a:pt x="273" y="128"/>
                  </a:lnTo>
                  <a:lnTo>
                    <a:pt x="276" y="128"/>
                  </a:lnTo>
                  <a:lnTo>
                    <a:pt x="279" y="133"/>
                  </a:lnTo>
                  <a:lnTo>
                    <a:pt x="280" y="135"/>
                  </a:lnTo>
                  <a:lnTo>
                    <a:pt x="283" y="140"/>
                  </a:lnTo>
                  <a:lnTo>
                    <a:pt x="280" y="141"/>
                  </a:lnTo>
                  <a:lnTo>
                    <a:pt x="277" y="139"/>
                  </a:lnTo>
                  <a:lnTo>
                    <a:pt x="273" y="136"/>
                  </a:lnTo>
                  <a:lnTo>
                    <a:pt x="270" y="135"/>
                  </a:lnTo>
                  <a:lnTo>
                    <a:pt x="269" y="138"/>
                  </a:lnTo>
                  <a:lnTo>
                    <a:pt x="267" y="142"/>
                  </a:lnTo>
                  <a:lnTo>
                    <a:pt x="267" y="146"/>
                  </a:lnTo>
                  <a:lnTo>
                    <a:pt x="269" y="149"/>
                  </a:lnTo>
                  <a:lnTo>
                    <a:pt x="273" y="150"/>
                  </a:lnTo>
                  <a:lnTo>
                    <a:pt x="271" y="154"/>
                  </a:lnTo>
                  <a:lnTo>
                    <a:pt x="271" y="158"/>
                  </a:lnTo>
                  <a:lnTo>
                    <a:pt x="269" y="166"/>
                  </a:lnTo>
                  <a:lnTo>
                    <a:pt x="269" y="169"/>
                  </a:lnTo>
                  <a:lnTo>
                    <a:pt x="271" y="172"/>
                  </a:lnTo>
                  <a:lnTo>
                    <a:pt x="273" y="176"/>
                  </a:lnTo>
                  <a:lnTo>
                    <a:pt x="275" y="178"/>
                  </a:lnTo>
                  <a:lnTo>
                    <a:pt x="275" y="183"/>
                  </a:lnTo>
                  <a:lnTo>
                    <a:pt x="273" y="185"/>
                  </a:lnTo>
                  <a:lnTo>
                    <a:pt x="271" y="188"/>
                  </a:lnTo>
                  <a:lnTo>
                    <a:pt x="268" y="188"/>
                  </a:lnTo>
                  <a:lnTo>
                    <a:pt x="270" y="191"/>
                  </a:lnTo>
                  <a:lnTo>
                    <a:pt x="271" y="193"/>
                  </a:lnTo>
                  <a:lnTo>
                    <a:pt x="272" y="196"/>
                  </a:lnTo>
                  <a:lnTo>
                    <a:pt x="270" y="196"/>
                  </a:lnTo>
                  <a:lnTo>
                    <a:pt x="268" y="195"/>
                  </a:lnTo>
                  <a:lnTo>
                    <a:pt x="264" y="197"/>
                  </a:lnTo>
                  <a:lnTo>
                    <a:pt x="265" y="201"/>
                  </a:lnTo>
                  <a:lnTo>
                    <a:pt x="267" y="204"/>
                  </a:lnTo>
                  <a:lnTo>
                    <a:pt x="268" y="207"/>
                  </a:lnTo>
                  <a:lnTo>
                    <a:pt x="267" y="210"/>
                  </a:lnTo>
                  <a:lnTo>
                    <a:pt x="268" y="214"/>
                  </a:lnTo>
                  <a:lnTo>
                    <a:pt x="267" y="216"/>
                  </a:lnTo>
                  <a:lnTo>
                    <a:pt x="269" y="222"/>
                  </a:lnTo>
                  <a:lnTo>
                    <a:pt x="268" y="226"/>
                  </a:lnTo>
                  <a:lnTo>
                    <a:pt x="266" y="229"/>
                  </a:lnTo>
                  <a:lnTo>
                    <a:pt x="266" y="232"/>
                  </a:lnTo>
                  <a:lnTo>
                    <a:pt x="268" y="235"/>
                  </a:lnTo>
                  <a:lnTo>
                    <a:pt x="266" y="238"/>
                  </a:lnTo>
                  <a:lnTo>
                    <a:pt x="262" y="243"/>
                  </a:lnTo>
                  <a:lnTo>
                    <a:pt x="259" y="245"/>
                  </a:lnTo>
                  <a:lnTo>
                    <a:pt x="255" y="252"/>
                  </a:lnTo>
                  <a:lnTo>
                    <a:pt x="253" y="256"/>
                  </a:lnTo>
                  <a:lnTo>
                    <a:pt x="250" y="260"/>
                  </a:lnTo>
                  <a:lnTo>
                    <a:pt x="249" y="263"/>
                  </a:lnTo>
                  <a:lnTo>
                    <a:pt x="249" y="266"/>
                  </a:lnTo>
                  <a:lnTo>
                    <a:pt x="248" y="271"/>
                  </a:lnTo>
                  <a:lnTo>
                    <a:pt x="242" y="278"/>
                  </a:lnTo>
                  <a:lnTo>
                    <a:pt x="238" y="280"/>
                  </a:lnTo>
                  <a:lnTo>
                    <a:pt x="236" y="283"/>
                  </a:lnTo>
                  <a:lnTo>
                    <a:pt x="235" y="286"/>
                  </a:lnTo>
                  <a:lnTo>
                    <a:pt x="231" y="285"/>
                  </a:lnTo>
                  <a:lnTo>
                    <a:pt x="231" y="291"/>
                  </a:lnTo>
                  <a:lnTo>
                    <a:pt x="234" y="289"/>
                  </a:lnTo>
                  <a:lnTo>
                    <a:pt x="233" y="294"/>
                  </a:lnTo>
                  <a:lnTo>
                    <a:pt x="235" y="297"/>
                  </a:lnTo>
                  <a:lnTo>
                    <a:pt x="233" y="301"/>
                  </a:lnTo>
                  <a:lnTo>
                    <a:pt x="230" y="302"/>
                  </a:lnTo>
                  <a:lnTo>
                    <a:pt x="231" y="300"/>
                  </a:lnTo>
                  <a:lnTo>
                    <a:pt x="229" y="300"/>
                  </a:lnTo>
                  <a:lnTo>
                    <a:pt x="226" y="300"/>
                  </a:lnTo>
                  <a:lnTo>
                    <a:pt x="222" y="299"/>
                  </a:lnTo>
                  <a:lnTo>
                    <a:pt x="219" y="300"/>
                  </a:lnTo>
                  <a:lnTo>
                    <a:pt x="217" y="298"/>
                  </a:lnTo>
                  <a:lnTo>
                    <a:pt x="212" y="295"/>
                  </a:lnTo>
                  <a:lnTo>
                    <a:pt x="208" y="294"/>
                  </a:lnTo>
                  <a:lnTo>
                    <a:pt x="210" y="291"/>
                  </a:lnTo>
                  <a:lnTo>
                    <a:pt x="207" y="292"/>
                  </a:lnTo>
                  <a:lnTo>
                    <a:pt x="206" y="294"/>
                  </a:lnTo>
                  <a:lnTo>
                    <a:pt x="201" y="298"/>
                  </a:lnTo>
                  <a:lnTo>
                    <a:pt x="197" y="299"/>
                  </a:lnTo>
                  <a:lnTo>
                    <a:pt x="200" y="297"/>
                  </a:lnTo>
                  <a:lnTo>
                    <a:pt x="201" y="292"/>
                  </a:lnTo>
                  <a:lnTo>
                    <a:pt x="199" y="289"/>
                  </a:lnTo>
                  <a:lnTo>
                    <a:pt x="199" y="286"/>
                  </a:lnTo>
                  <a:lnTo>
                    <a:pt x="198" y="288"/>
                  </a:lnTo>
                  <a:lnTo>
                    <a:pt x="197" y="293"/>
                  </a:lnTo>
                  <a:lnTo>
                    <a:pt x="195" y="297"/>
                  </a:lnTo>
                  <a:lnTo>
                    <a:pt x="192" y="298"/>
                  </a:lnTo>
                  <a:lnTo>
                    <a:pt x="190" y="297"/>
                  </a:lnTo>
                  <a:lnTo>
                    <a:pt x="191" y="295"/>
                  </a:lnTo>
                  <a:lnTo>
                    <a:pt x="189" y="293"/>
                  </a:lnTo>
                  <a:lnTo>
                    <a:pt x="186" y="295"/>
                  </a:lnTo>
                  <a:lnTo>
                    <a:pt x="183" y="296"/>
                  </a:lnTo>
                  <a:lnTo>
                    <a:pt x="171" y="293"/>
                  </a:lnTo>
                  <a:lnTo>
                    <a:pt x="166" y="294"/>
                  </a:lnTo>
                  <a:lnTo>
                    <a:pt x="162" y="294"/>
                  </a:lnTo>
                  <a:lnTo>
                    <a:pt x="160" y="294"/>
                  </a:lnTo>
                  <a:lnTo>
                    <a:pt x="159" y="296"/>
                  </a:lnTo>
                  <a:lnTo>
                    <a:pt x="161" y="296"/>
                  </a:lnTo>
                  <a:lnTo>
                    <a:pt x="160" y="300"/>
                  </a:lnTo>
                  <a:lnTo>
                    <a:pt x="159" y="303"/>
                  </a:lnTo>
                  <a:lnTo>
                    <a:pt x="156" y="304"/>
                  </a:lnTo>
                  <a:lnTo>
                    <a:pt x="153" y="303"/>
                  </a:lnTo>
                  <a:lnTo>
                    <a:pt x="151" y="305"/>
                  </a:lnTo>
                  <a:lnTo>
                    <a:pt x="144" y="303"/>
                  </a:lnTo>
                  <a:lnTo>
                    <a:pt x="141" y="305"/>
                  </a:lnTo>
                  <a:lnTo>
                    <a:pt x="138" y="306"/>
                  </a:lnTo>
                  <a:lnTo>
                    <a:pt x="140" y="308"/>
                  </a:lnTo>
                  <a:lnTo>
                    <a:pt x="135" y="309"/>
                  </a:lnTo>
                  <a:lnTo>
                    <a:pt x="132" y="310"/>
                  </a:lnTo>
                  <a:lnTo>
                    <a:pt x="131" y="312"/>
                  </a:lnTo>
                  <a:lnTo>
                    <a:pt x="126" y="312"/>
                  </a:lnTo>
                  <a:lnTo>
                    <a:pt x="124" y="312"/>
                  </a:lnTo>
                  <a:lnTo>
                    <a:pt x="120" y="312"/>
                  </a:lnTo>
                  <a:lnTo>
                    <a:pt x="119" y="308"/>
                  </a:lnTo>
                  <a:lnTo>
                    <a:pt x="122" y="308"/>
                  </a:lnTo>
                  <a:lnTo>
                    <a:pt x="122" y="305"/>
                  </a:lnTo>
                  <a:lnTo>
                    <a:pt x="120" y="303"/>
                  </a:lnTo>
                  <a:lnTo>
                    <a:pt x="118" y="303"/>
                  </a:lnTo>
                  <a:lnTo>
                    <a:pt x="115" y="302"/>
                  </a:lnTo>
                  <a:lnTo>
                    <a:pt x="112" y="301"/>
                  </a:lnTo>
                  <a:lnTo>
                    <a:pt x="110" y="301"/>
                  </a:lnTo>
                  <a:lnTo>
                    <a:pt x="113" y="303"/>
                  </a:lnTo>
                  <a:lnTo>
                    <a:pt x="113" y="307"/>
                  </a:lnTo>
                  <a:lnTo>
                    <a:pt x="114" y="310"/>
                  </a:lnTo>
                  <a:lnTo>
                    <a:pt x="114" y="313"/>
                  </a:lnTo>
                  <a:lnTo>
                    <a:pt x="111" y="317"/>
                  </a:lnTo>
                  <a:lnTo>
                    <a:pt x="109" y="318"/>
                  </a:lnTo>
                  <a:lnTo>
                    <a:pt x="107" y="318"/>
                  </a:lnTo>
                  <a:lnTo>
                    <a:pt x="104" y="317"/>
                  </a:lnTo>
                  <a:lnTo>
                    <a:pt x="103" y="319"/>
                  </a:lnTo>
                  <a:lnTo>
                    <a:pt x="101" y="317"/>
                  </a:lnTo>
                  <a:lnTo>
                    <a:pt x="98" y="316"/>
                  </a:lnTo>
                  <a:lnTo>
                    <a:pt x="98" y="321"/>
                  </a:lnTo>
                  <a:lnTo>
                    <a:pt x="98" y="324"/>
                  </a:lnTo>
                  <a:lnTo>
                    <a:pt x="96" y="322"/>
                  </a:lnTo>
                  <a:lnTo>
                    <a:pt x="92" y="321"/>
                  </a:lnTo>
                  <a:lnTo>
                    <a:pt x="86" y="319"/>
                  </a:lnTo>
                  <a:lnTo>
                    <a:pt x="89" y="321"/>
                  </a:lnTo>
                  <a:lnTo>
                    <a:pt x="88" y="324"/>
                  </a:lnTo>
                  <a:lnTo>
                    <a:pt x="85" y="325"/>
                  </a:lnTo>
                  <a:lnTo>
                    <a:pt x="82" y="323"/>
                  </a:lnTo>
                  <a:lnTo>
                    <a:pt x="80" y="322"/>
                  </a:lnTo>
                  <a:lnTo>
                    <a:pt x="77" y="324"/>
                  </a:lnTo>
                  <a:lnTo>
                    <a:pt x="74" y="325"/>
                  </a:lnTo>
                  <a:lnTo>
                    <a:pt x="70" y="323"/>
                  </a:lnTo>
                  <a:lnTo>
                    <a:pt x="65" y="323"/>
                  </a:lnTo>
                  <a:lnTo>
                    <a:pt x="63" y="321"/>
                  </a:lnTo>
                  <a:lnTo>
                    <a:pt x="62" y="324"/>
                  </a:lnTo>
                  <a:lnTo>
                    <a:pt x="59" y="323"/>
                  </a:lnTo>
                  <a:lnTo>
                    <a:pt x="56" y="326"/>
                  </a:lnTo>
                  <a:lnTo>
                    <a:pt x="52" y="324"/>
                  </a:lnTo>
                  <a:lnTo>
                    <a:pt x="49" y="325"/>
                  </a:lnTo>
                  <a:lnTo>
                    <a:pt x="46" y="325"/>
                  </a:lnTo>
                  <a:lnTo>
                    <a:pt x="48" y="322"/>
                  </a:lnTo>
                  <a:lnTo>
                    <a:pt x="51" y="320"/>
                  </a:lnTo>
                  <a:lnTo>
                    <a:pt x="48" y="320"/>
                  </a:lnTo>
                  <a:lnTo>
                    <a:pt x="46" y="321"/>
                  </a:lnTo>
                  <a:lnTo>
                    <a:pt x="47" y="318"/>
                  </a:lnTo>
                  <a:lnTo>
                    <a:pt x="39" y="318"/>
                  </a:lnTo>
                  <a:lnTo>
                    <a:pt x="35" y="319"/>
                  </a:lnTo>
                  <a:lnTo>
                    <a:pt x="33" y="317"/>
                  </a:lnTo>
                  <a:lnTo>
                    <a:pt x="28" y="319"/>
                  </a:lnTo>
                  <a:lnTo>
                    <a:pt x="24" y="321"/>
                  </a:lnTo>
                  <a:lnTo>
                    <a:pt x="22" y="320"/>
                  </a:lnTo>
                  <a:lnTo>
                    <a:pt x="22" y="317"/>
                  </a:lnTo>
                  <a:lnTo>
                    <a:pt x="24" y="316"/>
                  </a:lnTo>
                  <a:lnTo>
                    <a:pt x="27" y="314"/>
                  </a:lnTo>
                  <a:lnTo>
                    <a:pt x="30" y="313"/>
                  </a:lnTo>
                  <a:lnTo>
                    <a:pt x="33" y="313"/>
                  </a:lnTo>
                  <a:lnTo>
                    <a:pt x="36" y="310"/>
                  </a:lnTo>
                  <a:lnTo>
                    <a:pt x="39" y="310"/>
                  </a:lnTo>
                  <a:lnTo>
                    <a:pt x="26" y="311"/>
                  </a:lnTo>
                  <a:lnTo>
                    <a:pt x="23" y="310"/>
                  </a:lnTo>
                  <a:lnTo>
                    <a:pt x="25" y="309"/>
                  </a:lnTo>
                  <a:lnTo>
                    <a:pt x="30" y="307"/>
                  </a:lnTo>
                  <a:lnTo>
                    <a:pt x="38" y="305"/>
                  </a:lnTo>
                  <a:lnTo>
                    <a:pt x="41" y="305"/>
                  </a:lnTo>
                  <a:lnTo>
                    <a:pt x="43" y="304"/>
                  </a:lnTo>
                  <a:lnTo>
                    <a:pt x="46" y="304"/>
                  </a:lnTo>
                  <a:lnTo>
                    <a:pt x="48" y="302"/>
                  </a:lnTo>
                  <a:lnTo>
                    <a:pt x="45" y="299"/>
                  </a:lnTo>
                  <a:lnTo>
                    <a:pt x="45" y="296"/>
                  </a:lnTo>
                  <a:lnTo>
                    <a:pt x="43" y="299"/>
                  </a:lnTo>
                  <a:lnTo>
                    <a:pt x="39" y="301"/>
                  </a:lnTo>
                  <a:lnTo>
                    <a:pt x="37" y="301"/>
                  </a:lnTo>
                  <a:lnTo>
                    <a:pt x="33" y="301"/>
                  </a:lnTo>
                  <a:lnTo>
                    <a:pt x="24" y="300"/>
                  </a:lnTo>
                  <a:lnTo>
                    <a:pt x="21" y="300"/>
                  </a:lnTo>
                  <a:lnTo>
                    <a:pt x="16" y="302"/>
                  </a:lnTo>
                  <a:lnTo>
                    <a:pt x="12" y="302"/>
                  </a:lnTo>
                  <a:lnTo>
                    <a:pt x="9" y="301"/>
                  </a:lnTo>
                  <a:lnTo>
                    <a:pt x="7" y="302"/>
                  </a:lnTo>
                  <a:lnTo>
                    <a:pt x="8" y="300"/>
                  </a:lnTo>
                  <a:lnTo>
                    <a:pt x="12" y="300"/>
                  </a:lnTo>
                  <a:lnTo>
                    <a:pt x="13" y="297"/>
                  </a:lnTo>
                  <a:lnTo>
                    <a:pt x="16" y="296"/>
                  </a:lnTo>
                  <a:lnTo>
                    <a:pt x="21" y="294"/>
                  </a:lnTo>
                  <a:lnTo>
                    <a:pt x="22" y="291"/>
                  </a:lnTo>
                  <a:lnTo>
                    <a:pt x="26" y="290"/>
                  </a:lnTo>
                  <a:lnTo>
                    <a:pt x="28" y="290"/>
                  </a:lnTo>
                  <a:lnTo>
                    <a:pt x="32" y="291"/>
                  </a:lnTo>
                  <a:lnTo>
                    <a:pt x="33" y="288"/>
                  </a:lnTo>
                  <a:lnTo>
                    <a:pt x="36" y="286"/>
                  </a:lnTo>
                  <a:lnTo>
                    <a:pt x="40" y="286"/>
                  </a:lnTo>
                  <a:lnTo>
                    <a:pt x="43" y="286"/>
                  </a:lnTo>
                  <a:lnTo>
                    <a:pt x="35" y="285"/>
                  </a:lnTo>
                  <a:lnTo>
                    <a:pt x="31" y="286"/>
                  </a:lnTo>
                  <a:lnTo>
                    <a:pt x="28" y="287"/>
                  </a:lnTo>
                  <a:lnTo>
                    <a:pt x="24" y="286"/>
                  </a:lnTo>
                  <a:lnTo>
                    <a:pt x="20" y="287"/>
                  </a:lnTo>
                  <a:lnTo>
                    <a:pt x="18" y="286"/>
                  </a:lnTo>
                  <a:lnTo>
                    <a:pt x="15" y="288"/>
                  </a:lnTo>
                  <a:lnTo>
                    <a:pt x="12" y="288"/>
                  </a:lnTo>
                  <a:lnTo>
                    <a:pt x="8" y="283"/>
                  </a:lnTo>
                  <a:lnTo>
                    <a:pt x="10" y="283"/>
                  </a:lnTo>
                  <a:lnTo>
                    <a:pt x="11" y="279"/>
                  </a:lnTo>
                  <a:lnTo>
                    <a:pt x="6" y="279"/>
                  </a:lnTo>
                  <a:lnTo>
                    <a:pt x="2" y="281"/>
                  </a:lnTo>
                  <a:lnTo>
                    <a:pt x="2" y="277"/>
                  </a:lnTo>
                  <a:lnTo>
                    <a:pt x="1" y="273"/>
                  </a:lnTo>
                  <a:lnTo>
                    <a:pt x="8" y="272"/>
                  </a:lnTo>
                  <a:lnTo>
                    <a:pt x="9" y="268"/>
                  </a:lnTo>
                  <a:lnTo>
                    <a:pt x="11" y="266"/>
                  </a:lnTo>
                  <a:lnTo>
                    <a:pt x="14" y="264"/>
                  </a:lnTo>
                  <a:lnTo>
                    <a:pt x="19" y="263"/>
                  </a:lnTo>
                  <a:lnTo>
                    <a:pt x="25" y="263"/>
                  </a:lnTo>
                  <a:lnTo>
                    <a:pt x="27" y="263"/>
                  </a:lnTo>
                  <a:lnTo>
                    <a:pt x="29" y="260"/>
                  </a:lnTo>
                  <a:lnTo>
                    <a:pt x="31" y="263"/>
                  </a:lnTo>
                  <a:lnTo>
                    <a:pt x="34" y="257"/>
                  </a:lnTo>
                  <a:lnTo>
                    <a:pt x="37" y="259"/>
                  </a:lnTo>
                  <a:lnTo>
                    <a:pt x="41" y="260"/>
                  </a:lnTo>
                  <a:lnTo>
                    <a:pt x="32" y="255"/>
                  </a:lnTo>
                  <a:lnTo>
                    <a:pt x="31" y="258"/>
                  </a:lnTo>
                  <a:lnTo>
                    <a:pt x="29" y="255"/>
                  </a:lnTo>
                  <a:lnTo>
                    <a:pt x="20" y="254"/>
                  </a:lnTo>
                  <a:lnTo>
                    <a:pt x="18" y="253"/>
                  </a:lnTo>
                  <a:lnTo>
                    <a:pt x="14" y="251"/>
                  </a:lnTo>
                  <a:lnTo>
                    <a:pt x="12" y="251"/>
                  </a:lnTo>
                  <a:lnTo>
                    <a:pt x="10" y="251"/>
                  </a:lnTo>
                  <a:lnTo>
                    <a:pt x="6" y="252"/>
                  </a:lnTo>
                  <a:lnTo>
                    <a:pt x="2" y="251"/>
                  </a:lnTo>
                  <a:lnTo>
                    <a:pt x="2" y="248"/>
                  </a:lnTo>
                  <a:lnTo>
                    <a:pt x="5" y="245"/>
                  </a:lnTo>
                  <a:lnTo>
                    <a:pt x="7" y="242"/>
                  </a:lnTo>
                  <a:lnTo>
                    <a:pt x="9" y="245"/>
                  </a:lnTo>
                  <a:lnTo>
                    <a:pt x="11" y="242"/>
                  </a:lnTo>
                  <a:lnTo>
                    <a:pt x="14" y="241"/>
                  </a:lnTo>
                  <a:lnTo>
                    <a:pt x="17" y="239"/>
                  </a:lnTo>
                  <a:lnTo>
                    <a:pt x="24" y="238"/>
                  </a:lnTo>
                  <a:lnTo>
                    <a:pt x="23" y="242"/>
                  </a:lnTo>
                  <a:lnTo>
                    <a:pt x="26" y="243"/>
                  </a:lnTo>
                  <a:lnTo>
                    <a:pt x="30" y="242"/>
                  </a:lnTo>
                  <a:lnTo>
                    <a:pt x="30" y="238"/>
                  </a:lnTo>
                  <a:lnTo>
                    <a:pt x="33" y="239"/>
                  </a:lnTo>
                  <a:lnTo>
                    <a:pt x="32" y="243"/>
                  </a:lnTo>
                  <a:lnTo>
                    <a:pt x="34" y="246"/>
                  </a:lnTo>
                  <a:lnTo>
                    <a:pt x="38" y="249"/>
                  </a:lnTo>
                  <a:lnTo>
                    <a:pt x="42" y="246"/>
                  </a:lnTo>
                  <a:lnTo>
                    <a:pt x="46" y="249"/>
                  </a:lnTo>
                  <a:lnTo>
                    <a:pt x="43" y="246"/>
                  </a:lnTo>
                  <a:lnTo>
                    <a:pt x="41" y="244"/>
                  </a:lnTo>
                  <a:lnTo>
                    <a:pt x="41" y="242"/>
                  </a:lnTo>
                  <a:lnTo>
                    <a:pt x="44" y="236"/>
                  </a:lnTo>
                  <a:lnTo>
                    <a:pt x="41" y="233"/>
                  </a:lnTo>
                  <a:lnTo>
                    <a:pt x="39" y="231"/>
                  </a:lnTo>
                  <a:lnTo>
                    <a:pt x="45" y="231"/>
                  </a:lnTo>
                  <a:lnTo>
                    <a:pt x="51" y="230"/>
                  </a:lnTo>
                  <a:lnTo>
                    <a:pt x="54" y="228"/>
                  </a:lnTo>
                  <a:lnTo>
                    <a:pt x="56" y="229"/>
                  </a:lnTo>
                  <a:lnTo>
                    <a:pt x="56" y="226"/>
                  </a:lnTo>
                  <a:lnTo>
                    <a:pt x="57" y="223"/>
                  </a:lnTo>
                  <a:lnTo>
                    <a:pt x="59" y="221"/>
                  </a:lnTo>
                  <a:lnTo>
                    <a:pt x="63" y="222"/>
                  </a:lnTo>
                  <a:lnTo>
                    <a:pt x="67" y="223"/>
                  </a:lnTo>
                  <a:lnTo>
                    <a:pt x="76" y="225"/>
                  </a:lnTo>
                  <a:lnTo>
                    <a:pt x="80" y="226"/>
                  </a:lnTo>
                  <a:lnTo>
                    <a:pt x="85" y="225"/>
                  </a:lnTo>
                  <a:lnTo>
                    <a:pt x="92" y="225"/>
                  </a:lnTo>
                  <a:lnTo>
                    <a:pt x="94" y="226"/>
                  </a:lnTo>
                  <a:lnTo>
                    <a:pt x="97" y="225"/>
                  </a:lnTo>
                  <a:lnTo>
                    <a:pt x="109" y="225"/>
                  </a:lnTo>
                  <a:lnTo>
                    <a:pt x="106" y="222"/>
                  </a:lnTo>
                  <a:lnTo>
                    <a:pt x="101" y="221"/>
                  </a:lnTo>
                  <a:lnTo>
                    <a:pt x="101" y="218"/>
                  </a:lnTo>
                  <a:lnTo>
                    <a:pt x="101" y="214"/>
                  </a:lnTo>
                  <a:lnTo>
                    <a:pt x="95" y="218"/>
                  </a:lnTo>
                  <a:lnTo>
                    <a:pt x="88" y="224"/>
                  </a:lnTo>
                  <a:lnTo>
                    <a:pt x="82" y="223"/>
                  </a:lnTo>
                  <a:lnTo>
                    <a:pt x="79" y="224"/>
                  </a:lnTo>
                  <a:lnTo>
                    <a:pt x="81" y="222"/>
                  </a:lnTo>
                  <a:lnTo>
                    <a:pt x="74" y="221"/>
                  </a:lnTo>
                  <a:lnTo>
                    <a:pt x="71" y="220"/>
                  </a:lnTo>
                  <a:lnTo>
                    <a:pt x="67" y="217"/>
                  </a:lnTo>
                  <a:lnTo>
                    <a:pt x="67" y="214"/>
                  </a:lnTo>
                  <a:lnTo>
                    <a:pt x="61" y="217"/>
                  </a:lnTo>
                  <a:lnTo>
                    <a:pt x="59" y="217"/>
                  </a:lnTo>
                  <a:lnTo>
                    <a:pt x="56" y="219"/>
                  </a:lnTo>
                  <a:lnTo>
                    <a:pt x="53" y="219"/>
                  </a:lnTo>
                  <a:lnTo>
                    <a:pt x="43" y="218"/>
                  </a:lnTo>
                  <a:lnTo>
                    <a:pt x="47" y="216"/>
                  </a:lnTo>
                  <a:lnTo>
                    <a:pt x="50" y="216"/>
                  </a:lnTo>
                  <a:lnTo>
                    <a:pt x="64" y="209"/>
                  </a:lnTo>
                  <a:lnTo>
                    <a:pt x="67" y="207"/>
                  </a:lnTo>
                  <a:lnTo>
                    <a:pt x="69" y="207"/>
                  </a:lnTo>
                  <a:lnTo>
                    <a:pt x="71" y="207"/>
                  </a:lnTo>
                  <a:lnTo>
                    <a:pt x="73" y="205"/>
                  </a:lnTo>
                  <a:lnTo>
                    <a:pt x="74" y="202"/>
                  </a:lnTo>
                  <a:lnTo>
                    <a:pt x="78" y="199"/>
                  </a:lnTo>
                  <a:lnTo>
                    <a:pt x="79" y="197"/>
                  </a:lnTo>
                  <a:lnTo>
                    <a:pt x="83" y="195"/>
                  </a:lnTo>
                  <a:lnTo>
                    <a:pt x="79" y="191"/>
                  </a:lnTo>
                  <a:lnTo>
                    <a:pt x="81" y="189"/>
                  </a:lnTo>
                  <a:lnTo>
                    <a:pt x="83" y="187"/>
                  </a:lnTo>
                  <a:lnTo>
                    <a:pt x="89" y="180"/>
                  </a:lnTo>
                  <a:lnTo>
                    <a:pt x="92" y="177"/>
                  </a:lnTo>
                  <a:lnTo>
                    <a:pt x="94" y="174"/>
                  </a:lnTo>
                  <a:lnTo>
                    <a:pt x="96" y="175"/>
                  </a:lnTo>
                  <a:lnTo>
                    <a:pt x="98" y="178"/>
                  </a:lnTo>
                  <a:lnTo>
                    <a:pt x="103" y="178"/>
                  </a:lnTo>
                  <a:lnTo>
                    <a:pt x="102" y="175"/>
                  </a:lnTo>
                  <a:lnTo>
                    <a:pt x="105" y="175"/>
                  </a:lnTo>
                  <a:lnTo>
                    <a:pt x="107" y="178"/>
                  </a:lnTo>
                  <a:lnTo>
                    <a:pt x="110" y="176"/>
                  </a:lnTo>
                  <a:lnTo>
                    <a:pt x="111" y="180"/>
                  </a:lnTo>
                  <a:lnTo>
                    <a:pt x="112" y="176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09" y="171"/>
                  </a:lnTo>
                  <a:lnTo>
                    <a:pt x="112" y="170"/>
                  </a:lnTo>
                  <a:lnTo>
                    <a:pt x="114" y="169"/>
                  </a:lnTo>
                  <a:lnTo>
                    <a:pt x="111" y="166"/>
                  </a:lnTo>
                  <a:lnTo>
                    <a:pt x="107" y="167"/>
                  </a:lnTo>
                  <a:lnTo>
                    <a:pt x="90" y="163"/>
                  </a:lnTo>
                  <a:lnTo>
                    <a:pt x="87" y="164"/>
                  </a:lnTo>
                  <a:lnTo>
                    <a:pt x="83" y="163"/>
                  </a:lnTo>
                  <a:lnTo>
                    <a:pt x="82" y="161"/>
                  </a:lnTo>
                  <a:lnTo>
                    <a:pt x="83" y="157"/>
                  </a:lnTo>
                  <a:lnTo>
                    <a:pt x="80" y="160"/>
                  </a:lnTo>
                  <a:lnTo>
                    <a:pt x="78" y="160"/>
                  </a:lnTo>
                  <a:lnTo>
                    <a:pt x="79" y="158"/>
                  </a:lnTo>
                  <a:lnTo>
                    <a:pt x="80" y="154"/>
                  </a:lnTo>
                  <a:lnTo>
                    <a:pt x="82" y="154"/>
                  </a:lnTo>
                  <a:lnTo>
                    <a:pt x="82" y="151"/>
                  </a:lnTo>
                  <a:lnTo>
                    <a:pt x="81" y="151"/>
                  </a:lnTo>
                  <a:lnTo>
                    <a:pt x="79" y="151"/>
                  </a:lnTo>
                  <a:lnTo>
                    <a:pt x="80" y="148"/>
                  </a:lnTo>
                  <a:lnTo>
                    <a:pt x="78" y="148"/>
                  </a:lnTo>
                  <a:lnTo>
                    <a:pt x="73" y="151"/>
                  </a:lnTo>
                  <a:lnTo>
                    <a:pt x="70" y="153"/>
                  </a:lnTo>
                  <a:lnTo>
                    <a:pt x="67" y="150"/>
                  </a:lnTo>
                  <a:lnTo>
                    <a:pt x="65" y="150"/>
                  </a:lnTo>
                  <a:lnTo>
                    <a:pt x="65" y="147"/>
                  </a:lnTo>
                  <a:lnTo>
                    <a:pt x="69" y="146"/>
                  </a:lnTo>
                  <a:lnTo>
                    <a:pt x="71" y="145"/>
                  </a:lnTo>
                  <a:lnTo>
                    <a:pt x="72" y="143"/>
                  </a:lnTo>
                  <a:lnTo>
                    <a:pt x="69" y="143"/>
                  </a:lnTo>
                  <a:lnTo>
                    <a:pt x="66" y="140"/>
                  </a:lnTo>
                  <a:lnTo>
                    <a:pt x="65" y="143"/>
                  </a:lnTo>
                  <a:lnTo>
                    <a:pt x="62" y="143"/>
                  </a:lnTo>
                  <a:lnTo>
                    <a:pt x="59" y="140"/>
                  </a:lnTo>
                  <a:lnTo>
                    <a:pt x="56" y="138"/>
                  </a:lnTo>
                  <a:lnTo>
                    <a:pt x="58" y="136"/>
                  </a:lnTo>
                  <a:lnTo>
                    <a:pt x="59" y="133"/>
                  </a:lnTo>
                  <a:lnTo>
                    <a:pt x="61" y="134"/>
                  </a:lnTo>
                  <a:lnTo>
                    <a:pt x="58" y="131"/>
                  </a:lnTo>
                  <a:lnTo>
                    <a:pt x="57" y="127"/>
                  </a:lnTo>
                  <a:lnTo>
                    <a:pt x="55" y="126"/>
                  </a:lnTo>
                  <a:lnTo>
                    <a:pt x="58" y="125"/>
                  </a:lnTo>
                  <a:lnTo>
                    <a:pt x="62" y="125"/>
                  </a:lnTo>
                  <a:lnTo>
                    <a:pt x="64" y="126"/>
                  </a:lnTo>
                  <a:lnTo>
                    <a:pt x="66" y="127"/>
                  </a:lnTo>
                  <a:lnTo>
                    <a:pt x="64" y="124"/>
                  </a:lnTo>
                  <a:lnTo>
                    <a:pt x="70" y="124"/>
                  </a:lnTo>
                  <a:lnTo>
                    <a:pt x="73" y="123"/>
                  </a:lnTo>
                  <a:lnTo>
                    <a:pt x="79" y="126"/>
                  </a:lnTo>
                  <a:lnTo>
                    <a:pt x="83" y="128"/>
                  </a:lnTo>
                  <a:lnTo>
                    <a:pt x="79" y="126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74" y="113"/>
                  </a:lnTo>
                  <a:lnTo>
                    <a:pt x="76" y="109"/>
                  </a:lnTo>
                  <a:lnTo>
                    <a:pt x="79" y="109"/>
                  </a:lnTo>
                  <a:lnTo>
                    <a:pt x="81" y="109"/>
                  </a:lnTo>
                  <a:lnTo>
                    <a:pt x="84" y="111"/>
                  </a:lnTo>
                  <a:lnTo>
                    <a:pt x="95" y="112"/>
                  </a:lnTo>
                  <a:lnTo>
                    <a:pt x="92" y="108"/>
                  </a:lnTo>
                  <a:lnTo>
                    <a:pt x="94" y="106"/>
                  </a:lnTo>
                  <a:lnTo>
                    <a:pt x="96" y="103"/>
                  </a:lnTo>
                  <a:lnTo>
                    <a:pt x="87" y="99"/>
                  </a:lnTo>
                  <a:lnTo>
                    <a:pt x="81" y="100"/>
                  </a:lnTo>
                  <a:lnTo>
                    <a:pt x="78" y="100"/>
                  </a:lnTo>
                  <a:lnTo>
                    <a:pt x="79" y="95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5" y="97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5" y="89"/>
                  </a:lnTo>
                  <a:lnTo>
                    <a:pt x="83" y="86"/>
                  </a:lnTo>
                  <a:lnTo>
                    <a:pt x="84" y="83"/>
                  </a:lnTo>
                  <a:lnTo>
                    <a:pt x="86" y="82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3" y="81"/>
                  </a:lnTo>
                  <a:lnTo>
                    <a:pt x="81" y="80"/>
                  </a:lnTo>
                  <a:lnTo>
                    <a:pt x="84" y="78"/>
                  </a:lnTo>
                  <a:lnTo>
                    <a:pt x="83" y="75"/>
                  </a:lnTo>
                  <a:lnTo>
                    <a:pt x="83" y="71"/>
                  </a:lnTo>
                  <a:lnTo>
                    <a:pt x="85" y="71"/>
                  </a:lnTo>
                  <a:lnTo>
                    <a:pt x="83" y="68"/>
                  </a:lnTo>
                  <a:lnTo>
                    <a:pt x="80" y="70"/>
                  </a:lnTo>
                  <a:lnTo>
                    <a:pt x="77" y="71"/>
                  </a:lnTo>
                  <a:lnTo>
                    <a:pt x="77" y="74"/>
                  </a:lnTo>
                  <a:lnTo>
                    <a:pt x="76" y="77"/>
                  </a:lnTo>
                  <a:lnTo>
                    <a:pt x="73" y="73"/>
                  </a:lnTo>
                  <a:lnTo>
                    <a:pt x="76" y="70"/>
                  </a:lnTo>
                  <a:lnTo>
                    <a:pt x="78" y="68"/>
                  </a:lnTo>
                  <a:lnTo>
                    <a:pt x="78" y="65"/>
                  </a:lnTo>
                  <a:lnTo>
                    <a:pt x="80" y="62"/>
                  </a:lnTo>
                  <a:lnTo>
                    <a:pt x="84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5" y="65"/>
                  </a:lnTo>
                  <a:lnTo>
                    <a:pt x="86" y="69"/>
                  </a:lnTo>
                  <a:lnTo>
                    <a:pt x="89" y="68"/>
                  </a:lnTo>
                  <a:lnTo>
                    <a:pt x="90" y="65"/>
                  </a:lnTo>
                  <a:lnTo>
                    <a:pt x="93" y="65"/>
                  </a:lnTo>
                  <a:lnTo>
                    <a:pt x="96" y="67"/>
                  </a:lnTo>
                  <a:lnTo>
                    <a:pt x="95" y="64"/>
                  </a:lnTo>
                  <a:lnTo>
                    <a:pt x="94" y="59"/>
                  </a:lnTo>
                  <a:lnTo>
                    <a:pt x="97" y="59"/>
                  </a:lnTo>
                  <a:lnTo>
                    <a:pt x="100" y="62"/>
                  </a:lnTo>
                  <a:lnTo>
                    <a:pt x="109" y="66"/>
                  </a:lnTo>
                  <a:lnTo>
                    <a:pt x="111" y="66"/>
                  </a:lnTo>
                  <a:lnTo>
                    <a:pt x="117" y="69"/>
                  </a:lnTo>
                  <a:lnTo>
                    <a:pt x="119" y="68"/>
                  </a:lnTo>
                  <a:lnTo>
                    <a:pt x="122" y="70"/>
                  </a:lnTo>
                  <a:lnTo>
                    <a:pt x="124" y="73"/>
                  </a:lnTo>
                  <a:lnTo>
                    <a:pt x="124" y="76"/>
                  </a:lnTo>
                  <a:lnTo>
                    <a:pt x="124" y="78"/>
                  </a:lnTo>
                  <a:lnTo>
                    <a:pt x="126" y="81"/>
                  </a:lnTo>
                  <a:lnTo>
                    <a:pt x="125" y="86"/>
                  </a:lnTo>
                  <a:lnTo>
                    <a:pt x="127" y="83"/>
                  </a:lnTo>
                  <a:lnTo>
                    <a:pt x="127" y="80"/>
                  </a:lnTo>
                  <a:lnTo>
                    <a:pt x="130" y="79"/>
                  </a:lnTo>
                  <a:lnTo>
                    <a:pt x="132" y="76"/>
                  </a:lnTo>
                  <a:lnTo>
                    <a:pt x="135" y="75"/>
                  </a:lnTo>
                  <a:lnTo>
                    <a:pt x="138" y="76"/>
                  </a:lnTo>
                  <a:lnTo>
                    <a:pt x="141" y="77"/>
                  </a:lnTo>
                  <a:lnTo>
                    <a:pt x="146" y="80"/>
                  </a:lnTo>
                  <a:lnTo>
                    <a:pt x="149" y="79"/>
                  </a:lnTo>
                  <a:lnTo>
                    <a:pt x="154" y="81"/>
                  </a:lnTo>
                  <a:lnTo>
                    <a:pt x="155" y="84"/>
                  </a:lnTo>
                  <a:lnTo>
                    <a:pt x="157" y="87"/>
                  </a:lnTo>
                  <a:lnTo>
                    <a:pt x="159" y="89"/>
                  </a:lnTo>
                  <a:lnTo>
                    <a:pt x="159" y="86"/>
                  </a:lnTo>
                  <a:lnTo>
                    <a:pt x="160" y="82"/>
                  </a:lnTo>
                  <a:lnTo>
                    <a:pt x="164" y="84"/>
                  </a:lnTo>
                  <a:lnTo>
                    <a:pt x="162" y="81"/>
                  </a:lnTo>
                  <a:lnTo>
                    <a:pt x="161" y="77"/>
                  </a:lnTo>
                  <a:lnTo>
                    <a:pt x="156" y="75"/>
                  </a:lnTo>
                  <a:lnTo>
                    <a:pt x="158" y="73"/>
                  </a:lnTo>
                  <a:lnTo>
                    <a:pt x="167" y="70"/>
                  </a:lnTo>
                  <a:lnTo>
                    <a:pt x="169" y="67"/>
                  </a:lnTo>
                  <a:lnTo>
                    <a:pt x="172" y="68"/>
                  </a:lnTo>
                  <a:lnTo>
                    <a:pt x="179" y="68"/>
                  </a:lnTo>
                  <a:lnTo>
                    <a:pt x="181" y="67"/>
                  </a:lnTo>
                  <a:lnTo>
                    <a:pt x="184" y="62"/>
                  </a:lnTo>
                  <a:lnTo>
                    <a:pt x="187" y="59"/>
                  </a:lnTo>
                  <a:lnTo>
                    <a:pt x="191" y="56"/>
                  </a:lnTo>
                  <a:lnTo>
                    <a:pt x="185" y="55"/>
                  </a:lnTo>
                  <a:lnTo>
                    <a:pt x="183" y="56"/>
                  </a:lnTo>
                  <a:lnTo>
                    <a:pt x="181" y="54"/>
                  </a:lnTo>
                  <a:lnTo>
                    <a:pt x="178" y="55"/>
                  </a:lnTo>
                  <a:lnTo>
                    <a:pt x="175" y="57"/>
                  </a:lnTo>
                  <a:lnTo>
                    <a:pt x="172" y="58"/>
                  </a:lnTo>
                  <a:lnTo>
                    <a:pt x="175" y="56"/>
                  </a:lnTo>
                  <a:lnTo>
                    <a:pt x="176" y="53"/>
                  </a:lnTo>
                  <a:lnTo>
                    <a:pt x="174" y="52"/>
                  </a:lnTo>
                  <a:lnTo>
                    <a:pt x="169" y="51"/>
                  </a:lnTo>
                  <a:lnTo>
                    <a:pt x="166" y="51"/>
                  </a:lnTo>
                  <a:lnTo>
                    <a:pt x="162" y="50"/>
                  </a:lnTo>
                  <a:lnTo>
                    <a:pt x="158" y="45"/>
                  </a:lnTo>
                  <a:lnTo>
                    <a:pt x="158" y="41"/>
                  </a:lnTo>
                  <a:lnTo>
                    <a:pt x="160" y="40"/>
                  </a:lnTo>
                  <a:lnTo>
                    <a:pt x="166" y="36"/>
                  </a:lnTo>
                  <a:lnTo>
                    <a:pt x="173" y="38"/>
                  </a:lnTo>
                  <a:lnTo>
                    <a:pt x="175" y="39"/>
                  </a:lnTo>
                  <a:lnTo>
                    <a:pt x="176" y="37"/>
                  </a:lnTo>
                  <a:lnTo>
                    <a:pt x="177" y="39"/>
                  </a:lnTo>
                  <a:lnTo>
                    <a:pt x="177" y="36"/>
                  </a:lnTo>
                  <a:lnTo>
                    <a:pt x="174" y="33"/>
                  </a:lnTo>
                  <a:lnTo>
                    <a:pt x="176" y="31"/>
                  </a:lnTo>
                  <a:lnTo>
                    <a:pt x="179" y="33"/>
                  </a:lnTo>
                  <a:lnTo>
                    <a:pt x="181" y="33"/>
                  </a:lnTo>
                  <a:lnTo>
                    <a:pt x="184" y="35"/>
                  </a:lnTo>
                  <a:lnTo>
                    <a:pt x="183" y="30"/>
                  </a:lnTo>
                  <a:lnTo>
                    <a:pt x="186" y="31"/>
                  </a:lnTo>
                  <a:lnTo>
                    <a:pt x="186" y="28"/>
                  </a:lnTo>
                  <a:lnTo>
                    <a:pt x="182" y="29"/>
                  </a:lnTo>
                  <a:lnTo>
                    <a:pt x="181" y="25"/>
                  </a:lnTo>
                  <a:lnTo>
                    <a:pt x="184" y="25"/>
                  </a:lnTo>
                  <a:lnTo>
                    <a:pt x="186" y="24"/>
                  </a:lnTo>
                  <a:lnTo>
                    <a:pt x="184" y="21"/>
                  </a:lnTo>
                  <a:lnTo>
                    <a:pt x="182" y="18"/>
                  </a:lnTo>
                  <a:lnTo>
                    <a:pt x="185" y="18"/>
                  </a:lnTo>
                  <a:lnTo>
                    <a:pt x="186" y="16"/>
                  </a:lnTo>
                  <a:lnTo>
                    <a:pt x="189" y="14"/>
                  </a:lnTo>
                  <a:lnTo>
                    <a:pt x="190" y="17"/>
                  </a:lnTo>
                  <a:lnTo>
                    <a:pt x="192" y="12"/>
                  </a:lnTo>
                  <a:lnTo>
                    <a:pt x="193" y="9"/>
                  </a:lnTo>
                  <a:lnTo>
                    <a:pt x="195" y="7"/>
                  </a:lnTo>
                  <a:lnTo>
                    <a:pt x="199" y="8"/>
                  </a:lnTo>
                  <a:lnTo>
                    <a:pt x="201" y="8"/>
                  </a:lnTo>
                  <a:lnTo>
                    <a:pt x="200" y="10"/>
                  </a:lnTo>
                  <a:lnTo>
                    <a:pt x="203" y="9"/>
                  </a:lnTo>
                  <a:lnTo>
                    <a:pt x="207" y="8"/>
                  </a:lnTo>
                  <a:lnTo>
                    <a:pt x="210" y="6"/>
                  </a:lnTo>
                  <a:lnTo>
                    <a:pt x="213" y="6"/>
                  </a:lnTo>
                  <a:lnTo>
                    <a:pt x="210" y="8"/>
                  </a:lnTo>
                  <a:lnTo>
                    <a:pt x="212" y="8"/>
                  </a:lnTo>
                  <a:lnTo>
                    <a:pt x="214" y="9"/>
                  </a:lnTo>
                  <a:lnTo>
                    <a:pt x="214" y="11"/>
                  </a:lnTo>
                  <a:lnTo>
                    <a:pt x="217" y="11"/>
                  </a:lnTo>
                  <a:lnTo>
                    <a:pt x="216" y="13"/>
                  </a:lnTo>
                  <a:lnTo>
                    <a:pt x="218" y="10"/>
                  </a:lnTo>
                  <a:lnTo>
                    <a:pt x="217" y="7"/>
                  </a:lnTo>
                  <a:lnTo>
                    <a:pt x="221" y="5"/>
                  </a:lnTo>
                  <a:lnTo>
                    <a:pt x="221" y="8"/>
                  </a:lnTo>
                  <a:lnTo>
                    <a:pt x="225" y="13"/>
                  </a:lnTo>
                  <a:lnTo>
                    <a:pt x="225" y="16"/>
                  </a:lnTo>
                  <a:lnTo>
                    <a:pt x="224" y="19"/>
                  </a:lnTo>
                  <a:lnTo>
                    <a:pt x="226" y="16"/>
                  </a:lnTo>
                  <a:lnTo>
                    <a:pt x="227" y="14"/>
                  </a:lnTo>
                  <a:lnTo>
                    <a:pt x="227" y="11"/>
                  </a:lnTo>
                  <a:lnTo>
                    <a:pt x="224" y="11"/>
                  </a:lnTo>
                  <a:lnTo>
                    <a:pt x="223" y="9"/>
                  </a:lnTo>
                  <a:lnTo>
                    <a:pt x="225" y="5"/>
                  </a:lnTo>
                  <a:lnTo>
                    <a:pt x="230" y="4"/>
                  </a:lnTo>
                  <a:lnTo>
                    <a:pt x="232" y="9"/>
                  </a:lnTo>
                  <a:lnTo>
                    <a:pt x="231" y="12"/>
                  </a:lnTo>
                  <a:lnTo>
                    <a:pt x="233" y="17"/>
                  </a:lnTo>
                  <a:lnTo>
                    <a:pt x="234" y="20"/>
                  </a:lnTo>
                  <a:lnTo>
                    <a:pt x="231" y="22"/>
                  </a:lnTo>
                  <a:lnTo>
                    <a:pt x="226" y="24"/>
                  </a:lnTo>
                  <a:lnTo>
                    <a:pt x="229" y="25"/>
                  </a:lnTo>
                  <a:lnTo>
                    <a:pt x="228" y="28"/>
                  </a:lnTo>
                  <a:lnTo>
                    <a:pt x="225" y="29"/>
                  </a:lnTo>
                  <a:lnTo>
                    <a:pt x="222" y="32"/>
                  </a:lnTo>
                  <a:lnTo>
                    <a:pt x="230" y="28"/>
                  </a:lnTo>
                  <a:lnTo>
                    <a:pt x="233" y="27"/>
                  </a:lnTo>
                  <a:lnTo>
                    <a:pt x="235" y="27"/>
                  </a:lnTo>
                  <a:lnTo>
                    <a:pt x="236" y="25"/>
                  </a:lnTo>
                  <a:lnTo>
                    <a:pt x="236" y="21"/>
                  </a:lnTo>
                  <a:lnTo>
                    <a:pt x="237" y="18"/>
                  </a:lnTo>
                  <a:lnTo>
                    <a:pt x="236" y="14"/>
                  </a:lnTo>
                  <a:lnTo>
                    <a:pt x="235" y="11"/>
                  </a:lnTo>
                  <a:lnTo>
                    <a:pt x="237" y="8"/>
                  </a:lnTo>
                  <a:lnTo>
                    <a:pt x="238" y="4"/>
                  </a:lnTo>
                  <a:lnTo>
                    <a:pt x="240" y="5"/>
                  </a:lnTo>
                  <a:lnTo>
                    <a:pt x="242" y="6"/>
                  </a:lnTo>
                  <a:lnTo>
                    <a:pt x="246" y="4"/>
                  </a:lnTo>
                  <a:lnTo>
                    <a:pt x="249" y="8"/>
                  </a:lnTo>
                  <a:lnTo>
                    <a:pt x="251" y="8"/>
                  </a:lnTo>
                  <a:lnTo>
                    <a:pt x="248" y="5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FDDEBE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63" name="IT">
              <a:extLst>
                <a:ext uri="{FF2B5EF4-FFF2-40B4-BE49-F238E27FC236}">
                  <a16:creationId xmlns:a16="http://schemas.microsoft.com/office/drawing/2014/main" id="{2D657EA3-B17B-D145-A144-6B88D594AA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4661" y="5009744"/>
              <a:ext cx="1596860" cy="1650066"/>
            </a:xfrm>
            <a:custGeom>
              <a:avLst/>
              <a:gdLst>
                <a:gd name="T0" fmla="*/ 608 w 836"/>
                <a:gd name="T1" fmla="*/ 878 h 958"/>
                <a:gd name="T2" fmla="*/ 611 w 836"/>
                <a:gd name="T3" fmla="*/ 943 h 958"/>
                <a:gd name="T4" fmla="*/ 536 w 836"/>
                <a:gd name="T5" fmla="*/ 920 h 958"/>
                <a:gd name="T6" fmla="*/ 454 w 836"/>
                <a:gd name="T7" fmla="*/ 888 h 958"/>
                <a:gd name="T8" fmla="*/ 411 w 836"/>
                <a:gd name="T9" fmla="*/ 843 h 958"/>
                <a:gd name="T10" fmla="*/ 463 w 836"/>
                <a:gd name="T11" fmla="*/ 825 h 958"/>
                <a:gd name="T12" fmla="*/ 534 w 836"/>
                <a:gd name="T13" fmla="*/ 835 h 958"/>
                <a:gd name="T14" fmla="*/ 625 w 836"/>
                <a:gd name="T15" fmla="*/ 811 h 958"/>
                <a:gd name="T16" fmla="*/ 97 w 836"/>
                <a:gd name="T17" fmla="*/ 737 h 958"/>
                <a:gd name="T18" fmla="*/ 174 w 836"/>
                <a:gd name="T19" fmla="*/ 550 h 958"/>
                <a:gd name="T20" fmla="*/ 196 w 836"/>
                <a:gd name="T21" fmla="*/ 576 h 958"/>
                <a:gd name="T22" fmla="*/ 198 w 836"/>
                <a:gd name="T23" fmla="*/ 637 h 958"/>
                <a:gd name="T24" fmla="*/ 196 w 836"/>
                <a:gd name="T25" fmla="*/ 723 h 958"/>
                <a:gd name="T26" fmla="*/ 158 w 836"/>
                <a:gd name="T27" fmla="*/ 732 h 958"/>
                <a:gd name="T28" fmla="*/ 116 w 836"/>
                <a:gd name="T29" fmla="*/ 745 h 958"/>
                <a:gd name="T30" fmla="*/ 117 w 836"/>
                <a:gd name="T31" fmla="*/ 685 h 958"/>
                <a:gd name="T32" fmla="*/ 114 w 836"/>
                <a:gd name="T33" fmla="*/ 629 h 958"/>
                <a:gd name="T34" fmla="*/ 96 w 836"/>
                <a:gd name="T35" fmla="*/ 573 h 958"/>
                <a:gd name="T36" fmla="*/ 165 w 836"/>
                <a:gd name="T37" fmla="*/ 553 h 958"/>
                <a:gd name="T38" fmla="*/ 386 w 836"/>
                <a:gd name="T39" fmla="*/ 38 h 958"/>
                <a:gd name="T40" fmla="*/ 454 w 836"/>
                <a:gd name="T41" fmla="*/ 62 h 958"/>
                <a:gd name="T42" fmla="*/ 458 w 836"/>
                <a:gd name="T43" fmla="*/ 110 h 958"/>
                <a:gd name="T44" fmla="*/ 456 w 836"/>
                <a:gd name="T45" fmla="*/ 123 h 958"/>
                <a:gd name="T46" fmla="*/ 408 w 836"/>
                <a:gd name="T47" fmla="*/ 142 h 958"/>
                <a:gd name="T48" fmla="*/ 374 w 836"/>
                <a:gd name="T49" fmla="*/ 157 h 958"/>
                <a:gd name="T50" fmla="*/ 390 w 836"/>
                <a:gd name="T51" fmla="*/ 196 h 958"/>
                <a:gd name="T52" fmla="*/ 378 w 836"/>
                <a:gd name="T53" fmla="*/ 238 h 958"/>
                <a:gd name="T54" fmla="*/ 462 w 836"/>
                <a:gd name="T55" fmla="*/ 319 h 958"/>
                <a:gd name="T56" fmla="*/ 549 w 836"/>
                <a:gd name="T57" fmla="*/ 448 h 958"/>
                <a:gd name="T58" fmla="*/ 657 w 836"/>
                <a:gd name="T59" fmla="*/ 471 h 958"/>
                <a:gd name="T60" fmla="*/ 712 w 836"/>
                <a:gd name="T61" fmla="*/ 535 h 958"/>
                <a:gd name="T62" fmla="*/ 815 w 836"/>
                <a:gd name="T63" fmla="*/ 589 h 958"/>
                <a:gd name="T64" fmla="*/ 816 w 836"/>
                <a:gd name="T65" fmla="*/ 643 h 958"/>
                <a:gd name="T66" fmla="*/ 743 w 836"/>
                <a:gd name="T67" fmla="*/ 595 h 958"/>
                <a:gd name="T68" fmla="*/ 697 w 836"/>
                <a:gd name="T69" fmla="*/ 651 h 958"/>
                <a:gd name="T70" fmla="*/ 744 w 836"/>
                <a:gd name="T71" fmla="*/ 707 h 958"/>
                <a:gd name="T72" fmla="*/ 705 w 836"/>
                <a:gd name="T73" fmla="*/ 759 h 958"/>
                <a:gd name="T74" fmla="*/ 644 w 836"/>
                <a:gd name="T75" fmla="*/ 827 h 958"/>
                <a:gd name="T76" fmla="*/ 679 w 836"/>
                <a:gd name="T77" fmla="*/ 759 h 958"/>
                <a:gd name="T78" fmla="*/ 639 w 836"/>
                <a:gd name="T79" fmla="*/ 652 h 958"/>
                <a:gd name="T80" fmla="*/ 578 w 836"/>
                <a:gd name="T81" fmla="*/ 623 h 958"/>
                <a:gd name="T82" fmla="*/ 544 w 836"/>
                <a:gd name="T83" fmla="*/ 584 h 958"/>
                <a:gd name="T84" fmla="*/ 485 w 836"/>
                <a:gd name="T85" fmla="*/ 539 h 958"/>
                <a:gd name="T86" fmla="*/ 404 w 836"/>
                <a:gd name="T87" fmla="*/ 515 h 958"/>
                <a:gd name="T88" fmla="*/ 332 w 836"/>
                <a:gd name="T89" fmla="*/ 442 h 958"/>
                <a:gd name="T90" fmla="*/ 294 w 836"/>
                <a:gd name="T91" fmla="*/ 413 h 958"/>
                <a:gd name="T92" fmla="*/ 262 w 836"/>
                <a:gd name="T93" fmla="*/ 361 h 958"/>
                <a:gd name="T94" fmla="*/ 210 w 836"/>
                <a:gd name="T95" fmla="*/ 282 h 958"/>
                <a:gd name="T96" fmla="*/ 142 w 836"/>
                <a:gd name="T97" fmla="*/ 248 h 958"/>
                <a:gd name="T98" fmla="*/ 88 w 836"/>
                <a:gd name="T99" fmla="*/ 301 h 958"/>
                <a:gd name="T100" fmla="*/ 43 w 836"/>
                <a:gd name="T101" fmla="*/ 273 h 958"/>
                <a:gd name="T102" fmla="*/ 28 w 836"/>
                <a:gd name="T103" fmla="*/ 222 h 958"/>
                <a:gd name="T104" fmla="*/ 19 w 836"/>
                <a:gd name="T105" fmla="*/ 176 h 958"/>
                <a:gd name="T106" fmla="*/ 19 w 836"/>
                <a:gd name="T107" fmla="*/ 129 h 958"/>
                <a:gd name="T108" fmla="*/ 75 w 836"/>
                <a:gd name="T109" fmla="*/ 107 h 958"/>
                <a:gd name="T110" fmla="*/ 115 w 836"/>
                <a:gd name="T111" fmla="*/ 65 h 958"/>
                <a:gd name="T112" fmla="*/ 154 w 836"/>
                <a:gd name="T113" fmla="*/ 115 h 958"/>
                <a:gd name="T114" fmla="*/ 178 w 836"/>
                <a:gd name="T115" fmla="*/ 68 h 958"/>
                <a:gd name="T116" fmla="*/ 228 w 836"/>
                <a:gd name="T117" fmla="*/ 79 h 958"/>
                <a:gd name="T118" fmla="*/ 253 w 836"/>
                <a:gd name="T119" fmla="*/ 54 h 958"/>
                <a:gd name="T120" fmla="*/ 285 w 836"/>
                <a:gd name="T121" fmla="*/ 31 h 958"/>
                <a:gd name="T122" fmla="*/ 342 w 836"/>
                <a:gd name="T123" fmla="*/ 10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36" h="958">
                  <a:moveTo>
                    <a:pt x="636" y="804"/>
                  </a:moveTo>
                  <a:lnTo>
                    <a:pt x="640" y="806"/>
                  </a:lnTo>
                  <a:lnTo>
                    <a:pt x="643" y="806"/>
                  </a:lnTo>
                  <a:lnTo>
                    <a:pt x="642" y="807"/>
                  </a:lnTo>
                  <a:lnTo>
                    <a:pt x="638" y="809"/>
                  </a:lnTo>
                  <a:lnTo>
                    <a:pt x="636" y="813"/>
                  </a:lnTo>
                  <a:lnTo>
                    <a:pt x="634" y="819"/>
                  </a:lnTo>
                  <a:lnTo>
                    <a:pt x="633" y="824"/>
                  </a:lnTo>
                  <a:lnTo>
                    <a:pt x="625" y="834"/>
                  </a:lnTo>
                  <a:lnTo>
                    <a:pt x="620" y="845"/>
                  </a:lnTo>
                  <a:lnTo>
                    <a:pt x="618" y="848"/>
                  </a:lnTo>
                  <a:lnTo>
                    <a:pt x="615" y="852"/>
                  </a:lnTo>
                  <a:lnTo>
                    <a:pt x="614" y="855"/>
                  </a:lnTo>
                  <a:lnTo>
                    <a:pt x="614" y="859"/>
                  </a:lnTo>
                  <a:lnTo>
                    <a:pt x="613" y="862"/>
                  </a:lnTo>
                  <a:lnTo>
                    <a:pt x="613" y="865"/>
                  </a:lnTo>
                  <a:lnTo>
                    <a:pt x="612" y="867"/>
                  </a:lnTo>
                  <a:lnTo>
                    <a:pt x="611" y="874"/>
                  </a:lnTo>
                  <a:lnTo>
                    <a:pt x="608" y="878"/>
                  </a:lnTo>
                  <a:lnTo>
                    <a:pt x="606" y="882"/>
                  </a:lnTo>
                  <a:lnTo>
                    <a:pt x="607" y="893"/>
                  </a:lnTo>
                  <a:lnTo>
                    <a:pt x="608" y="896"/>
                  </a:lnTo>
                  <a:lnTo>
                    <a:pt x="614" y="899"/>
                  </a:lnTo>
                  <a:lnTo>
                    <a:pt x="617" y="899"/>
                  </a:lnTo>
                  <a:lnTo>
                    <a:pt x="620" y="904"/>
                  </a:lnTo>
                  <a:lnTo>
                    <a:pt x="617" y="905"/>
                  </a:lnTo>
                  <a:lnTo>
                    <a:pt x="614" y="906"/>
                  </a:lnTo>
                  <a:lnTo>
                    <a:pt x="615" y="909"/>
                  </a:lnTo>
                  <a:lnTo>
                    <a:pt x="618" y="910"/>
                  </a:lnTo>
                  <a:lnTo>
                    <a:pt x="618" y="913"/>
                  </a:lnTo>
                  <a:lnTo>
                    <a:pt x="623" y="915"/>
                  </a:lnTo>
                  <a:lnTo>
                    <a:pt x="624" y="919"/>
                  </a:lnTo>
                  <a:lnTo>
                    <a:pt x="626" y="922"/>
                  </a:lnTo>
                  <a:lnTo>
                    <a:pt x="622" y="925"/>
                  </a:lnTo>
                  <a:lnTo>
                    <a:pt x="620" y="928"/>
                  </a:lnTo>
                  <a:lnTo>
                    <a:pt x="617" y="930"/>
                  </a:lnTo>
                  <a:lnTo>
                    <a:pt x="614" y="932"/>
                  </a:lnTo>
                  <a:lnTo>
                    <a:pt x="611" y="943"/>
                  </a:lnTo>
                  <a:lnTo>
                    <a:pt x="611" y="947"/>
                  </a:lnTo>
                  <a:lnTo>
                    <a:pt x="612" y="950"/>
                  </a:lnTo>
                  <a:lnTo>
                    <a:pt x="614" y="955"/>
                  </a:lnTo>
                  <a:lnTo>
                    <a:pt x="611" y="958"/>
                  </a:lnTo>
                  <a:lnTo>
                    <a:pt x="608" y="957"/>
                  </a:lnTo>
                  <a:lnTo>
                    <a:pt x="604" y="954"/>
                  </a:lnTo>
                  <a:lnTo>
                    <a:pt x="600" y="955"/>
                  </a:lnTo>
                  <a:lnTo>
                    <a:pt x="597" y="953"/>
                  </a:lnTo>
                  <a:lnTo>
                    <a:pt x="595" y="952"/>
                  </a:lnTo>
                  <a:lnTo>
                    <a:pt x="586" y="956"/>
                  </a:lnTo>
                  <a:lnTo>
                    <a:pt x="583" y="954"/>
                  </a:lnTo>
                  <a:lnTo>
                    <a:pt x="579" y="954"/>
                  </a:lnTo>
                  <a:lnTo>
                    <a:pt x="572" y="950"/>
                  </a:lnTo>
                  <a:lnTo>
                    <a:pt x="564" y="948"/>
                  </a:lnTo>
                  <a:lnTo>
                    <a:pt x="556" y="934"/>
                  </a:lnTo>
                  <a:lnTo>
                    <a:pt x="554" y="931"/>
                  </a:lnTo>
                  <a:lnTo>
                    <a:pt x="547" y="925"/>
                  </a:lnTo>
                  <a:lnTo>
                    <a:pt x="542" y="922"/>
                  </a:lnTo>
                  <a:lnTo>
                    <a:pt x="536" y="920"/>
                  </a:lnTo>
                  <a:lnTo>
                    <a:pt x="533" y="919"/>
                  </a:lnTo>
                  <a:lnTo>
                    <a:pt x="525" y="921"/>
                  </a:lnTo>
                  <a:lnTo>
                    <a:pt x="522" y="922"/>
                  </a:lnTo>
                  <a:lnTo>
                    <a:pt x="519" y="922"/>
                  </a:lnTo>
                  <a:lnTo>
                    <a:pt x="513" y="918"/>
                  </a:lnTo>
                  <a:lnTo>
                    <a:pt x="510" y="917"/>
                  </a:lnTo>
                  <a:lnTo>
                    <a:pt x="507" y="917"/>
                  </a:lnTo>
                  <a:lnTo>
                    <a:pt x="504" y="916"/>
                  </a:lnTo>
                  <a:lnTo>
                    <a:pt x="495" y="909"/>
                  </a:lnTo>
                  <a:lnTo>
                    <a:pt x="490" y="907"/>
                  </a:lnTo>
                  <a:lnTo>
                    <a:pt x="487" y="906"/>
                  </a:lnTo>
                  <a:lnTo>
                    <a:pt x="484" y="905"/>
                  </a:lnTo>
                  <a:lnTo>
                    <a:pt x="478" y="901"/>
                  </a:lnTo>
                  <a:lnTo>
                    <a:pt x="475" y="900"/>
                  </a:lnTo>
                  <a:lnTo>
                    <a:pt x="472" y="898"/>
                  </a:lnTo>
                  <a:lnTo>
                    <a:pt x="469" y="894"/>
                  </a:lnTo>
                  <a:lnTo>
                    <a:pt x="466" y="892"/>
                  </a:lnTo>
                  <a:lnTo>
                    <a:pt x="463" y="889"/>
                  </a:lnTo>
                  <a:lnTo>
                    <a:pt x="454" y="888"/>
                  </a:lnTo>
                  <a:lnTo>
                    <a:pt x="451" y="888"/>
                  </a:lnTo>
                  <a:lnTo>
                    <a:pt x="450" y="885"/>
                  </a:lnTo>
                  <a:lnTo>
                    <a:pt x="446" y="882"/>
                  </a:lnTo>
                  <a:lnTo>
                    <a:pt x="439" y="882"/>
                  </a:lnTo>
                  <a:lnTo>
                    <a:pt x="433" y="882"/>
                  </a:lnTo>
                  <a:lnTo>
                    <a:pt x="427" y="884"/>
                  </a:lnTo>
                  <a:lnTo>
                    <a:pt x="424" y="883"/>
                  </a:lnTo>
                  <a:lnTo>
                    <a:pt x="419" y="877"/>
                  </a:lnTo>
                  <a:lnTo>
                    <a:pt x="414" y="875"/>
                  </a:lnTo>
                  <a:lnTo>
                    <a:pt x="410" y="871"/>
                  </a:lnTo>
                  <a:lnTo>
                    <a:pt x="409" y="867"/>
                  </a:lnTo>
                  <a:lnTo>
                    <a:pt x="408" y="864"/>
                  </a:lnTo>
                  <a:lnTo>
                    <a:pt x="406" y="861"/>
                  </a:lnTo>
                  <a:lnTo>
                    <a:pt x="409" y="859"/>
                  </a:lnTo>
                  <a:lnTo>
                    <a:pt x="409" y="857"/>
                  </a:lnTo>
                  <a:lnTo>
                    <a:pt x="409" y="854"/>
                  </a:lnTo>
                  <a:lnTo>
                    <a:pt x="409" y="851"/>
                  </a:lnTo>
                  <a:lnTo>
                    <a:pt x="410" y="847"/>
                  </a:lnTo>
                  <a:lnTo>
                    <a:pt x="411" y="843"/>
                  </a:lnTo>
                  <a:lnTo>
                    <a:pt x="413" y="840"/>
                  </a:lnTo>
                  <a:lnTo>
                    <a:pt x="416" y="836"/>
                  </a:lnTo>
                  <a:lnTo>
                    <a:pt x="421" y="836"/>
                  </a:lnTo>
                  <a:lnTo>
                    <a:pt x="422" y="832"/>
                  </a:lnTo>
                  <a:lnTo>
                    <a:pt x="426" y="833"/>
                  </a:lnTo>
                  <a:lnTo>
                    <a:pt x="427" y="829"/>
                  </a:lnTo>
                  <a:lnTo>
                    <a:pt x="427" y="825"/>
                  </a:lnTo>
                  <a:lnTo>
                    <a:pt x="430" y="828"/>
                  </a:lnTo>
                  <a:lnTo>
                    <a:pt x="432" y="832"/>
                  </a:lnTo>
                  <a:lnTo>
                    <a:pt x="434" y="835"/>
                  </a:lnTo>
                  <a:lnTo>
                    <a:pt x="437" y="837"/>
                  </a:lnTo>
                  <a:lnTo>
                    <a:pt x="440" y="840"/>
                  </a:lnTo>
                  <a:lnTo>
                    <a:pt x="443" y="839"/>
                  </a:lnTo>
                  <a:lnTo>
                    <a:pt x="450" y="836"/>
                  </a:lnTo>
                  <a:lnTo>
                    <a:pt x="453" y="833"/>
                  </a:lnTo>
                  <a:lnTo>
                    <a:pt x="453" y="830"/>
                  </a:lnTo>
                  <a:lnTo>
                    <a:pt x="454" y="826"/>
                  </a:lnTo>
                  <a:lnTo>
                    <a:pt x="459" y="825"/>
                  </a:lnTo>
                  <a:lnTo>
                    <a:pt x="463" y="825"/>
                  </a:lnTo>
                  <a:lnTo>
                    <a:pt x="465" y="822"/>
                  </a:lnTo>
                  <a:lnTo>
                    <a:pt x="468" y="822"/>
                  </a:lnTo>
                  <a:lnTo>
                    <a:pt x="471" y="821"/>
                  </a:lnTo>
                  <a:lnTo>
                    <a:pt x="475" y="824"/>
                  </a:lnTo>
                  <a:lnTo>
                    <a:pt x="475" y="828"/>
                  </a:lnTo>
                  <a:lnTo>
                    <a:pt x="477" y="831"/>
                  </a:lnTo>
                  <a:lnTo>
                    <a:pt x="486" y="830"/>
                  </a:lnTo>
                  <a:lnTo>
                    <a:pt x="488" y="833"/>
                  </a:lnTo>
                  <a:lnTo>
                    <a:pt x="491" y="836"/>
                  </a:lnTo>
                  <a:lnTo>
                    <a:pt x="496" y="840"/>
                  </a:lnTo>
                  <a:lnTo>
                    <a:pt x="500" y="840"/>
                  </a:lnTo>
                  <a:lnTo>
                    <a:pt x="506" y="842"/>
                  </a:lnTo>
                  <a:lnTo>
                    <a:pt x="511" y="839"/>
                  </a:lnTo>
                  <a:lnTo>
                    <a:pt x="514" y="839"/>
                  </a:lnTo>
                  <a:lnTo>
                    <a:pt x="517" y="836"/>
                  </a:lnTo>
                  <a:lnTo>
                    <a:pt x="523" y="835"/>
                  </a:lnTo>
                  <a:lnTo>
                    <a:pt x="527" y="836"/>
                  </a:lnTo>
                  <a:lnTo>
                    <a:pt x="530" y="836"/>
                  </a:lnTo>
                  <a:lnTo>
                    <a:pt x="534" y="835"/>
                  </a:lnTo>
                  <a:lnTo>
                    <a:pt x="543" y="836"/>
                  </a:lnTo>
                  <a:lnTo>
                    <a:pt x="547" y="836"/>
                  </a:lnTo>
                  <a:lnTo>
                    <a:pt x="551" y="834"/>
                  </a:lnTo>
                  <a:lnTo>
                    <a:pt x="554" y="832"/>
                  </a:lnTo>
                  <a:lnTo>
                    <a:pt x="560" y="832"/>
                  </a:lnTo>
                  <a:lnTo>
                    <a:pt x="569" y="829"/>
                  </a:lnTo>
                  <a:lnTo>
                    <a:pt x="573" y="825"/>
                  </a:lnTo>
                  <a:lnTo>
                    <a:pt x="575" y="821"/>
                  </a:lnTo>
                  <a:lnTo>
                    <a:pt x="579" y="821"/>
                  </a:lnTo>
                  <a:lnTo>
                    <a:pt x="586" y="819"/>
                  </a:lnTo>
                  <a:lnTo>
                    <a:pt x="591" y="818"/>
                  </a:lnTo>
                  <a:lnTo>
                    <a:pt x="595" y="820"/>
                  </a:lnTo>
                  <a:lnTo>
                    <a:pt x="599" y="820"/>
                  </a:lnTo>
                  <a:lnTo>
                    <a:pt x="602" y="822"/>
                  </a:lnTo>
                  <a:lnTo>
                    <a:pt x="609" y="819"/>
                  </a:lnTo>
                  <a:lnTo>
                    <a:pt x="613" y="811"/>
                  </a:lnTo>
                  <a:lnTo>
                    <a:pt x="614" y="814"/>
                  </a:lnTo>
                  <a:lnTo>
                    <a:pt x="619" y="813"/>
                  </a:lnTo>
                  <a:lnTo>
                    <a:pt x="625" y="811"/>
                  </a:lnTo>
                  <a:lnTo>
                    <a:pt x="630" y="808"/>
                  </a:lnTo>
                  <a:lnTo>
                    <a:pt x="632" y="805"/>
                  </a:lnTo>
                  <a:lnTo>
                    <a:pt x="636" y="804"/>
                  </a:lnTo>
                  <a:close/>
                  <a:moveTo>
                    <a:pt x="106" y="742"/>
                  </a:moveTo>
                  <a:lnTo>
                    <a:pt x="110" y="743"/>
                  </a:lnTo>
                  <a:lnTo>
                    <a:pt x="113" y="746"/>
                  </a:lnTo>
                  <a:lnTo>
                    <a:pt x="113" y="749"/>
                  </a:lnTo>
                  <a:lnTo>
                    <a:pt x="112" y="753"/>
                  </a:lnTo>
                  <a:lnTo>
                    <a:pt x="111" y="756"/>
                  </a:lnTo>
                  <a:lnTo>
                    <a:pt x="106" y="750"/>
                  </a:lnTo>
                  <a:lnTo>
                    <a:pt x="105" y="747"/>
                  </a:lnTo>
                  <a:lnTo>
                    <a:pt x="105" y="744"/>
                  </a:lnTo>
                  <a:lnTo>
                    <a:pt x="106" y="742"/>
                  </a:lnTo>
                  <a:close/>
                  <a:moveTo>
                    <a:pt x="101" y="735"/>
                  </a:moveTo>
                  <a:lnTo>
                    <a:pt x="102" y="742"/>
                  </a:lnTo>
                  <a:lnTo>
                    <a:pt x="102" y="743"/>
                  </a:lnTo>
                  <a:lnTo>
                    <a:pt x="99" y="743"/>
                  </a:lnTo>
                  <a:lnTo>
                    <a:pt x="97" y="739"/>
                  </a:lnTo>
                  <a:lnTo>
                    <a:pt x="97" y="737"/>
                  </a:lnTo>
                  <a:lnTo>
                    <a:pt x="101" y="735"/>
                  </a:lnTo>
                  <a:close/>
                  <a:moveTo>
                    <a:pt x="106" y="557"/>
                  </a:moveTo>
                  <a:lnTo>
                    <a:pt x="107" y="557"/>
                  </a:lnTo>
                  <a:lnTo>
                    <a:pt x="108" y="560"/>
                  </a:lnTo>
                  <a:lnTo>
                    <a:pt x="103" y="562"/>
                  </a:lnTo>
                  <a:lnTo>
                    <a:pt x="102" y="565"/>
                  </a:lnTo>
                  <a:lnTo>
                    <a:pt x="99" y="567"/>
                  </a:lnTo>
                  <a:lnTo>
                    <a:pt x="100" y="565"/>
                  </a:lnTo>
                  <a:lnTo>
                    <a:pt x="101" y="562"/>
                  </a:lnTo>
                  <a:lnTo>
                    <a:pt x="104" y="559"/>
                  </a:lnTo>
                  <a:lnTo>
                    <a:pt x="106" y="557"/>
                  </a:lnTo>
                  <a:close/>
                  <a:moveTo>
                    <a:pt x="185" y="546"/>
                  </a:moveTo>
                  <a:lnTo>
                    <a:pt x="185" y="548"/>
                  </a:lnTo>
                  <a:lnTo>
                    <a:pt x="183" y="549"/>
                  </a:lnTo>
                  <a:lnTo>
                    <a:pt x="182" y="546"/>
                  </a:lnTo>
                  <a:lnTo>
                    <a:pt x="185" y="546"/>
                  </a:lnTo>
                  <a:close/>
                  <a:moveTo>
                    <a:pt x="170" y="545"/>
                  </a:moveTo>
                  <a:lnTo>
                    <a:pt x="172" y="545"/>
                  </a:lnTo>
                  <a:lnTo>
                    <a:pt x="174" y="550"/>
                  </a:lnTo>
                  <a:lnTo>
                    <a:pt x="176" y="550"/>
                  </a:lnTo>
                  <a:lnTo>
                    <a:pt x="180" y="549"/>
                  </a:lnTo>
                  <a:lnTo>
                    <a:pt x="182" y="552"/>
                  </a:lnTo>
                  <a:lnTo>
                    <a:pt x="185" y="555"/>
                  </a:lnTo>
                  <a:lnTo>
                    <a:pt x="186" y="558"/>
                  </a:lnTo>
                  <a:lnTo>
                    <a:pt x="188" y="555"/>
                  </a:lnTo>
                  <a:lnTo>
                    <a:pt x="191" y="555"/>
                  </a:lnTo>
                  <a:lnTo>
                    <a:pt x="193" y="557"/>
                  </a:lnTo>
                  <a:lnTo>
                    <a:pt x="194" y="560"/>
                  </a:lnTo>
                  <a:lnTo>
                    <a:pt x="191" y="565"/>
                  </a:lnTo>
                  <a:lnTo>
                    <a:pt x="194" y="566"/>
                  </a:lnTo>
                  <a:lnTo>
                    <a:pt x="198" y="566"/>
                  </a:lnTo>
                  <a:lnTo>
                    <a:pt x="201" y="568"/>
                  </a:lnTo>
                  <a:lnTo>
                    <a:pt x="198" y="568"/>
                  </a:lnTo>
                  <a:lnTo>
                    <a:pt x="196" y="570"/>
                  </a:lnTo>
                  <a:lnTo>
                    <a:pt x="195" y="573"/>
                  </a:lnTo>
                  <a:lnTo>
                    <a:pt x="191" y="574"/>
                  </a:lnTo>
                  <a:lnTo>
                    <a:pt x="193" y="576"/>
                  </a:lnTo>
                  <a:lnTo>
                    <a:pt x="196" y="576"/>
                  </a:lnTo>
                  <a:lnTo>
                    <a:pt x="200" y="576"/>
                  </a:lnTo>
                  <a:lnTo>
                    <a:pt x="200" y="579"/>
                  </a:lnTo>
                  <a:lnTo>
                    <a:pt x="203" y="581"/>
                  </a:lnTo>
                  <a:lnTo>
                    <a:pt x="203" y="585"/>
                  </a:lnTo>
                  <a:lnTo>
                    <a:pt x="202" y="588"/>
                  </a:lnTo>
                  <a:lnTo>
                    <a:pt x="204" y="590"/>
                  </a:lnTo>
                  <a:lnTo>
                    <a:pt x="205" y="593"/>
                  </a:lnTo>
                  <a:lnTo>
                    <a:pt x="207" y="599"/>
                  </a:lnTo>
                  <a:lnTo>
                    <a:pt x="208" y="605"/>
                  </a:lnTo>
                  <a:lnTo>
                    <a:pt x="210" y="608"/>
                  </a:lnTo>
                  <a:lnTo>
                    <a:pt x="212" y="612"/>
                  </a:lnTo>
                  <a:lnTo>
                    <a:pt x="212" y="615"/>
                  </a:lnTo>
                  <a:lnTo>
                    <a:pt x="211" y="618"/>
                  </a:lnTo>
                  <a:lnTo>
                    <a:pt x="209" y="622"/>
                  </a:lnTo>
                  <a:lnTo>
                    <a:pt x="208" y="625"/>
                  </a:lnTo>
                  <a:lnTo>
                    <a:pt x="205" y="627"/>
                  </a:lnTo>
                  <a:lnTo>
                    <a:pt x="202" y="631"/>
                  </a:lnTo>
                  <a:lnTo>
                    <a:pt x="200" y="634"/>
                  </a:lnTo>
                  <a:lnTo>
                    <a:pt x="198" y="637"/>
                  </a:lnTo>
                  <a:lnTo>
                    <a:pt x="199" y="642"/>
                  </a:lnTo>
                  <a:lnTo>
                    <a:pt x="200" y="647"/>
                  </a:lnTo>
                  <a:lnTo>
                    <a:pt x="204" y="652"/>
                  </a:lnTo>
                  <a:lnTo>
                    <a:pt x="203" y="661"/>
                  </a:lnTo>
                  <a:lnTo>
                    <a:pt x="203" y="665"/>
                  </a:lnTo>
                  <a:lnTo>
                    <a:pt x="205" y="669"/>
                  </a:lnTo>
                  <a:lnTo>
                    <a:pt x="202" y="671"/>
                  </a:lnTo>
                  <a:lnTo>
                    <a:pt x="202" y="674"/>
                  </a:lnTo>
                  <a:lnTo>
                    <a:pt x="202" y="678"/>
                  </a:lnTo>
                  <a:lnTo>
                    <a:pt x="201" y="683"/>
                  </a:lnTo>
                  <a:lnTo>
                    <a:pt x="202" y="686"/>
                  </a:lnTo>
                  <a:lnTo>
                    <a:pt x="201" y="690"/>
                  </a:lnTo>
                  <a:lnTo>
                    <a:pt x="200" y="692"/>
                  </a:lnTo>
                  <a:lnTo>
                    <a:pt x="200" y="699"/>
                  </a:lnTo>
                  <a:lnTo>
                    <a:pt x="198" y="707"/>
                  </a:lnTo>
                  <a:lnTo>
                    <a:pt x="199" y="712"/>
                  </a:lnTo>
                  <a:lnTo>
                    <a:pt x="197" y="716"/>
                  </a:lnTo>
                  <a:lnTo>
                    <a:pt x="196" y="720"/>
                  </a:lnTo>
                  <a:lnTo>
                    <a:pt x="196" y="723"/>
                  </a:lnTo>
                  <a:lnTo>
                    <a:pt x="199" y="726"/>
                  </a:lnTo>
                  <a:lnTo>
                    <a:pt x="195" y="729"/>
                  </a:lnTo>
                  <a:lnTo>
                    <a:pt x="194" y="731"/>
                  </a:lnTo>
                  <a:lnTo>
                    <a:pt x="194" y="735"/>
                  </a:lnTo>
                  <a:lnTo>
                    <a:pt x="194" y="739"/>
                  </a:lnTo>
                  <a:lnTo>
                    <a:pt x="191" y="742"/>
                  </a:lnTo>
                  <a:lnTo>
                    <a:pt x="187" y="741"/>
                  </a:lnTo>
                  <a:lnTo>
                    <a:pt x="185" y="742"/>
                  </a:lnTo>
                  <a:lnTo>
                    <a:pt x="181" y="738"/>
                  </a:lnTo>
                  <a:lnTo>
                    <a:pt x="178" y="736"/>
                  </a:lnTo>
                  <a:lnTo>
                    <a:pt x="175" y="734"/>
                  </a:lnTo>
                  <a:lnTo>
                    <a:pt x="171" y="732"/>
                  </a:lnTo>
                  <a:lnTo>
                    <a:pt x="169" y="732"/>
                  </a:lnTo>
                  <a:lnTo>
                    <a:pt x="165" y="736"/>
                  </a:lnTo>
                  <a:lnTo>
                    <a:pt x="161" y="734"/>
                  </a:lnTo>
                  <a:lnTo>
                    <a:pt x="158" y="730"/>
                  </a:lnTo>
                  <a:lnTo>
                    <a:pt x="154" y="728"/>
                  </a:lnTo>
                  <a:lnTo>
                    <a:pt x="154" y="731"/>
                  </a:lnTo>
                  <a:lnTo>
                    <a:pt x="158" y="732"/>
                  </a:lnTo>
                  <a:lnTo>
                    <a:pt x="156" y="737"/>
                  </a:lnTo>
                  <a:lnTo>
                    <a:pt x="153" y="740"/>
                  </a:lnTo>
                  <a:lnTo>
                    <a:pt x="153" y="744"/>
                  </a:lnTo>
                  <a:lnTo>
                    <a:pt x="154" y="747"/>
                  </a:lnTo>
                  <a:lnTo>
                    <a:pt x="154" y="751"/>
                  </a:lnTo>
                  <a:lnTo>
                    <a:pt x="153" y="754"/>
                  </a:lnTo>
                  <a:lnTo>
                    <a:pt x="144" y="762"/>
                  </a:lnTo>
                  <a:lnTo>
                    <a:pt x="141" y="765"/>
                  </a:lnTo>
                  <a:lnTo>
                    <a:pt x="138" y="762"/>
                  </a:lnTo>
                  <a:lnTo>
                    <a:pt x="135" y="761"/>
                  </a:lnTo>
                  <a:lnTo>
                    <a:pt x="131" y="759"/>
                  </a:lnTo>
                  <a:lnTo>
                    <a:pt x="128" y="761"/>
                  </a:lnTo>
                  <a:lnTo>
                    <a:pt x="127" y="765"/>
                  </a:lnTo>
                  <a:lnTo>
                    <a:pt x="124" y="763"/>
                  </a:lnTo>
                  <a:lnTo>
                    <a:pt x="124" y="758"/>
                  </a:lnTo>
                  <a:lnTo>
                    <a:pt x="121" y="752"/>
                  </a:lnTo>
                  <a:lnTo>
                    <a:pt x="120" y="748"/>
                  </a:lnTo>
                  <a:lnTo>
                    <a:pt x="117" y="747"/>
                  </a:lnTo>
                  <a:lnTo>
                    <a:pt x="116" y="745"/>
                  </a:lnTo>
                  <a:lnTo>
                    <a:pt x="113" y="742"/>
                  </a:lnTo>
                  <a:lnTo>
                    <a:pt x="112" y="739"/>
                  </a:lnTo>
                  <a:lnTo>
                    <a:pt x="109" y="736"/>
                  </a:lnTo>
                  <a:lnTo>
                    <a:pt x="107" y="731"/>
                  </a:lnTo>
                  <a:lnTo>
                    <a:pt x="111" y="726"/>
                  </a:lnTo>
                  <a:lnTo>
                    <a:pt x="110" y="722"/>
                  </a:lnTo>
                  <a:lnTo>
                    <a:pt x="108" y="719"/>
                  </a:lnTo>
                  <a:lnTo>
                    <a:pt x="108" y="716"/>
                  </a:lnTo>
                  <a:lnTo>
                    <a:pt x="110" y="713"/>
                  </a:lnTo>
                  <a:lnTo>
                    <a:pt x="109" y="710"/>
                  </a:lnTo>
                  <a:lnTo>
                    <a:pt x="111" y="705"/>
                  </a:lnTo>
                  <a:lnTo>
                    <a:pt x="113" y="701"/>
                  </a:lnTo>
                  <a:lnTo>
                    <a:pt x="114" y="697"/>
                  </a:lnTo>
                  <a:lnTo>
                    <a:pt x="113" y="692"/>
                  </a:lnTo>
                  <a:lnTo>
                    <a:pt x="113" y="688"/>
                  </a:lnTo>
                  <a:lnTo>
                    <a:pt x="113" y="683"/>
                  </a:lnTo>
                  <a:lnTo>
                    <a:pt x="117" y="687"/>
                  </a:lnTo>
                  <a:lnTo>
                    <a:pt x="120" y="688"/>
                  </a:lnTo>
                  <a:lnTo>
                    <a:pt x="117" y="685"/>
                  </a:lnTo>
                  <a:lnTo>
                    <a:pt x="119" y="682"/>
                  </a:lnTo>
                  <a:lnTo>
                    <a:pt x="120" y="678"/>
                  </a:lnTo>
                  <a:lnTo>
                    <a:pt x="121" y="674"/>
                  </a:lnTo>
                  <a:lnTo>
                    <a:pt x="119" y="670"/>
                  </a:lnTo>
                  <a:lnTo>
                    <a:pt x="115" y="668"/>
                  </a:lnTo>
                  <a:lnTo>
                    <a:pt x="113" y="671"/>
                  </a:lnTo>
                  <a:lnTo>
                    <a:pt x="110" y="669"/>
                  </a:lnTo>
                  <a:lnTo>
                    <a:pt x="110" y="667"/>
                  </a:lnTo>
                  <a:lnTo>
                    <a:pt x="110" y="662"/>
                  </a:lnTo>
                  <a:lnTo>
                    <a:pt x="111" y="659"/>
                  </a:lnTo>
                  <a:lnTo>
                    <a:pt x="109" y="656"/>
                  </a:lnTo>
                  <a:lnTo>
                    <a:pt x="113" y="655"/>
                  </a:lnTo>
                  <a:lnTo>
                    <a:pt x="116" y="653"/>
                  </a:lnTo>
                  <a:lnTo>
                    <a:pt x="117" y="650"/>
                  </a:lnTo>
                  <a:lnTo>
                    <a:pt x="115" y="646"/>
                  </a:lnTo>
                  <a:lnTo>
                    <a:pt x="115" y="640"/>
                  </a:lnTo>
                  <a:lnTo>
                    <a:pt x="116" y="636"/>
                  </a:lnTo>
                  <a:lnTo>
                    <a:pt x="116" y="633"/>
                  </a:lnTo>
                  <a:lnTo>
                    <a:pt x="114" y="629"/>
                  </a:lnTo>
                  <a:lnTo>
                    <a:pt x="110" y="627"/>
                  </a:lnTo>
                  <a:lnTo>
                    <a:pt x="111" y="621"/>
                  </a:lnTo>
                  <a:lnTo>
                    <a:pt x="110" y="617"/>
                  </a:lnTo>
                  <a:lnTo>
                    <a:pt x="108" y="614"/>
                  </a:lnTo>
                  <a:lnTo>
                    <a:pt x="106" y="611"/>
                  </a:lnTo>
                  <a:lnTo>
                    <a:pt x="105" y="607"/>
                  </a:lnTo>
                  <a:lnTo>
                    <a:pt x="102" y="605"/>
                  </a:lnTo>
                  <a:lnTo>
                    <a:pt x="98" y="607"/>
                  </a:lnTo>
                  <a:lnTo>
                    <a:pt x="98" y="603"/>
                  </a:lnTo>
                  <a:lnTo>
                    <a:pt x="96" y="604"/>
                  </a:lnTo>
                  <a:lnTo>
                    <a:pt x="94" y="608"/>
                  </a:lnTo>
                  <a:lnTo>
                    <a:pt x="93" y="605"/>
                  </a:lnTo>
                  <a:lnTo>
                    <a:pt x="93" y="602"/>
                  </a:lnTo>
                  <a:lnTo>
                    <a:pt x="96" y="599"/>
                  </a:lnTo>
                  <a:lnTo>
                    <a:pt x="97" y="597"/>
                  </a:lnTo>
                  <a:lnTo>
                    <a:pt x="94" y="592"/>
                  </a:lnTo>
                  <a:lnTo>
                    <a:pt x="98" y="579"/>
                  </a:lnTo>
                  <a:lnTo>
                    <a:pt x="99" y="576"/>
                  </a:lnTo>
                  <a:lnTo>
                    <a:pt x="96" y="573"/>
                  </a:lnTo>
                  <a:lnTo>
                    <a:pt x="97" y="570"/>
                  </a:lnTo>
                  <a:lnTo>
                    <a:pt x="100" y="570"/>
                  </a:lnTo>
                  <a:lnTo>
                    <a:pt x="100" y="574"/>
                  </a:lnTo>
                  <a:lnTo>
                    <a:pt x="103" y="579"/>
                  </a:lnTo>
                  <a:lnTo>
                    <a:pt x="113" y="582"/>
                  </a:lnTo>
                  <a:lnTo>
                    <a:pt x="117" y="583"/>
                  </a:lnTo>
                  <a:lnTo>
                    <a:pt x="120" y="583"/>
                  </a:lnTo>
                  <a:lnTo>
                    <a:pt x="126" y="581"/>
                  </a:lnTo>
                  <a:lnTo>
                    <a:pt x="128" y="578"/>
                  </a:lnTo>
                  <a:lnTo>
                    <a:pt x="133" y="575"/>
                  </a:lnTo>
                  <a:lnTo>
                    <a:pt x="136" y="575"/>
                  </a:lnTo>
                  <a:lnTo>
                    <a:pt x="141" y="573"/>
                  </a:lnTo>
                  <a:lnTo>
                    <a:pt x="145" y="567"/>
                  </a:lnTo>
                  <a:lnTo>
                    <a:pt x="148" y="565"/>
                  </a:lnTo>
                  <a:lnTo>
                    <a:pt x="150" y="562"/>
                  </a:lnTo>
                  <a:lnTo>
                    <a:pt x="153" y="559"/>
                  </a:lnTo>
                  <a:lnTo>
                    <a:pt x="157" y="556"/>
                  </a:lnTo>
                  <a:lnTo>
                    <a:pt x="162" y="556"/>
                  </a:lnTo>
                  <a:lnTo>
                    <a:pt x="165" y="553"/>
                  </a:lnTo>
                  <a:lnTo>
                    <a:pt x="167" y="547"/>
                  </a:lnTo>
                  <a:lnTo>
                    <a:pt x="170" y="545"/>
                  </a:lnTo>
                  <a:close/>
                  <a:moveTo>
                    <a:pt x="364" y="0"/>
                  </a:moveTo>
                  <a:lnTo>
                    <a:pt x="366" y="3"/>
                  </a:lnTo>
                  <a:lnTo>
                    <a:pt x="360" y="7"/>
                  </a:lnTo>
                  <a:lnTo>
                    <a:pt x="361" y="11"/>
                  </a:lnTo>
                  <a:lnTo>
                    <a:pt x="361" y="14"/>
                  </a:lnTo>
                  <a:lnTo>
                    <a:pt x="361" y="17"/>
                  </a:lnTo>
                  <a:lnTo>
                    <a:pt x="364" y="18"/>
                  </a:lnTo>
                  <a:lnTo>
                    <a:pt x="366" y="20"/>
                  </a:lnTo>
                  <a:lnTo>
                    <a:pt x="369" y="20"/>
                  </a:lnTo>
                  <a:lnTo>
                    <a:pt x="371" y="22"/>
                  </a:lnTo>
                  <a:lnTo>
                    <a:pt x="370" y="26"/>
                  </a:lnTo>
                  <a:lnTo>
                    <a:pt x="371" y="28"/>
                  </a:lnTo>
                  <a:lnTo>
                    <a:pt x="375" y="29"/>
                  </a:lnTo>
                  <a:lnTo>
                    <a:pt x="377" y="32"/>
                  </a:lnTo>
                  <a:lnTo>
                    <a:pt x="378" y="34"/>
                  </a:lnTo>
                  <a:lnTo>
                    <a:pt x="383" y="37"/>
                  </a:lnTo>
                  <a:lnTo>
                    <a:pt x="386" y="38"/>
                  </a:lnTo>
                  <a:lnTo>
                    <a:pt x="389" y="39"/>
                  </a:lnTo>
                  <a:lnTo>
                    <a:pt x="394" y="39"/>
                  </a:lnTo>
                  <a:lnTo>
                    <a:pt x="397" y="39"/>
                  </a:lnTo>
                  <a:lnTo>
                    <a:pt x="399" y="40"/>
                  </a:lnTo>
                  <a:lnTo>
                    <a:pt x="404" y="41"/>
                  </a:lnTo>
                  <a:lnTo>
                    <a:pt x="407" y="43"/>
                  </a:lnTo>
                  <a:lnTo>
                    <a:pt x="422" y="43"/>
                  </a:lnTo>
                  <a:lnTo>
                    <a:pt x="428" y="44"/>
                  </a:lnTo>
                  <a:lnTo>
                    <a:pt x="432" y="47"/>
                  </a:lnTo>
                  <a:lnTo>
                    <a:pt x="436" y="47"/>
                  </a:lnTo>
                  <a:lnTo>
                    <a:pt x="442" y="45"/>
                  </a:lnTo>
                  <a:lnTo>
                    <a:pt x="446" y="46"/>
                  </a:lnTo>
                  <a:lnTo>
                    <a:pt x="450" y="45"/>
                  </a:lnTo>
                  <a:lnTo>
                    <a:pt x="454" y="47"/>
                  </a:lnTo>
                  <a:lnTo>
                    <a:pt x="462" y="50"/>
                  </a:lnTo>
                  <a:lnTo>
                    <a:pt x="463" y="54"/>
                  </a:lnTo>
                  <a:lnTo>
                    <a:pt x="460" y="57"/>
                  </a:lnTo>
                  <a:lnTo>
                    <a:pt x="456" y="58"/>
                  </a:lnTo>
                  <a:lnTo>
                    <a:pt x="454" y="62"/>
                  </a:lnTo>
                  <a:lnTo>
                    <a:pt x="451" y="64"/>
                  </a:lnTo>
                  <a:lnTo>
                    <a:pt x="449" y="65"/>
                  </a:lnTo>
                  <a:lnTo>
                    <a:pt x="446" y="68"/>
                  </a:lnTo>
                  <a:lnTo>
                    <a:pt x="446" y="70"/>
                  </a:lnTo>
                  <a:lnTo>
                    <a:pt x="444" y="76"/>
                  </a:lnTo>
                  <a:lnTo>
                    <a:pt x="447" y="79"/>
                  </a:lnTo>
                  <a:lnTo>
                    <a:pt x="450" y="77"/>
                  </a:lnTo>
                  <a:lnTo>
                    <a:pt x="453" y="78"/>
                  </a:lnTo>
                  <a:lnTo>
                    <a:pt x="456" y="81"/>
                  </a:lnTo>
                  <a:lnTo>
                    <a:pt x="460" y="81"/>
                  </a:lnTo>
                  <a:lnTo>
                    <a:pt x="460" y="86"/>
                  </a:lnTo>
                  <a:lnTo>
                    <a:pt x="453" y="92"/>
                  </a:lnTo>
                  <a:lnTo>
                    <a:pt x="453" y="95"/>
                  </a:lnTo>
                  <a:lnTo>
                    <a:pt x="452" y="98"/>
                  </a:lnTo>
                  <a:lnTo>
                    <a:pt x="454" y="101"/>
                  </a:lnTo>
                  <a:lnTo>
                    <a:pt x="458" y="99"/>
                  </a:lnTo>
                  <a:lnTo>
                    <a:pt x="461" y="101"/>
                  </a:lnTo>
                  <a:lnTo>
                    <a:pt x="461" y="104"/>
                  </a:lnTo>
                  <a:lnTo>
                    <a:pt x="458" y="110"/>
                  </a:lnTo>
                  <a:lnTo>
                    <a:pt x="458" y="113"/>
                  </a:lnTo>
                  <a:lnTo>
                    <a:pt x="461" y="116"/>
                  </a:lnTo>
                  <a:lnTo>
                    <a:pt x="465" y="116"/>
                  </a:lnTo>
                  <a:lnTo>
                    <a:pt x="468" y="120"/>
                  </a:lnTo>
                  <a:lnTo>
                    <a:pt x="472" y="122"/>
                  </a:lnTo>
                  <a:lnTo>
                    <a:pt x="478" y="130"/>
                  </a:lnTo>
                  <a:lnTo>
                    <a:pt x="480" y="131"/>
                  </a:lnTo>
                  <a:lnTo>
                    <a:pt x="478" y="136"/>
                  </a:lnTo>
                  <a:lnTo>
                    <a:pt x="475" y="136"/>
                  </a:lnTo>
                  <a:lnTo>
                    <a:pt x="472" y="135"/>
                  </a:lnTo>
                  <a:lnTo>
                    <a:pt x="469" y="136"/>
                  </a:lnTo>
                  <a:lnTo>
                    <a:pt x="472" y="134"/>
                  </a:lnTo>
                  <a:lnTo>
                    <a:pt x="475" y="133"/>
                  </a:lnTo>
                  <a:lnTo>
                    <a:pt x="470" y="130"/>
                  </a:lnTo>
                  <a:lnTo>
                    <a:pt x="470" y="126"/>
                  </a:lnTo>
                  <a:lnTo>
                    <a:pt x="464" y="120"/>
                  </a:lnTo>
                  <a:lnTo>
                    <a:pt x="459" y="117"/>
                  </a:lnTo>
                  <a:lnTo>
                    <a:pt x="457" y="119"/>
                  </a:lnTo>
                  <a:lnTo>
                    <a:pt x="456" y="123"/>
                  </a:lnTo>
                  <a:lnTo>
                    <a:pt x="453" y="125"/>
                  </a:lnTo>
                  <a:lnTo>
                    <a:pt x="450" y="128"/>
                  </a:lnTo>
                  <a:lnTo>
                    <a:pt x="447" y="128"/>
                  </a:lnTo>
                  <a:lnTo>
                    <a:pt x="450" y="127"/>
                  </a:lnTo>
                  <a:lnTo>
                    <a:pt x="447" y="124"/>
                  </a:lnTo>
                  <a:lnTo>
                    <a:pt x="438" y="122"/>
                  </a:lnTo>
                  <a:lnTo>
                    <a:pt x="435" y="120"/>
                  </a:lnTo>
                  <a:lnTo>
                    <a:pt x="432" y="121"/>
                  </a:lnTo>
                  <a:lnTo>
                    <a:pt x="430" y="121"/>
                  </a:lnTo>
                  <a:lnTo>
                    <a:pt x="429" y="124"/>
                  </a:lnTo>
                  <a:lnTo>
                    <a:pt x="427" y="125"/>
                  </a:lnTo>
                  <a:lnTo>
                    <a:pt x="426" y="128"/>
                  </a:lnTo>
                  <a:lnTo>
                    <a:pt x="429" y="128"/>
                  </a:lnTo>
                  <a:lnTo>
                    <a:pt x="431" y="127"/>
                  </a:lnTo>
                  <a:lnTo>
                    <a:pt x="428" y="130"/>
                  </a:lnTo>
                  <a:lnTo>
                    <a:pt x="426" y="133"/>
                  </a:lnTo>
                  <a:lnTo>
                    <a:pt x="420" y="134"/>
                  </a:lnTo>
                  <a:lnTo>
                    <a:pt x="418" y="135"/>
                  </a:lnTo>
                  <a:lnTo>
                    <a:pt x="408" y="142"/>
                  </a:lnTo>
                  <a:lnTo>
                    <a:pt x="397" y="147"/>
                  </a:lnTo>
                  <a:lnTo>
                    <a:pt x="391" y="150"/>
                  </a:lnTo>
                  <a:lnTo>
                    <a:pt x="387" y="152"/>
                  </a:lnTo>
                  <a:lnTo>
                    <a:pt x="384" y="153"/>
                  </a:lnTo>
                  <a:lnTo>
                    <a:pt x="386" y="150"/>
                  </a:lnTo>
                  <a:lnTo>
                    <a:pt x="388" y="149"/>
                  </a:lnTo>
                  <a:lnTo>
                    <a:pt x="391" y="148"/>
                  </a:lnTo>
                  <a:lnTo>
                    <a:pt x="392" y="145"/>
                  </a:lnTo>
                  <a:lnTo>
                    <a:pt x="394" y="144"/>
                  </a:lnTo>
                  <a:lnTo>
                    <a:pt x="392" y="144"/>
                  </a:lnTo>
                  <a:lnTo>
                    <a:pt x="390" y="141"/>
                  </a:lnTo>
                  <a:lnTo>
                    <a:pt x="387" y="143"/>
                  </a:lnTo>
                  <a:lnTo>
                    <a:pt x="387" y="146"/>
                  </a:lnTo>
                  <a:lnTo>
                    <a:pt x="384" y="146"/>
                  </a:lnTo>
                  <a:lnTo>
                    <a:pt x="380" y="147"/>
                  </a:lnTo>
                  <a:lnTo>
                    <a:pt x="377" y="149"/>
                  </a:lnTo>
                  <a:lnTo>
                    <a:pt x="375" y="151"/>
                  </a:lnTo>
                  <a:lnTo>
                    <a:pt x="374" y="154"/>
                  </a:lnTo>
                  <a:lnTo>
                    <a:pt x="374" y="157"/>
                  </a:lnTo>
                  <a:lnTo>
                    <a:pt x="374" y="161"/>
                  </a:lnTo>
                  <a:lnTo>
                    <a:pt x="371" y="164"/>
                  </a:lnTo>
                  <a:lnTo>
                    <a:pt x="368" y="165"/>
                  </a:lnTo>
                  <a:lnTo>
                    <a:pt x="368" y="170"/>
                  </a:lnTo>
                  <a:lnTo>
                    <a:pt x="370" y="166"/>
                  </a:lnTo>
                  <a:lnTo>
                    <a:pt x="371" y="169"/>
                  </a:lnTo>
                  <a:lnTo>
                    <a:pt x="371" y="172"/>
                  </a:lnTo>
                  <a:lnTo>
                    <a:pt x="373" y="175"/>
                  </a:lnTo>
                  <a:lnTo>
                    <a:pt x="375" y="176"/>
                  </a:lnTo>
                  <a:lnTo>
                    <a:pt x="377" y="173"/>
                  </a:lnTo>
                  <a:lnTo>
                    <a:pt x="379" y="176"/>
                  </a:lnTo>
                  <a:lnTo>
                    <a:pt x="379" y="181"/>
                  </a:lnTo>
                  <a:lnTo>
                    <a:pt x="380" y="184"/>
                  </a:lnTo>
                  <a:lnTo>
                    <a:pt x="381" y="188"/>
                  </a:lnTo>
                  <a:lnTo>
                    <a:pt x="383" y="192"/>
                  </a:lnTo>
                  <a:lnTo>
                    <a:pt x="383" y="188"/>
                  </a:lnTo>
                  <a:lnTo>
                    <a:pt x="385" y="190"/>
                  </a:lnTo>
                  <a:lnTo>
                    <a:pt x="388" y="193"/>
                  </a:lnTo>
                  <a:lnTo>
                    <a:pt x="390" y="196"/>
                  </a:lnTo>
                  <a:lnTo>
                    <a:pt x="393" y="196"/>
                  </a:lnTo>
                  <a:lnTo>
                    <a:pt x="393" y="199"/>
                  </a:lnTo>
                  <a:lnTo>
                    <a:pt x="391" y="201"/>
                  </a:lnTo>
                  <a:lnTo>
                    <a:pt x="391" y="205"/>
                  </a:lnTo>
                  <a:lnTo>
                    <a:pt x="390" y="208"/>
                  </a:lnTo>
                  <a:lnTo>
                    <a:pt x="387" y="208"/>
                  </a:lnTo>
                  <a:lnTo>
                    <a:pt x="388" y="206"/>
                  </a:lnTo>
                  <a:lnTo>
                    <a:pt x="385" y="205"/>
                  </a:lnTo>
                  <a:lnTo>
                    <a:pt x="386" y="208"/>
                  </a:lnTo>
                  <a:lnTo>
                    <a:pt x="386" y="211"/>
                  </a:lnTo>
                  <a:lnTo>
                    <a:pt x="384" y="214"/>
                  </a:lnTo>
                  <a:lnTo>
                    <a:pt x="380" y="210"/>
                  </a:lnTo>
                  <a:lnTo>
                    <a:pt x="376" y="211"/>
                  </a:lnTo>
                  <a:lnTo>
                    <a:pt x="376" y="218"/>
                  </a:lnTo>
                  <a:lnTo>
                    <a:pt x="375" y="221"/>
                  </a:lnTo>
                  <a:lnTo>
                    <a:pt x="376" y="225"/>
                  </a:lnTo>
                  <a:lnTo>
                    <a:pt x="377" y="228"/>
                  </a:lnTo>
                  <a:lnTo>
                    <a:pt x="378" y="231"/>
                  </a:lnTo>
                  <a:lnTo>
                    <a:pt x="378" y="238"/>
                  </a:lnTo>
                  <a:lnTo>
                    <a:pt x="379" y="242"/>
                  </a:lnTo>
                  <a:lnTo>
                    <a:pt x="381" y="251"/>
                  </a:lnTo>
                  <a:lnTo>
                    <a:pt x="381" y="255"/>
                  </a:lnTo>
                  <a:lnTo>
                    <a:pt x="383" y="259"/>
                  </a:lnTo>
                  <a:lnTo>
                    <a:pt x="385" y="264"/>
                  </a:lnTo>
                  <a:lnTo>
                    <a:pt x="388" y="269"/>
                  </a:lnTo>
                  <a:lnTo>
                    <a:pt x="391" y="272"/>
                  </a:lnTo>
                  <a:lnTo>
                    <a:pt x="395" y="276"/>
                  </a:lnTo>
                  <a:lnTo>
                    <a:pt x="397" y="278"/>
                  </a:lnTo>
                  <a:lnTo>
                    <a:pt x="403" y="284"/>
                  </a:lnTo>
                  <a:lnTo>
                    <a:pt x="407" y="287"/>
                  </a:lnTo>
                  <a:lnTo>
                    <a:pt x="411" y="289"/>
                  </a:lnTo>
                  <a:lnTo>
                    <a:pt x="414" y="289"/>
                  </a:lnTo>
                  <a:lnTo>
                    <a:pt x="418" y="292"/>
                  </a:lnTo>
                  <a:lnTo>
                    <a:pt x="423" y="294"/>
                  </a:lnTo>
                  <a:lnTo>
                    <a:pt x="446" y="312"/>
                  </a:lnTo>
                  <a:lnTo>
                    <a:pt x="454" y="317"/>
                  </a:lnTo>
                  <a:lnTo>
                    <a:pt x="460" y="319"/>
                  </a:lnTo>
                  <a:lnTo>
                    <a:pt x="462" y="319"/>
                  </a:lnTo>
                  <a:lnTo>
                    <a:pt x="464" y="318"/>
                  </a:lnTo>
                  <a:lnTo>
                    <a:pt x="467" y="321"/>
                  </a:lnTo>
                  <a:lnTo>
                    <a:pt x="470" y="324"/>
                  </a:lnTo>
                  <a:lnTo>
                    <a:pt x="471" y="328"/>
                  </a:lnTo>
                  <a:lnTo>
                    <a:pt x="482" y="352"/>
                  </a:lnTo>
                  <a:lnTo>
                    <a:pt x="484" y="357"/>
                  </a:lnTo>
                  <a:lnTo>
                    <a:pt x="488" y="364"/>
                  </a:lnTo>
                  <a:lnTo>
                    <a:pt x="489" y="367"/>
                  </a:lnTo>
                  <a:lnTo>
                    <a:pt x="490" y="375"/>
                  </a:lnTo>
                  <a:lnTo>
                    <a:pt x="497" y="395"/>
                  </a:lnTo>
                  <a:lnTo>
                    <a:pt x="499" y="401"/>
                  </a:lnTo>
                  <a:lnTo>
                    <a:pt x="501" y="404"/>
                  </a:lnTo>
                  <a:lnTo>
                    <a:pt x="505" y="410"/>
                  </a:lnTo>
                  <a:lnTo>
                    <a:pt x="517" y="424"/>
                  </a:lnTo>
                  <a:lnTo>
                    <a:pt x="522" y="427"/>
                  </a:lnTo>
                  <a:lnTo>
                    <a:pt x="528" y="430"/>
                  </a:lnTo>
                  <a:lnTo>
                    <a:pt x="533" y="437"/>
                  </a:lnTo>
                  <a:lnTo>
                    <a:pt x="542" y="445"/>
                  </a:lnTo>
                  <a:lnTo>
                    <a:pt x="549" y="448"/>
                  </a:lnTo>
                  <a:lnTo>
                    <a:pt x="552" y="448"/>
                  </a:lnTo>
                  <a:lnTo>
                    <a:pt x="554" y="454"/>
                  </a:lnTo>
                  <a:lnTo>
                    <a:pt x="555" y="457"/>
                  </a:lnTo>
                  <a:lnTo>
                    <a:pt x="558" y="458"/>
                  </a:lnTo>
                  <a:lnTo>
                    <a:pt x="562" y="461"/>
                  </a:lnTo>
                  <a:lnTo>
                    <a:pt x="570" y="463"/>
                  </a:lnTo>
                  <a:lnTo>
                    <a:pt x="573" y="464"/>
                  </a:lnTo>
                  <a:lnTo>
                    <a:pt x="576" y="467"/>
                  </a:lnTo>
                  <a:lnTo>
                    <a:pt x="581" y="469"/>
                  </a:lnTo>
                  <a:lnTo>
                    <a:pt x="585" y="470"/>
                  </a:lnTo>
                  <a:lnTo>
                    <a:pt x="594" y="470"/>
                  </a:lnTo>
                  <a:lnTo>
                    <a:pt x="603" y="471"/>
                  </a:lnTo>
                  <a:lnTo>
                    <a:pt x="606" y="471"/>
                  </a:lnTo>
                  <a:lnTo>
                    <a:pt x="617" y="468"/>
                  </a:lnTo>
                  <a:lnTo>
                    <a:pt x="628" y="468"/>
                  </a:lnTo>
                  <a:lnTo>
                    <a:pt x="646" y="464"/>
                  </a:lnTo>
                  <a:lnTo>
                    <a:pt x="651" y="465"/>
                  </a:lnTo>
                  <a:lnTo>
                    <a:pt x="655" y="468"/>
                  </a:lnTo>
                  <a:lnTo>
                    <a:pt x="657" y="471"/>
                  </a:lnTo>
                  <a:lnTo>
                    <a:pt x="658" y="475"/>
                  </a:lnTo>
                  <a:lnTo>
                    <a:pt x="658" y="477"/>
                  </a:lnTo>
                  <a:lnTo>
                    <a:pt x="655" y="482"/>
                  </a:lnTo>
                  <a:lnTo>
                    <a:pt x="652" y="483"/>
                  </a:lnTo>
                  <a:lnTo>
                    <a:pt x="650" y="486"/>
                  </a:lnTo>
                  <a:lnTo>
                    <a:pt x="647" y="489"/>
                  </a:lnTo>
                  <a:lnTo>
                    <a:pt x="641" y="493"/>
                  </a:lnTo>
                  <a:lnTo>
                    <a:pt x="639" y="499"/>
                  </a:lnTo>
                  <a:lnTo>
                    <a:pt x="639" y="502"/>
                  </a:lnTo>
                  <a:lnTo>
                    <a:pt x="641" y="505"/>
                  </a:lnTo>
                  <a:lnTo>
                    <a:pt x="644" y="509"/>
                  </a:lnTo>
                  <a:lnTo>
                    <a:pt x="649" y="512"/>
                  </a:lnTo>
                  <a:lnTo>
                    <a:pt x="653" y="513"/>
                  </a:lnTo>
                  <a:lnTo>
                    <a:pt x="670" y="519"/>
                  </a:lnTo>
                  <a:lnTo>
                    <a:pt x="681" y="524"/>
                  </a:lnTo>
                  <a:lnTo>
                    <a:pt x="685" y="525"/>
                  </a:lnTo>
                  <a:lnTo>
                    <a:pt x="691" y="529"/>
                  </a:lnTo>
                  <a:lnTo>
                    <a:pt x="708" y="533"/>
                  </a:lnTo>
                  <a:lnTo>
                    <a:pt x="712" y="535"/>
                  </a:lnTo>
                  <a:lnTo>
                    <a:pt x="724" y="538"/>
                  </a:lnTo>
                  <a:lnTo>
                    <a:pt x="736" y="542"/>
                  </a:lnTo>
                  <a:lnTo>
                    <a:pt x="741" y="546"/>
                  </a:lnTo>
                  <a:lnTo>
                    <a:pt x="747" y="551"/>
                  </a:lnTo>
                  <a:lnTo>
                    <a:pt x="751" y="554"/>
                  </a:lnTo>
                  <a:lnTo>
                    <a:pt x="756" y="558"/>
                  </a:lnTo>
                  <a:lnTo>
                    <a:pt x="759" y="559"/>
                  </a:lnTo>
                  <a:lnTo>
                    <a:pt x="761" y="560"/>
                  </a:lnTo>
                  <a:lnTo>
                    <a:pt x="768" y="561"/>
                  </a:lnTo>
                  <a:lnTo>
                    <a:pt x="776" y="564"/>
                  </a:lnTo>
                  <a:lnTo>
                    <a:pt x="783" y="568"/>
                  </a:lnTo>
                  <a:lnTo>
                    <a:pt x="789" y="568"/>
                  </a:lnTo>
                  <a:lnTo>
                    <a:pt x="791" y="571"/>
                  </a:lnTo>
                  <a:lnTo>
                    <a:pt x="794" y="570"/>
                  </a:lnTo>
                  <a:lnTo>
                    <a:pt x="797" y="574"/>
                  </a:lnTo>
                  <a:lnTo>
                    <a:pt x="798" y="579"/>
                  </a:lnTo>
                  <a:lnTo>
                    <a:pt x="804" y="583"/>
                  </a:lnTo>
                  <a:lnTo>
                    <a:pt x="812" y="586"/>
                  </a:lnTo>
                  <a:lnTo>
                    <a:pt x="815" y="589"/>
                  </a:lnTo>
                  <a:lnTo>
                    <a:pt x="819" y="591"/>
                  </a:lnTo>
                  <a:lnTo>
                    <a:pt x="821" y="594"/>
                  </a:lnTo>
                  <a:lnTo>
                    <a:pt x="824" y="597"/>
                  </a:lnTo>
                  <a:lnTo>
                    <a:pt x="829" y="603"/>
                  </a:lnTo>
                  <a:lnTo>
                    <a:pt x="835" y="613"/>
                  </a:lnTo>
                  <a:lnTo>
                    <a:pt x="836" y="616"/>
                  </a:lnTo>
                  <a:lnTo>
                    <a:pt x="835" y="619"/>
                  </a:lnTo>
                  <a:lnTo>
                    <a:pt x="835" y="622"/>
                  </a:lnTo>
                  <a:lnTo>
                    <a:pt x="831" y="625"/>
                  </a:lnTo>
                  <a:lnTo>
                    <a:pt x="830" y="630"/>
                  </a:lnTo>
                  <a:lnTo>
                    <a:pt x="830" y="633"/>
                  </a:lnTo>
                  <a:lnTo>
                    <a:pt x="830" y="635"/>
                  </a:lnTo>
                  <a:lnTo>
                    <a:pt x="830" y="639"/>
                  </a:lnTo>
                  <a:lnTo>
                    <a:pt x="830" y="644"/>
                  </a:lnTo>
                  <a:lnTo>
                    <a:pt x="829" y="647"/>
                  </a:lnTo>
                  <a:lnTo>
                    <a:pt x="826" y="646"/>
                  </a:lnTo>
                  <a:lnTo>
                    <a:pt x="822" y="644"/>
                  </a:lnTo>
                  <a:lnTo>
                    <a:pt x="818" y="644"/>
                  </a:lnTo>
                  <a:lnTo>
                    <a:pt x="816" y="643"/>
                  </a:lnTo>
                  <a:lnTo>
                    <a:pt x="811" y="640"/>
                  </a:lnTo>
                  <a:lnTo>
                    <a:pt x="809" y="639"/>
                  </a:lnTo>
                  <a:lnTo>
                    <a:pt x="801" y="632"/>
                  </a:lnTo>
                  <a:lnTo>
                    <a:pt x="801" y="629"/>
                  </a:lnTo>
                  <a:lnTo>
                    <a:pt x="798" y="626"/>
                  </a:lnTo>
                  <a:lnTo>
                    <a:pt x="800" y="622"/>
                  </a:lnTo>
                  <a:lnTo>
                    <a:pt x="796" y="618"/>
                  </a:lnTo>
                  <a:lnTo>
                    <a:pt x="793" y="615"/>
                  </a:lnTo>
                  <a:lnTo>
                    <a:pt x="793" y="612"/>
                  </a:lnTo>
                  <a:lnTo>
                    <a:pt x="792" y="610"/>
                  </a:lnTo>
                  <a:lnTo>
                    <a:pt x="788" y="606"/>
                  </a:lnTo>
                  <a:lnTo>
                    <a:pt x="763" y="607"/>
                  </a:lnTo>
                  <a:lnTo>
                    <a:pt x="758" y="605"/>
                  </a:lnTo>
                  <a:lnTo>
                    <a:pt x="755" y="605"/>
                  </a:lnTo>
                  <a:lnTo>
                    <a:pt x="751" y="603"/>
                  </a:lnTo>
                  <a:lnTo>
                    <a:pt x="747" y="601"/>
                  </a:lnTo>
                  <a:lnTo>
                    <a:pt x="743" y="600"/>
                  </a:lnTo>
                  <a:lnTo>
                    <a:pt x="740" y="598"/>
                  </a:lnTo>
                  <a:lnTo>
                    <a:pt x="743" y="595"/>
                  </a:lnTo>
                  <a:lnTo>
                    <a:pt x="742" y="592"/>
                  </a:lnTo>
                  <a:lnTo>
                    <a:pt x="747" y="592"/>
                  </a:lnTo>
                  <a:lnTo>
                    <a:pt x="743" y="589"/>
                  </a:lnTo>
                  <a:lnTo>
                    <a:pt x="740" y="591"/>
                  </a:lnTo>
                  <a:lnTo>
                    <a:pt x="738" y="590"/>
                  </a:lnTo>
                  <a:lnTo>
                    <a:pt x="734" y="589"/>
                  </a:lnTo>
                  <a:lnTo>
                    <a:pt x="728" y="589"/>
                  </a:lnTo>
                  <a:lnTo>
                    <a:pt x="723" y="592"/>
                  </a:lnTo>
                  <a:lnTo>
                    <a:pt x="719" y="598"/>
                  </a:lnTo>
                  <a:lnTo>
                    <a:pt x="711" y="612"/>
                  </a:lnTo>
                  <a:lnTo>
                    <a:pt x="710" y="615"/>
                  </a:lnTo>
                  <a:lnTo>
                    <a:pt x="708" y="620"/>
                  </a:lnTo>
                  <a:lnTo>
                    <a:pt x="705" y="627"/>
                  </a:lnTo>
                  <a:lnTo>
                    <a:pt x="701" y="630"/>
                  </a:lnTo>
                  <a:lnTo>
                    <a:pt x="700" y="636"/>
                  </a:lnTo>
                  <a:lnTo>
                    <a:pt x="701" y="641"/>
                  </a:lnTo>
                  <a:lnTo>
                    <a:pt x="703" y="643"/>
                  </a:lnTo>
                  <a:lnTo>
                    <a:pt x="700" y="648"/>
                  </a:lnTo>
                  <a:lnTo>
                    <a:pt x="697" y="651"/>
                  </a:lnTo>
                  <a:lnTo>
                    <a:pt x="695" y="656"/>
                  </a:lnTo>
                  <a:lnTo>
                    <a:pt x="694" y="659"/>
                  </a:lnTo>
                  <a:lnTo>
                    <a:pt x="694" y="662"/>
                  </a:lnTo>
                  <a:lnTo>
                    <a:pt x="695" y="665"/>
                  </a:lnTo>
                  <a:lnTo>
                    <a:pt x="697" y="668"/>
                  </a:lnTo>
                  <a:lnTo>
                    <a:pt x="699" y="673"/>
                  </a:lnTo>
                  <a:lnTo>
                    <a:pt x="702" y="675"/>
                  </a:lnTo>
                  <a:lnTo>
                    <a:pt x="714" y="675"/>
                  </a:lnTo>
                  <a:lnTo>
                    <a:pt x="717" y="676"/>
                  </a:lnTo>
                  <a:lnTo>
                    <a:pt x="720" y="680"/>
                  </a:lnTo>
                  <a:lnTo>
                    <a:pt x="725" y="682"/>
                  </a:lnTo>
                  <a:lnTo>
                    <a:pt x="729" y="685"/>
                  </a:lnTo>
                  <a:lnTo>
                    <a:pt x="732" y="685"/>
                  </a:lnTo>
                  <a:lnTo>
                    <a:pt x="736" y="688"/>
                  </a:lnTo>
                  <a:lnTo>
                    <a:pt x="740" y="691"/>
                  </a:lnTo>
                  <a:lnTo>
                    <a:pt x="743" y="692"/>
                  </a:lnTo>
                  <a:lnTo>
                    <a:pt x="743" y="698"/>
                  </a:lnTo>
                  <a:lnTo>
                    <a:pt x="743" y="703"/>
                  </a:lnTo>
                  <a:lnTo>
                    <a:pt x="744" y="707"/>
                  </a:lnTo>
                  <a:lnTo>
                    <a:pt x="746" y="710"/>
                  </a:lnTo>
                  <a:lnTo>
                    <a:pt x="746" y="713"/>
                  </a:lnTo>
                  <a:lnTo>
                    <a:pt x="745" y="718"/>
                  </a:lnTo>
                  <a:lnTo>
                    <a:pt x="745" y="721"/>
                  </a:lnTo>
                  <a:lnTo>
                    <a:pt x="747" y="724"/>
                  </a:lnTo>
                  <a:lnTo>
                    <a:pt x="751" y="726"/>
                  </a:lnTo>
                  <a:lnTo>
                    <a:pt x="750" y="732"/>
                  </a:lnTo>
                  <a:lnTo>
                    <a:pt x="748" y="736"/>
                  </a:lnTo>
                  <a:lnTo>
                    <a:pt x="745" y="739"/>
                  </a:lnTo>
                  <a:lnTo>
                    <a:pt x="741" y="738"/>
                  </a:lnTo>
                  <a:lnTo>
                    <a:pt x="737" y="737"/>
                  </a:lnTo>
                  <a:lnTo>
                    <a:pt x="733" y="737"/>
                  </a:lnTo>
                  <a:lnTo>
                    <a:pt x="725" y="739"/>
                  </a:lnTo>
                  <a:lnTo>
                    <a:pt x="717" y="744"/>
                  </a:lnTo>
                  <a:lnTo>
                    <a:pt x="715" y="746"/>
                  </a:lnTo>
                  <a:lnTo>
                    <a:pt x="709" y="750"/>
                  </a:lnTo>
                  <a:lnTo>
                    <a:pt x="707" y="753"/>
                  </a:lnTo>
                  <a:lnTo>
                    <a:pt x="706" y="756"/>
                  </a:lnTo>
                  <a:lnTo>
                    <a:pt x="705" y="759"/>
                  </a:lnTo>
                  <a:lnTo>
                    <a:pt x="706" y="762"/>
                  </a:lnTo>
                  <a:lnTo>
                    <a:pt x="707" y="770"/>
                  </a:lnTo>
                  <a:lnTo>
                    <a:pt x="709" y="776"/>
                  </a:lnTo>
                  <a:lnTo>
                    <a:pt x="709" y="786"/>
                  </a:lnTo>
                  <a:lnTo>
                    <a:pt x="706" y="790"/>
                  </a:lnTo>
                  <a:lnTo>
                    <a:pt x="702" y="794"/>
                  </a:lnTo>
                  <a:lnTo>
                    <a:pt x="693" y="799"/>
                  </a:lnTo>
                  <a:lnTo>
                    <a:pt x="682" y="815"/>
                  </a:lnTo>
                  <a:lnTo>
                    <a:pt x="681" y="818"/>
                  </a:lnTo>
                  <a:lnTo>
                    <a:pt x="680" y="828"/>
                  </a:lnTo>
                  <a:lnTo>
                    <a:pt x="679" y="831"/>
                  </a:lnTo>
                  <a:lnTo>
                    <a:pt x="677" y="834"/>
                  </a:lnTo>
                  <a:lnTo>
                    <a:pt x="672" y="836"/>
                  </a:lnTo>
                  <a:lnTo>
                    <a:pt x="667" y="835"/>
                  </a:lnTo>
                  <a:lnTo>
                    <a:pt x="653" y="837"/>
                  </a:lnTo>
                  <a:lnTo>
                    <a:pt x="649" y="836"/>
                  </a:lnTo>
                  <a:lnTo>
                    <a:pt x="645" y="834"/>
                  </a:lnTo>
                  <a:lnTo>
                    <a:pt x="643" y="830"/>
                  </a:lnTo>
                  <a:lnTo>
                    <a:pt x="644" y="827"/>
                  </a:lnTo>
                  <a:lnTo>
                    <a:pt x="642" y="824"/>
                  </a:lnTo>
                  <a:lnTo>
                    <a:pt x="642" y="821"/>
                  </a:lnTo>
                  <a:lnTo>
                    <a:pt x="643" y="818"/>
                  </a:lnTo>
                  <a:lnTo>
                    <a:pt x="642" y="814"/>
                  </a:lnTo>
                  <a:lnTo>
                    <a:pt x="642" y="811"/>
                  </a:lnTo>
                  <a:lnTo>
                    <a:pt x="645" y="808"/>
                  </a:lnTo>
                  <a:lnTo>
                    <a:pt x="652" y="805"/>
                  </a:lnTo>
                  <a:lnTo>
                    <a:pt x="655" y="797"/>
                  </a:lnTo>
                  <a:lnTo>
                    <a:pt x="660" y="785"/>
                  </a:lnTo>
                  <a:lnTo>
                    <a:pt x="660" y="781"/>
                  </a:lnTo>
                  <a:lnTo>
                    <a:pt x="660" y="778"/>
                  </a:lnTo>
                  <a:lnTo>
                    <a:pt x="656" y="774"/>
                  </a:lnTo>
                  <a:lnTo>
                    <a:pt x="654" y="771"/>
                  </a:lnTo>
                  <a:lnTo>
                    <a:pt x="655" y="768"/>
                  </a:lnTo>
                  <a:lnTo>
                    <a:pt x="658" y="767"/>
                  </a:lnTo>
                  <a:lnTo>
                    <a:pt x="664" y="763"/>
                  </a:lnTo>
                  <a:lnTo>
                    <a:pt x="670" y="762"/>
                  </a:lnTo>
                  <a:lnTo>
                    <a:pt x="675" y="762"/>
                  </a:lnTo>
                  <a:lnTo>
                    <a:pt x="679" y="759"/>
                  </a:lnTo>
                  <a:lnTo>
                    <a:pt x="680" y="756"/>
                  </a:lnTo>
                  <a:lnTo>
                    <a:pt x="681" y="753"/>
                  </a:lnTo>
                  <a:lnTo>
                    <a:pt x="681" y="749"/>
                  </a:lnTo>
                  <a:lnTo>
                    <a:pt x="681" y="745"/>
                  </a:lnTo>
                  <a:lnTo>
                    <a:pt x="679" y="742"/>
                  </a:lnTo>
                  <a:lnTo>
                    <a:pt x="677" y="741"/>
                  </a:lnTo>
                  <a:lnTo>
                    <a:pt x="670" y="729"/>
                  </a:lnTo>
                  <a:lnTo>
                    <a:pt x="665" y="707"/>
                  </a:lnTo>
                  <a:lnTo>
                    <a:pt x="664" y="704"/>
                  </a:lnTo>
                  <a:lnTo>
                    <a:pt x="657" y="692"/>
                  </a:lnTo>
                  <a:lnTo>
                    <a:pt x="653" y="688"/>
                  </a:lnTo>
                  <a:lnTo>
                    <a:pt x="650" y="685"/>
                  </a:lnTo>
                  <a:lnTo>
                    <a:pt x="649" y="681"/>
                  </a:lnTo>
                  <a:lnTo>
                    <a:pt x="647" y="677"/>
                  </a:lnTo>
                  <a:lnTo>
                    <a:pt x="645" y="674"/>
                  </a:lnTo>
                  <a:lnTo>
                    <a:pt x="643" y="665"/>
                  </a:lnTo>
                  <a:lnTo>
                    <a:pt x="641" y="661"/>
                  </a:lnTo>
                  <a:lnTo>
                    <a:pt x="642" y="657"/>
                  </a:lnTo>
                  <a:lnTo>
                    <a:pt x="639" y="652"/>
                  </a:lnTo>
                  <a:lnTo>
                    <a:pt x="638" y="649"/>
                  </a:lnTo>
                  <a:lnTo>
                    <a:pt x="634" y="645"/>
                  </a:lnTo>
                  <a:lnTo>
                    <a:pt x="632" y="642"/>
                  </a:lnTo>
                  <a:lnTo>
                    <a:pt x="630" y="639"/>
                  </a:lnTo>
                  <a:lnTo>
                    <a:pt x="623" y="639"/>
                  </a:lnTo>
                  <a:lnTo>
                    <a:pt x="620" y="641"/>
                  </a:lnTo>
                  <a:lnTo>
                    <a:pt x="618" y="644"/>
                  </a:lnTo>
                  <a:lnTo>
                    <a:pt x="615" y="647"/>
                  </a:lnTo>
                  <a:lnTo>
                    <a:pt x="611" y="646"/>
                  </a:lnTo>
                  <a:lnTo>
                    <a:pt x="608" y="644"/>
                  </a:lnTo>
                  <a:lnTo>
                    <a:pt x="605" y="645"/>
                  </a:lnTo>
                  <a:lnTo>
                    <a:pt x="604" y="641"/>
                  </a:lnTo>
                  <a:lnTo>
                    <a:pt x="600" y="638"/>
                  </a:lnTo>
                  <a:lnTo>
                    <a:pt x="594" y="633"/>
                  </a:lnTo>
                  <a:lnTo>
                    <a:pt x="589" y="634"/>
                  </a:lnTo>
                  <a:lnTo>
                    <a:pt x="585" y="631"/>
                  </a:lnTo>
                  <a:lnTo>
                    <a:pt x="582" y="629"/>
                  </a:lnTo>
                  <a:lnTo>
                    <a:pt x="578" y="628"/>
                  </a:lnTo>
                  <a:lnTo>
                    <a:pt x="578" y="623"/>
                  </a:lnTo>
                  <a:lnTo>
                    <a:pt x="578" y="620"/>
                  </a:lnTo>
                  <a:lnTo>
                    <a:pt x="581" y="617"/>
                  </a:lnTo>
                  <a:lnTo>
                    <a:pt x="582" y="613"/>
                  </a:lnTo>
                  <a:lnTo>
                    <a:pt x="581" y="610"/>
                  </a:lnTo>
                  <a:lnTo>
                    <a:pt x="574" y="597"/>
                  </a:lnTo>
                  <a:lnTo>
                    <a:pt x="572" y="593"/>
                  </a:lnTo>
                  <a:lnTo>
                    <a:pt x="568" y="589"/>
                  </a:lnTo>
                  <a:lnTo>
                    <a:pt x="564" y="587"/>
                  </a:lnTo>
                  <a:lnTo>
                    <a:pt x="560" y="590"/>
                  </a:lnTo>
                  <a:lnTo>
                    <a:pt x="555" y="591"/>
                  </a:lnTo>
                  <a:lnTo>
                    <a:pt x="551" y="594"/>
                  </a:lnTo>
                  <a:lnTo>
                    <a:pt x="547" y="594"/>
                  </a:lnTo>
                  <a:lnTo>
                    <a:pt x="544" y="593"/>
                  </a:lnTo>
                  <a:lnTo>
                    <a:pt x="541" y="594"/>
                  </a:lnTo>
                  <a:lnTo>
                    <a:pt x="536" y="599"/>
                  </a:lnTo>
                  <a:lnTo>
                    <a:pt x="535" y="594"/>
                  </a:lnTo>
                  <a:lnTo>
                    <a:pt x="538" y="593"/>
                  </a:lnTo>
                  <a:lnTo>
                    <a:pt x="544" y="587"/>
                  </a:lnTo>
                  <a:lnTo>
                    <a:pt x="544" y="584"/>
                  </a:lnTo>
                  <a:lnTo>
                    <a:pt x="540" y="581"/>
                  </a:lnTo>
                  <a:lnTo>
                    <a:pt x="537" y="580"/>
                  </a:lnTo>
                  <a:lnTo>
                    <a:pt x="535" y="578"/>
                  </a:lnTo>
                  <a:lnTo>
                    <a:pt x="532" y="575"/>
                  </a:lnTo>
                  <a:lnTo>
                    <a:pt x="530" y="575"/>
                  </a:lnTo>
                  <a:lnTo>
                    <a:pt x="526" y="575"/>
                  </a:lnTo>
                  <a:lnTo>
                    <a:pt x="525" y="578"/>
                  </a:lnTo>
                  <a:lnTo>
                    <a:pt x="517" y="576"/>
                  </a:lnTo>
                  <a:lnTo>
                    <a:pt x="515" y="579"/>
                  </a:lnTo>
                  <a:lnTo>
                    <a:pt x="512" y="579"/>
                  </a:lnTo>
                  <a:lnTo>
                    <a:pt x="513" y="576"/>
                  </a:lnTo>
                  <a:lnTo>
                    <a:pt x="512" y="572"/>
                  </a:lnTo>
                  <a:lnTo>
                    <a:pt x="506" y="561"/>
                  </a:lnTo>
                  <a:lnTo>
                    <a:pt x="503" y="559"/>
                  </a:lnTo>
                  <a:lnTo>
                    <a:pt x="502" y="556"/>
                  </a:lnTo>
                  <a:lnTo>
                    <a:pt x="500" y="552"/>
                  </a:lnTo>
                  <a:lnTo>
                    <a:pt x="493" y="543"/>
                  </a:lnTo>
                  <a:lnTo>
                    <a:pt x="488" y="539"/>
                  </a:lnTo>
                  <a:lnTo>
                    <a:pt x="485" y="539"/>
                  </a:lnTo>
                  <a:lnTo>
                    <a:pt x="479" y="539"/>
                  </a:lnTo>
                  <a:lnTo>
                    <a:pt x="478" y="543"/>
                  </a:lnTo>
                  <a:lnTo>
                    <a:pt x="475" y="544"/>
                  </a:lnTo>
                  <a:lnTo>
                    <a:pt x="471" y="541"/>
                  </a:lnTo>
                  <a:lnTo>
                    <a:pt x="460" y="536"/>
                  </a:lnTo>
                  <a:lnTo>
                    <a:pt x="458" y="536"/>
                  </a:lnTo>
                  <a:lnTo>
                    <a:pt x="452" y="538"/>
                  </a:lnTo>
                  <a:lnTo>
                    <a:pt x="448" y="540"/>
                  </a:lnTo>
                  <a:lnTo>
                    <a:pt x="446" y="541"/>
                  </a:lnTo>
                  <a:lnTo>
                    <a:pt x="442" y="544"/>
                  </a:lnTo>
                  <a:lnTo>
                    <a:pt x="439" y="541"/>
                  </a:lnTo>
                  <a:lnTo>
                    <a:pt x="438" y="538"/>
                  </a:lnTo>
                  <a:lnTo>
                    <a:pt x="436" y="535"/>
                  </a:lnTo>
                  <a:lnTo>
                    <a:pt x="431" y="530"/>
                  </a:lnTo>
                  <a:lnTo>
                    <a:pt x="427" y="526"/>
                  </a:lnTo>
                  <a:lnTo>
                    <a:pt x="420" y="525"/>
                  </a:lnTo>
                  <a:lnTo>
                    <a:pt x="414" y="522"/>
                  </a:lnTo>
                  <a:lnTo>
                    <a:pt x="411" y="522"/>
                  </a:lnTo>
                  <a:lnTo>
                    <a:pt x="404" y="515"/>
                  </a:lnTo>
                  <a:lnTo>
                    <a:pt x="397" y="507"/>
                  </a:lnTo>
                  <a:lnTo>
                    <a:pt x="390" y="501"/>
                  </a:lnTo>
                  <a:lnTo>
                    <a:pt x="387" y="499"/>
                  </a:lnTo>
                  <a:lnTo>
                    <a:pt x="383" y="498"/>
                  </a:lnTo>
                  <a:lnTo>
                    <a:pt x="381" y="495"/>
                  </a:lnTo>
                  <a:lnTo>
                    <a:pt x="380" y="491"/>
                  </a:lnTo>
                  <a:lnTo>
                    <a:pt x="379" y="488"/>
                  </a:lnTo>
                  <a:lnTo>
                    <a:pt x="377" y="485"/>
                  </a:lnTo>
                  <a:lnTo>
                    <a:pt x="368" y="478"/>
                  </a:lnTo>
                  <a:lnTo>
                    <a:pt x="366" y="475"/>
                  </a:lnTo>
                  <a:lnTo>
                    <a:pt x="363" y="474"/>
                  </a:lnTo>
                  <a:lnTo>
                    <a:pt x="360" y="471"/>
                  </a:lnTo>
                  <a:lnTo>
                    <a:pt x="353" y="471"/>
                  </a:lnTo>
                  <a:lnTo>
                    <a:pt x="351" y="468"/>
                  </a:lnTo>
                  <a:lnTo>
                    <a:pt x="349" y="465"/>
                  </a:lnTo>
                  <a:lnTo>
                    <a:pt x="347" y="462"/>
                  </a:lnTo>
                  <a:lnTo>
                    <a:pt x="346" y="458"/>
                  </a:lnTo>
                  <a:lnTo>
                    <a:pt x="342" y="450"/>
                  </a:lnTo>
                  <a:lnTo>
                    <a:pt x="332" y="442"/>
                  </a:lnTo>
                  <a:lnTo>
                    <a:pt x="329" y="441"/>
                  </a:lnTo>
                  <a:lnTo>
                    <a:pt x="324" y="439"/>
                  </a:lnTo>
                  <a:lnTo>
                    <a:pt x="321" y="437"/>
                  </a:lnTo>
                  <a:lnTo>
                    <a:pt x="318" y="437"/>
                  </a:lnTo>
                  <a:lnTo>
                    <a:pt x="313" y="436"/>
                  </a:lnTo>
                  <a:lnTo>
                    <a:pt x="310" y="436"/>
                  </a:lnTo>
                  <a:lnTo>
                    <a:pt x="308" y="439"/>
                  </a:lnTo>
                  <a:lnTo>
                    <a:pt x="305" y="440"/>
                  </a:lnTo>
                  <a:lnTo>
                    <a:pt x="303" y="438"/>
                  </a:lnTo>
                  <a:lnTo>
                    <a:pt x="301" y="434"/>
                  </a:lnTo>
                  <a:lnTo>
                    <a:pt x="304" y="433"/>
                  </a:lnTo>
                  <a:lnTo>
                    <a:pt x="307" y="433"/>
                  </a:lnTo>
                  <a:lnTo>
                    <a:pt x="308" y="430"/>
                  </a:lnTo>
                  <a:lnTo>
                    <a:pt x="308" y="427"/>
                  </a:lnTo>
                  <a:lnTo>
                    <a:pt x="306" y="423"/>
                  </a:lnTo>
                  <a:lnTo>
                    <a:pt x="303" y="422"/>
                  </a:lnTo>
                  <a:lnTo>
                    <a:pt x="302" y="419"/>
                  </a:lnTo>
                  <a:lnTo>
                    <a:pt x="298" y="415"/>
                  </a:lnTo>
                  <a:lnTo>
                    <a:pt x="294" y="413"/>
                  </a:lnTo>
                  <a:lnTo>
                    <a:pt x="294" y="411"/>
                  </a:lnTo>
                  <a:lnTo>
                    <a:pt x="290" y="406"/>
                  </a:lnTo>
                  <a:lnTo>
                    <a:pt x="286" y="405"/>
                  </a:lnTo>
                  <a:lnTo>
                    <a:pt x="276" y="401"/>
                  </a:lnTo>
                  <a:lnTo>
                    <a:pt x="278" y="398"/>
                  </a:lnTo>
                  <a:lnTo>
                    <a:pt x="278" y="394"/>
                  </a:lnTo>
                  <a:lnTo>
                    <a:pt x="278" y="390"/>
                  </a:lnTo>
                  <a:lnTo>
                    <a:pt x="272" y="387"/>
                  </a:lnTo>
                  <a:lnTo>
                    <a:pt x="269" y="386"/>
                  </a:lnTo>
                  <a:lnTo>
                    <a:pt x="265" y="386"/>
                  </a:lnTo>
                  <a:lnTo>
                    <a:pt x="262" y="387"/>
                  </a:lnTo>
                  <a:lnTo>
                    <a:pt x="260" y="388"/>
                  </a:lnTo>
                  <a:lnTo>
                    <a:pt x="258" y="383"/>
                  </a:lnTo>
                  <a:lnTo>
                    <a:pt x="261" y="380"/>
                  </a:lnTo>
                  <a:lnTo>
                    <a:pt x="262" y="375"/>
                  </a:lnTo>
                  <a:lnTo>
                    <a:pt x="262" y="372"/>
                  </a:lnTo>
                  <a:lnTo>
                    <a:pt x="263" y="369"/>
                  </a:lnTo>
                  <a:lnTo>
                    <a:pt x="262" y="365"/>
                  </a:lnTo>
                  <a:lnTo>
                    <a:pt x="262" y="361"/>
                  </a:lnTo>
                  <a:lnTo>
                    <a:pt x="261" y="358"/>
                  </a:lnTo>
                  <a:lnTo>
                    <a:pt x="255" y="347"/>
                  </a:lnTo>
                  <a:lnTo>
                    <a:pt x="251" y="341"/>
                  </a:lnTo>
                  <a:lnTo>
                    <a:pt x="248" y="339"/>
                  </a:lnTo>
                  <a:lnTo>
                    <a:pt x="246" y="330"/>
                  </a:lnTo>
                  <a:lnTo>
                    <a:pt x="244" y="307"/>
                  </a:lnTo>
                  <a:lnTo>
                    <a:pt x="243" y="304"/>
                  </a:lnTo>
                  <a:lnTo>
                    <a:pt x="240" y="297"/>
                  </a:lnTo>
                  <a:lnTo>
                    <a:pt x="238" y="294"/>
                  </a:lnTo>
                  <a:lnTo>
                    <a:pt x="235" y="292"/>
                  </a:lnTo>
                  <a:lnTo>
                    <a:pt x="233" y="288"/>
                  </a:lnTo>
                  <a:lnTo>
                    <a:pt x="228" y="285"/>
                  </a:lnTo>
                  <a:lnTo>
                    <a:pt x="225" y="284"/>
                  </a:lnTo>
                  <a:lnTo>
                    <a:pt x="222" y="286"/>
                  </a:lnTo>
                  <a:lnTo>
                    <a:pt x="219" y="282"/>
                  </a:lnTo>
                  <a:lnTo>
                    <a:pt x="215" y="280"/>
                  </a:lnTo>
                  <a:lnTo>
                    <a:pt x="214" y="282"/>
                  </a:lnTo>
                  <a:lnTo>
                    <a:pt x="215" y="285"/>
                  </a:lnTo>
                  <a:lnTo>
                    <a:pt x="210" y="282"/>
                  </a:lnTo>
                  <a:lnTo>
                    <a:pt x="206" y="279"/>
                  </a:lnTo>
                  <a:lnTo>
                    <a:pt x="204" y="277"/>
                  </a:lnTo>
                  <a:lnTo>
                    <a:pt x="201" y="277"/>
                  </a:lnTo>
                  <a:lnTo>
                    <a:pt x="197" y="273"/>
                  </a:lnTo>
                  <a:lnTo>
                    <a:pt x="192" y="270"/>
                  </a:lnTo>
                  <a:lnTo>
                    <a:pt x="191" y="267"/>
                  </a:lnTo>
                  <a:lnTo>
                    <a:pt x="188" y="268"/>
                  </a:lnTo>
                  <a:lnTo>
                    <a:pt x="183" y="265"/>
                  </a:lnTo>
                  <a:lnTo>
                    <a:pt x="176" y="259"/>
                  </a:lnTo>
                  <a:lnTo>
                    <a:pt x="173" y="258"/>
                  </a:lnTo>
                  <a:lnTo>
                    <a:pt x="173" y="261"/>
                  </a:lnTo>
                  <a:lnTo>
                    <a:pt x="170" y="260"/>
                  </a:lnTo>
                  <a:lnTo>
                    <a:pt x="167" y="256"/>
                  </a:lnTo>
                  <a:lnTo>
                    <a:pt x="159" y="253"/>
                  </a:lnTo>
                  <a:lnTo>
                    <a:pt x="156" y="252"/>
                  </a:lnTo>
                  <a:lnTo>
                    <a:pt x="152" y="251"/>
                  </a:lnTo>
                  <a:lnTo>
                    <a:pt x="149" y="251"/>
                  </a:lnTo>
                  <a:lnTo>
                    <a:pt x="146" y="249"/>
                  </a:lnTo>
                  <a:lnTo>
                    <a:pt x="142" y="248"/>
                  </a:lnTo>
                  <a:lnTo>
                    <a:pt x="140" y="249"/>
                  </a:lnTo>
                  <a:lnTo>
                    <a:pt x="137" y="251"/>
                  </a:lnTo>
                  <a:lnTo>
                    <a:pt x="131" y="256"/>
                  </a:lnTo>
                  <a:lnTo>
                    <a:pt x="127" y="258"/>
                  </a:lnTo>
                  <a:lnTo>
                    <a:pt x="122" y="261"/>
                  </a:lnTo>
                  <a:lnTo>
                    <a:pt x="121" y="264"/>
                  </a:lnTo>
                  <a:lnTo>
                    <a:pt x="119" y="267"/>
                  </a:lnTo>
                  <a:lnTo>
                    <a:pt x="118" y="271"/>
                  </a:lnTo>
                  <a:lnTo>
                    <a:pt x="116" y="273"/>
                  </a:lnTo>
                  <a:lnTo>
                    <a:pt x="112" y="274"/>
                  </a:lnTo>
                  <a:lnTo>
                    <a:pt x="109" y="276"/>
                  </a:lnTo>
                  <a:lnTo>
                    <a:pt x="107" y="279"/>
                  </a:lnTo>
                  <a:lnTo>
                    <a:pt x="106" y="282"/>
                  </a:lnTo>
                  <a:lnTo>
                    <a:pt x="102" y="288"/>
                  </a:lnTo>
                  <a:lnTo>
                    <a:pt x="102" y="292"/>
                  </a:lnTo>
                  <a:lnTo>
                    <a:pt x="98" y="295"/>
                  </a:lnTo>
                  <a:lnTo>
                    <a:pt x="96" y="296"/>
                  </a:lnTo>
                  <a:lnTo>
                    <a:pt x="93" y="298"/>
                  </a:lnTo>
                  <a:lnTo>
                    <a:pt x="88" y="301"/>
                  </a:lnTo>
                  <a:lnTo>
                    <a:pt x="75" y="304"/>
                  </a:lnTo>
                  <a:lnTo>
                    <a:pt x="72" y="306"/>
                  </a:lnTo>
                  <a:lnTo>
                    <a:pt x="69" y="306"/>
                  </a:lnTo>
                  <a:lnTo>
                    <a:pt x="61" y="306"/>
                  </a:lnTo>
                  <a:lnTo>
                    <a:pt x="58" y="307"/>
                  </a:lnTo>
                  <a:lnTo>
                    <a:pt x="55" y="301"/>
                  </a:lnTo>
                  <a:lnTo>
                    <a:pt x="56" y="297"/>
                  </a:lnTo>
                  <a:lnTo>
                    <a:pt x="59" y="294"/>
                  </a:lnTo>
                  <a:lnTo>
                    <a:pt x="64" y="289"/>
                  </a:lnTo>
                  <a:lnTo>
                    <a:pt x="66" y="287"/>
                  </a:lnTo>
                  <a:lnTo>
                    <a:pt x="67" y="284"/>
                  </a:lnTo>
                  <a:lnTo>
                    <a:pt x="69" y="281"/>
                  </a:lnTo>
                  <a:lnTo>
                    <a:pt x="69" y="277"/>
                  </a:lnTo>
                  <a:lnTo>
                    <a:pt x="66" y="274"/>
                  </a:lnTo>
                  <a:lnTo>
                    <a:pt x="67" y="271"/>
                  </a:lnTo>
                  <a:lnTo>
                    <a:pt x="63" y="272"/>
                  </a:lnTo>
                  <a:lnTo>
                    <a:pt x="49" y="275"/>
                  </a:lnTo>
                  <a:lnTo>
                    <a:pt x="46" y="275"/>
                  </a:lnTo>
                  <a:lnTo>
                    <a:pt x="43" y="273"/>
                  </a:lnTo>
                  <a:lnTo>
                    <a:pt x="41" y="272"/>
                  </a:lnTo>
                  <a:lnTo>
                    <a:pt x="34" y="267"/>
                  </a:lnTo>
                  <a:lnTo>
                    <a:pt x="31" y="266"/>
                  </a:lnTo>
                  <a:lnTo>
                    <a:pt x="27" y="264"/>
                  </a:lnTo>
                  <a:lnTo>
                    <a:pt x="25" y="264"/>
                  </a:lnTo>
                  <a:lnTo>
                    <a:pt x="22" y="262"/>
                  </a:lnTo>
                  <a:lnTo>
                    <a:pt x="20" y="258"/>
                  </a:lnTo>
                  <a:lnTo>
                    <a:pt x="18" y="255"/>
                  </a:lnTo>
                  <a:lnTo>
                    <a:pt x="16" y="251"/>
                  </a:lnTo>
                  <a:lnTo>
                    <a:pt x="17" y="246"/>
                  </a:lnTo>
                  <a:lnTo>
                    <a:pt x="19" y="244"/>
                  </a:lnTo>
                  <a:lnTo>
                    <a:pt x="16" y="241"/>
                  </a:lnTo>
                  <a:lnTo>
                    <a:pt x="14" y="235"/>
                  </a:lnTo>
                  <a:lnTo>
                    <a:pt x="19" y="232"/>
                  </a:lnTo>
                  <a:lnTo>
                    <a:pt x="21" y="228"/>
                  </a:lnTo>
                  <a:lnTo>
                    <a:pt x="21" y="225"/>
                  </a:lnTo>
                  <a:lnTo>
                    <a:pt x="23" y="222"/>
                  </a:lnTo>
                  <a:lnTo>
                    <a:pt x="26" y="221"/>
                  </a:lnTo>
                  <a:lnTo>
                    <a:pt x="28" y="222"/>
                  </a:lnTo>
                  <a:lnTo>
                    <a:pt x="27" y="217"/>
                  </a:lnTo>
                  <a:lnTo>
                    <a:pt x="27" y="214"/>
                  </a:lnTo>
                  <a:lnTo>
                    <a:pt x="26" y="210"/>
                  </a:lnTo>
                  <a:lnTo>
                    <a:pt x="25" y="207"/>
                  </a:lnTo>
                  <a:lnTo>
                    <a:pt x="22" y="205"/>
                  </a:lnTo>
                  <a:lnTo>
                    <a:pt x="18" y="206"/>
                  </a:lnTo>
                  <a:lnTo>
                    <a:pt x="12" y="203"/>
                  </a:lnTo>
                  <a:lnTo>
                    <a:pt x="8" y="199"/>
                  </a:lnTo>
                  <a:lnTo>
                    <a:pt x="8" y="194"/>
                  </a:lnTo>
                  <a:lnTo>
                    <a:pt x="8" y="191"/>
                  </a:lnTo>
                  <a:lnTo>
                    <a:pt x="4" y="189"/>
                  </a:lnTo>
                  <a:lnTo>
                    <a:pt x="2" y="187"/>
                  </a:lnTo>
                  <a:lnTo>
                    <a:pt x="0" y="181"/>
                  </a:lnTo>
                  <a:lnTo>
                    <a:pt x="5" y="178"/>
                  </a:lnTo>
                  <a:lnTo>
                    <a:pt x="7" y="178"/>
                  </a:lnTo>
                  <a:lnTo>
                    <a:pt x="12" y="177"/>
                  </a:lnTo>
                  <a:lnTo>
                    <a:pt x="15" y="179"/>
                  </a:lnTo>
                  <a:lnTo>
                    <a:pt x="17" y="180"/>
                  </a:lnTo>
                  <a:lnTo>
                    <a:pt x="19" y="176"/>
                  </a:lnTo>
                  <a:lnTo>
                    <a:pt x="22" y="176"/>
                  </a:lnTo>
                  <a:lnTo>
                    <a:pt x="24" y="173"/>
                  </a:lnTo>
                  <a:lnTo>
                    <a:pt x="27" y="172"/>
                  </a:lnTo>
                  <a:lnTo>
                    <a:pt x="30" y="171"/>
                  </a:lnTo>
                  <a:lnTo>
                    <a:pt x="33" y="170"/>
                  </a:lnTo>
                  <a:lnTo>
                    <a:pt x="35" y="167"/>
                  </a:lnTo>
                  <a:lnTo>
                    <a:pt x="34" y="163"/>
                  </a:lnTo>
                  <a:lnTo>
                    <a:pt x="36" y="160"/>
                  </a:lnTo>
                  <a:lnTo>
                    <a:pt x="39" y="156"/>
                  </a:lnTo>
                  <a:lnTo>
                    <a:pt x="35" y="153"/>
                  </a:lnTo>
                  <a:lnTo>
                    <a:pt x="34" y="150"/>
                  </a:lnTo>
                  <a:lnTo>
                    <a:pt x="30" y="147"/>
                  </a:lnTo>
                  <a:lnTo>
                    <a:pt x="27" y="145"/>
                  </a:lnTo>
                  <a:lnTo>
                    <a:pt x="27" y="140"/>
                  </a:lnTo>
                  <a:lnTo>
                    <a:pt x="26" y="137"/>
                  </a:lnTo>
                  <a:lnTo>
                    <a:pt x="27" y="133"/>
                  </a:lnTo>
                  <a:lnTo>
                    <a:pt x="24" y="132"/>
                  </a:lnTo>
                  <a:lnTo>
                    <a:pt x="22" y="130"/>
                  </a:lnTo>
                  <a:lnTo>
                    <a:pt x="19" y="129"/>
                  </a:lnTo>
                  <a:lnTo>
                    <a:pt x="16" y="126"/>
                  </a:lnTo>
                  <a:lnTo>
                    <a:pt x="16" y="122"/>
                  </a:lnTo>
                  <a:lnTo>
                    <a:pt x="16" y="117"/>
                  </a:lnTo>
                  <a:lnTo>
                    <a:pt x="17" y="115"/>
                  </a:lnTo>
                  <a:lnTo>
                    <a:pt x="20" y="114"/>
                  </a:lnTo>
                  <a:lnTo>
                    <a:pt x="24" y="113"/>
                  </a:lnTo>
                  <a:lnTo>
                    <a:pt x="27" y="112"/>
                  </a:lnTo>
                  <a:lnTo>
                    <a:pt x="29" y="108"/>
                  </a:lnTo>
                  <a:lnTo>
                    <a:pt x="31" y="105"/>
                  </a:lnTo>
                  <a:lnTo>
                    <a:pt x="38" y="111"/>
                  </a:lnTo>
                  <a:lnTo>
                    <a:pt x="42" y="111"/>
                  </a:lnTo>
                  <a:lnTo>
                    <a:pt x="46" y="109"/>
                  </a:lnTo>
                  <a:lnTo>
                    <a:pt x="48" y="108"/>
                  </a:lnTo>
                  <a:lnTo>
                    <a:pt x="53" y="109"/>
                  </a:lnTo>
                  <a:lnTo>
                    <a:pt x="59" y="105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71" y="104"/>
                  </a:lnTo>
                  <a:lnTo>
                    <a:pt x="75" y="107"/>
                  </a:lnTo>
                  <a:lnTo>
                    <a:pt x="77" y="107"/>
                  </a:lnTo>
                  <a:lnTo>
                    <a:pt x="80" y="109"/>
                  </a:lnTo>
                  <a:lnTo>
                    <a:pt x="84" y="109"/>
                  </a:lnTo>
                  <a:lnTo>
                    <a:pt x="87" y="104"/>
                  </a:lnTo>
                  <a:lnTo>
                    <a:pt x="93" y="102"/>
                  </a:lnTo>
                  <a:lnTo>
                    <a:pt x="96" y="99"/>
                  </a:lnTo>
                  <a:lnTo>
                    <a:pt x="97" y="96"/>
                  </a:lnTo>
                  <a:lnTo>
                    <a:pt x="97" y="93"/>
                  </a:lnTo>
                  <a:lnTo>
                    <a:pt x="100" y="92"/>
                  </a:lnTo>
                  <a:lnTo>
                    <a:pt x="103" y="90"/>
                  </a:lnTo>
                  <a:lnTo>
                    <a:pt x="104" y="87"/>
                  </a:lnTo>
                  <a:lnTo>
                    <a:pt x="104" y="84"/>
                  </a:lnTo>
                  <a:lnTo>
                    <a:pt x="102" y="80"/>
                  </a:lnTo>
                  <a:lnTo>
                    <a:pt x="102" y="77"/>
                  </a:lnTo>
                  <a:lnTo>
                    <a:pt x="104" y="75"/>
                  </a:lnTo>
                  <a:lnTo>
                    <a:pt x="107" y="74"/>
                  </a:lnTo>
                  <a:lnTo>
                    <a:pt x="112" y="69"/>
                  </a:lnTo>
                  <a:lnTo>
                    <a:pt x="114" y="68"/>
                  </a:lnTo>
                  <a:lnTo>
                    <a:pt x="115" y="65"/>
                  </a:lnTo>
                  <a:lnTo>
                    <a:pt x="117" y="62"/>
                  </a:lnTo>
                  <a:lnTo>
                    <a:pt x="122" y="61"/>
                  </a:lnTo>
                  <a:lnTo>
                    <a:pt x="125" y="62"/>
                  </a:lnTo>
                  <a:lnTo>
                    <a:pt x="125" y="67"/>
                  </a:lnTo>
                  <a:lnTo>
                    <a:pt x="125" y="70"/>
                  </a:lnTo>
                  <a:lnTo>
                    <a:pt x="123" y="74"/>
                  </a:lnTo>
                  <a:lnTo>
                    <a:pt x="123" y="79"/>
                  </a:lnTo>
                  <a:lnTo>
                    <a:pt x="127" y="82"/>
                  </a:lnTo>
                  <a:lnTo>
                    <a:pt x="130" y="85"/>
                  </a:lnTo>
                  <a:lnTo>
                    <a:pt x="134" y="91"/>
                  </a:lnTo>
                  <a:lnTo>
                    <a:pt x="139" y="94"/>
                  </a:lnTo>
                  <a:lnTo>
                    <a:pt x="142" y="93"/>
                  </a:lnTo>
                  <a:lnTo>
                    <a:pt x="145" y="94"/>
                  </a:lnTo>
                  <a:lnTo>
                    <a:pt x="148" y="94"/>
                  </a:lnTo>
                  <a:lnTo>
                    <a:pt x="148" y="99"/>
                  </a:lnTo>
                  <a:lnTo>
                    <a:pt x="145" y="103"/>
                  </a:lnTo>
                  <a:lnTo>
                    <a:pt x="150" y="107"/>
                  </a:lnTo>
                  <a:lnTo>
                    <a:pt x="153" y="111"/>
                  </a:lnTo>
                  <a:lnTo>
                    <a:pt x="154" y="115"/>
                  </a:lnTo>
                  <a:lnTo>
                    <a:pt x="153" y="120"/>
                  </a:lnTo>
                  <a:lnTo>
                    <a:pt x="157" y="119"/>
                  </a:lnTo>
                  <a:lnTo>
                    <a:pt x="161" y="120"/>
                  </a:lnTo>
                  <a:lnTo>
                    <a:pt x="164" y="114"/>
                  </a:lnTo>
                  <a:lnTo>
                    <a:pt x="164" y="111"/>
                  </a:lnTo>
                  <a:lnTo>
                    <a:pt x="161" y="109"/>
                  </a:lnTo>
                  <a:lnTo>
                    <a:pt x="159" y="106"/>
                  </a:lnTo>
                  <a:lnTo>
                    <a:pt x="162" y="103"/>
                  </a:lnTo>
                  <a:lnTo>
                    <a:pt x="161" y="100"/>
                  </a:lnTo>
                  <a:lnTo>
                    <a:pt x="164" y="97"/>
                  </a:lnTo>
                  <a:lnTo>
                    <a:pt x="165" y="93"/>
                  </a:lnTo>
                  <a:lnTo>
                    <a:pt x="167" y="90"/>
                  </a:lnTo>
                  <a:lnTo>
                    <a:pt x="171" y="87"/>
                  </a:lnTo>
                  <a:lnTo>
                    <a:pt x="172" y="84"/>
                  </a:lnTo>
                  <a:lnTo>
                    <a:pt x="175" y="82"/>
                  </a:lnTo>
                  <a:lnTo>
                    <a:pt x="176" y="78"/>
                  </a:lnTo>
                  <a:lnTo>
                    <a:pt x="178" y="75"/>
                  </a:lnTo>
                  <a:lnTo>
                    <a:pt x="179" y="71"/>
                  </a:lnTo>
                  <a:lnTo>
                    <a:pt x="178" y="68"/>
                  </a:lnTo>
                  <a:lnTo>
                    <a:pt x="178" y="65"/>
                  </a:lnTo>
                  <a:lnTo>
                    <a:pt x="177" y="61"/>
                  </a:lnTo>
                  <a:lnTo>
                    <a:pt x="179" y="57"/>
                  </a:lnTo>
                  <a:lnTo>
                    <a:pt x="182" y="57"/>
                  </a:lnTo>
                  <a:lnTo>
                    <a:pt x="185" y="60"/>
                  </a:lnTo>
                  <a:lnTo>
                    <a:pt x="188" y="57"/>
                  </a:lnTo>
                  <a:lnTo>
                    <a:pt x="189" y="67"/>
                  </a:lnTo>
                  <a:lnTo>
                    <a:pt x="191" y="70"/>
                  </a:lnTo>
                  <a:lnTo>
                    <a:pt x="193" y="74"/>
                  </a:lnTo>
                  <a:lnTo>
                    <a:pt x="197" y="76"/>
                  </a:lnTo>
                  <a:lnTo>
                    <a:pt x="205" y="74"/>
                  </a:lnTo>
                  <a:lnTo>
                    <a:pt x="206" y="73"/>
                  </a:lnTo>
                  <a:lnTo>
                    <a:pt x="209" y="72"/>
                  </a:lnTo>
                  <a:lnTo>
                    <a:pt x="216" y="69"/>
                  </a:lnTo>
                  <a:lnTo>
                    <a:pt x="218" y="69"/>
                  </a:lnTo>
                  <a:lnTo>
                    <a:pt x="221" y="69"/>
                  </a:lnTo>
                  <a:lnTo>
                    <a:pt x="223" y="74"/>
                  </a:lnTo>
                  <a:lnTo>
                    <a:pt x="224" y="77"/>
                  </a:lnTo>
                  <a:lnTo>
                    <a:pt x="228" y="79"/>
                  </a:lnTo>
                  <a:lnTo>
                    <a:pt x="229" y="83"/>
                  </a:lnTo>
                  <a:lnTo>
                    <a:pt x="233" y="82"/>
                  </a:lnTo>
                  <a:lnTo>
                    <a:pt x="236" y="79"/>
                  </a:lnTo>
                  <a:lnTo>
                    <a:pt x="233" y="75"/>
                  </a:lnTo>
                  <a:lnTo>
                    <a:pt x="232" y="72"/>
                  </a:lnTo>
                  <a:lnTo>
                    <a:pt x="234" y="69"/>
                  </a:lnTo>
                  <a:lnTo>
                    <a:pt x="235" y="66"/>
                  </a:lnTo>
                  <a:lnTo>
                    <a:pt x="230" y="64"/>
                  </a:lnTo>
                  <a:lnTo>
                    <a:pt x="228" y="62"/>
                  </a:lnTo>
                  <a:lnTo>
                    <a:pt x="228" y="59"/>
                  </a:lnTo>
                  <a:lnTo>
                    <a:pt x="228" y="55"/>
                  </a:lnTo>
                  <a:lnTo>
                    <a:pt x="230" y="52"/>
                  </a:lnTo>
                  <a:lnTo>
                    <a:pt x="231" y="47"/>
                  </a:lnTo>
                  <a:lnTo>
                    <a:pt x="238" y="45"/>
                  </a:lnTo>
                  <a:lnTo>
                    <a:pt x="241" y="45"/>
                  </a:lnTo>
                  <a:lnTo>
                    <a:pt x="240" y="48"/>
                  </a:lnTo>
                  <a:lnTo>
                    <a:pt x="243" y="51"/>
                  </a:lnTo>
                  <a:lnTo>
                    <a:pt x="246" y="53"/>
                  </a:lnTo>
                  <a:lnTo>
                    <a:pt x="253" y="54"/>
                  </a:lnTo>
                  <a:lnTo>
                    <a:pt x="255" y="50"/>
                  </a:lnTo>
                  <a:lnTo>
                    <a:pt x="255" y="45"/>
                  </a:lnTo>
                  <a:lnTo>
                    <a:pt x="251" y="43"/>
                  </a:lnTo>
                  <a:lnTo>
                    <a:pt x="249" y="40"/>
                  </a:lnTo>
                  <a:lnTo>
                    <a:pt x="251" y="38"/>
                  </a:lnTo>
                  <a:lnTo>
                    <a:pt x="251" y="35"/>
                  </a:lnTo>
                  <a:lnTo>
                    <a:pt x="253" y="31"/>
                  </a:lnTo>
                  <a:lnTo>
                    <a:pt x="252" y="29"/>
                  </a:lnTo>
                  <a:lnTo>
                    <a:pt x="254" y="26"/>
                  </a:lnTo>
                  <a:lnTo>
                    <a:pt x="255" y="23"/>
                  </a:lnTo>
                  <a:lnTo>
                    <a:pt x="259" y="25"/>
                  </a:lnTo>
                  <a:lnTo>
                    <a:pt x="266" y="23"/>
                  </a:lnTo>
                  <a:lnTo>
                    <a:pt x="273" y="26"/>
                  </a:lnTo>
                  <a:lnTo>
                    <a:pt x="271" y="28"/>
                  </a:lnTo>
                  <a:lnTo>
                    <a:pt x="274" y="30"/>
                  </a:lnTo>
                  <a:lnTo>
                    <a:pt x="277" y="31"/>
                  </a:lnTo>
                  <a:lnTo>
                    <a:pt x="279" y="30"/>
                  </a:lnTo>
                  <a:lnTo>
                    <a:pt x="282" y="32"/>
                  </a:lnTo>
                  <a:lnTo>
                    <a:pt x="285" y="31"/>
                  </a:lnTo>
                  <a:lnTo>
                    <a:pt x="288" y="31"/>
                  </a:lnTo>
                  <a:lnTo>
                    <a:pt x="291" y="28"/>
                  </a:lnTo>
                  <a:lnTo>
                    <a:pt x="292" y="25"/>
                  </a:lnTo>
                  <a:lnTo>
                    <a:pt x="294" y="22"/>
                  </a:lnTo>
                  <a:lnTo>
                    <a:pt x="294" y="19"/>
                  </a:lnTo>
                  <a:lnTo>
                    <a:pt x="299" y="14"/>
                  </a:lnTo>
                  <a:lnTo>
                    <a:pt x="305" y="12"/>
                  </a:lnTo>
                  <a:lnTo>
                    <a:pt x="310" y="11"/>
                  </a:lnTo>
                  <a:lnTo>
                    <a:pt x="312" y="11"/>
                  </a:lnTo>
                  <a:lnTo>
                    <a:pt x="316" y="12"/>
                  </a:lnTo>
                  <a:lnTo>
                    <a:pt x="318" y="9"/>
                  </a:lnTo>
                  <a:lnTo>
                    <a:pt x="321" y="9"/>
                  </a:lnTo>
                  <a:lnTo>
                    <a:pt x="323" y="10"/>
                  </a:lnTo>
                  <a:lnTo>
                    <a:pt x="326" y="9"/>
                  </a:lnTo>
                  <a:lnTo>
                    <a:pt x="331" y="10"/>
                  </a:lnTo>
                  <a:lnTo>
                    <a:pt x="333" y="10"/>
                  </a:lnTo>
                  <a:lnTo>
                    <a:pt x="336" y="12"/>
                  </a:lnTo>
                  <a:lnTo>
                    <a:pt x="339" y="10"/>
                  </a:lnTo>
                  <a:lnTo>
                    <a:pt x="342" y="10"/>
                  </a:lnTo>
                  <a:lnTo>
                    <a:pt x="346" y="6"/>
                  </a:lnTo>
                  <a:lnTo>
                    <a:pt x="349" y="5"/>
                  </a:lnTo>
                  <a:lnTo>
                    <a:pt x="354" y="5"/>
                  </a:lnTo>
                  <a:lnTo>
                    <a:pt x="360" y="1"/>
                  </a:lnTo>
                  <a:lnTo>
                    <a:pt x="364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20" name="LV">
              <a:extLst>
                <a:ext uri="{FF2B5EF4-FFF2-40B4-BE49-F238E27FC236}">
                  <a16:creationId xmlns:a16="http://schemas.microsoft.com/office/drawing/2014/main" id="{73A93787-CC08-45E3-15AA-2092E9AE6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7851" y="3038256"/>
              <a:ext cx="709219" cy="392080"/>
            </a:xfrm>
            <a:custGeom>
              <a:avLst/>
              <a:gdLst>
                <a:gd name="T0" fmla="*/ 199 w 371"/>
                <a:gd name="T1" fmla="*/ 6 h 221"/>
                <a:gd name="T2" fmla="*/ 210 w 371"/>
                <a:gd name="T3" fmla="*/ 8 h 221"/>
                <a:gd name="T4" fmla="*/ 228 w 371"/>
                <a:gd name="T5" fmla="*/ 17 h 221"/>
                <a:gd name="T6" fmla="*/ 257 w 371"/>
                <a:gd name="T7" fmla="*/ 35 h 221"/>
                <a:gd name="T8" fmla="*/ 272 w 371"/>
                <a:gd name="T9" fmla="*/ 24 h 221"/>
                <a:gd name="T10" fmla="*/ 289 w 371"/>
                <a:gd name="T11" fmla="*/ 25 h 221"/>
                <a:gd name="T12" fmla="*/ 311 w 371"/>
                <a:gd name="T13" fmla="*/ 33 h 221"/>
                <a:gd name="T14" fmla="*/ 330 w 371"/>
                <a:gd name="T15" fmla="*/ 47 h 221"/>
                <a:gd name="T16" fmla="*/ 329 w 371"/>
                <a:gd name="T17" fmla="*/ 62 h 221"/>
                <a:gd name="T18" fmla="*/ 329 w 371"/>
                <a:gd name="T19" fmla="*/ 84 h 221"/>
                <a:gd name="T20" fmla="*/ 343 w 371"/>
                <a:gd name="T21" fmla="*/ 90 h 221"/>
                <a:gd name="T22" fmla="*/ 359 w 371"/>
                <a:gd name="T23" fmla="*/ 107 h 221"/>
                <a:gd name="T24" fmla="*/ 371 w 371"/>
                <a:gd name="T25" fmla="*/ 128 h 221"/>
                <a:gd name="T26" fmla="*/ 365 w 371"/>
                <a:gd name="T27" fmla="*/ 144 h 221"/>
                <a:gd name="T28" fmla="*/ 355 w 371"/>
                <a:gd name="T29" fmla="*/ 162 h 221"/>
                <a:gd name="T30" fmla="*/ 343 w 371"/>
                <a:gd name="T31" fmla="*/ 181 h 221"/>
                <a:gd name="T32" fmla="*/ 329 w 371"/>
                <a:gd name="T33" fmla="*/ 182 h 221"/>
                <a:gd name="T34" fmla="*/ 311 w 371"/>
                <a:gd name="T35" fmla="*/ 201 h 221"/>
                <a:gd name="T36" fmla="*/ 289 w 371"/>
                <a:gd name="T37" fmla="*/ 202 h 221"/>
                <a:gd name="T38" fmla="*/ 268 w 371"/>
                <a:gd name="T39" fmla="*/ 185 h 221"/>
                <a:gd name="T40" fmla="*/ 242 w 371"/>
                <a:gd name="T41" fmla="*/ 172 h 221"/>
                <a:gd name="T42" fmla="*/ 211 w 371"/>
                <a:gd name="T43" fmla="*/ 167 h 221"/>
                <a:gd name="T44" fmla="*/ 199 w 371"/>
                <a:gd name="T45" fmla="*/ 152 h 221"/>
                <a:gd name="T46" fmla="*/ 180 w 371"/>
                <a:gd name="T47" fmla="*/ 173 h 221"/>
                <a:gd name="T48" fmla="*/ 156 w 371"/>
                <a:gd name="T49" fmla="*/ 173 h 221"/>
                <a:gd name="T50" fmla="*/ 133 w 371"/>
                <a:gd name="T51" fmla="*/ 176 h 221"/>
                <a:gd name="T52" fmla="*/ 108 w 371"/>
                <a:gd name="T53" fmla="*/ 181 h 221"/>
                <a:gd name="T54" fmla="*/ 89 w 371"/>
                <a:gd name="T55" fmla="*/ 182 h 221"/>
                <a:gd name="T56" fmla="*/ 59 w 371"/>
                <a:gd name="T57" fmla="*/ 181 h 221"/>
                <a:gd name="T58" fmla="*/ 21 w 371"/>
                <a:gd name="T59" fmla="*/ 208 h 221"/>
                <a:gd name="T60" fmla="*/ 9 w 371"/>
                <a:gd name="T61" fmla="*/ 218 h 221"/>
                <a:gd name="T62" fmla="*/ 2 w 371"/>
                <a:gd name="T63" fmla="*/ 198 h 221"/>
                <a:gd name="T64" fmla="*/ 4 w 371"/>
                <a:gd name="T65" fmla="*/ 185 h 221"/>
                <a:gd name="T66" fmla="*/ 5 w 371"/>
                <a:gd name="T67" fmla="*/ 186 h 221"/>
                <a:gd name="T68" fmla="*/ 1 w 371"/>
                <a:gd name="T69" fmla="*/ 168 h 221"/>
                <a:gd name="T70" fmla="*/ 3 w 371"/>
                <a:gd name="T71" fmla="*/ 147 h 221"/>
                <a:gd name="T72" fmla="*/ 14 w 371"/>
                <a:gd name="T73" fmla="*/ 126 h 221"/>
                <a:gd name="T74" fmla="*/ 11 w 371"/>
                <a:gd name="T75" fmla="*/ 107 h 221"/>
                <a:gd name="T76" fmla="*/ 24 w 371"/>
                <a:gd name="T77" fmla="*/ 77 h 221"/>
                <a:gd name="T78" fmla="*/ 63 w 371"/>
                <a:gd name="T79" fmla="*/ 63 h 221"/>
                <a:gd name="T80" fmla="*/ 89 w 371"/>
                <a:gd name="T81" fmla="*/ 83 h 221"/>
                <a:gd name="T82" fmla="*/ 100 w 371"/>
                <a:gd name="T83" fmla="*/ 96 h 221"/>
                <a:gd name="T84" fmla="*/ 115 w 371"/>
                <a:gd name="T85" fmla="*/ 112 h 221"/>
                <a:gd name="T86" fmla="*/ 138 w 371"/>
                <a:gd name="T87" fmla="*/ 112 h 221"/>
                <a:gd name="T88" fmla="*/ 156 w 371"/>
                <a:gd name="T89" fmla="*/ 90 h 221"/>
                <a:gd name="T90" fmla="*/ 154 w 371"/>
                <a:gd name="T91" fmla="*/ 60 h 221"/>
                <a:gd name="T92" fmla="*/ 146 w 371"/>
                <a:gd name="T93" fmla="*/ 40 h 221"/>
                <a:gd name="T94" fmla="*/ 148 w 371"/>
                <a:gd name="T95" fmla="*/ 27 h 221"/>
                <a:gd name="T96" fmla="*/ 160 w 371"/>
                <a:gd name="T97" fmla="*/ 16 h 221"/>
                <a:gd name="T98" fmla="*/ 176 w 371"/>
                <a:gd name="T99" fmla="*/ 3 h 221"/>
                <a:gd name="T100" fmla="*/ 187 w 371"/>
                <a:gd name="T101" fmla="*/ 4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71" h="221">
                  <a:moveTo>
                    <a:pt x="188" y="0"/>
                  </a:moveTo>
                  <a:lnTo>
                    <a:pt x="189" y="2"/>
                  </a:lnTo>
                  <a:lnTo>
                    <a:pt x="193" y="2"/>
                  </a:lnTo>
                  <a:lnTo>
                    <a:pt x="197" y="5"/>
                  </a:lnTo>
                  <a:lnTo>
                    <a:pt x="199" y="6"/>
                  </a:lnTo>
                  <a:lnTo>
                    <a:pt x="201" y="6"/>
                  </a:lnTo>
                  <a:lnTo>
                    <a:pt x="203" y="9"/>
                  </a:lnTo>
                  <a:lnTo>
                    <a:pt x="205" y="10"/>
                  </a:lnTo>
                  <a:lnTo>
                    <a:pt x="208" y="10"/>
                  </a:lnTo>
                  <a:lnTo>
                    <a:pt x="210" y="8"/>
                  </a:lnTo>
                  <a:lnTo>
                    <a:pt x="213" y="11"/>
                  </a:lnTo>
                  <a:lnTo>
                    <a:pt x="216" y="13"/>
                  </a:lnTo>
                  <a:lnTo>
                    <a:pt x="226" y="12"/>
                  </a:lnTo>
                  <a:lnTo>
                    <a:pt x="227" y="14"/>
                  </a:lnTo>
                  <a:lnTo>
                    <a:pt x="228" y="17"/>
                  </a:lnTo>
                  <a:lnTo>
                    <a:pt x="236" y="21"/>
                  </a:lnTo>
                  <a:lnTo>
                    <a:pt x="244" y="29"/>
                  </a:lnTo>
                  <a:lnTo>
                    <a:pt x="249" y="32"/>
                  </a:lnTo>
                  <a:lnTo>
                    <a:pt x="253" y="33"/>
                  </a:lnTo>
                  <a:lnTo>
                    <a:pt x="257" y="35"/>
                  </a:lnTo>
                  <a:lnTo>
                    <a:pt x="259" y="35"/>
                  </a:lnTo>
                  <a:lnTo>
                    <a:pt x="263" y="31"/>
                  </a:lnTo>
                  <a:lnTo>
                    <a:pt x="266" y="29"/>
                  </a:lnTo>
                  <a:lnTo>
                    <a:pt x="270" y="28"/>
                  </a:lnTo>
                  <a:lnTo>
                    <a:pt x="272" y="24"/>
                  </a:lnTo>
                  <a:lnTo>
                    <a:pt x="276" y="22"/>
                  </a:lnTo>
                  <a:lnTo>
                    <a:pt x="279" y="22"/>
                  </a:lnTo>
                  <a:lnTo>
                    <a:pt x="283" y="25"/>
                  </a:lnTo>
                  <a:lnTo>
                    <a:pt x="285" y="26"/>
                  </a:lnTo>
                  <a:lnTo>
                    <a:pt x="289" y="25"/>
                  </a:lnTo>
                  <a:lnTo>
                    <a:pt x="297" y="26"/>
                  </a:lnTo>
                  <a:lnTo>
                    <a:pt x="307" y="23"/>
                  </a:lnTo>
                  <a:lnTo>
                    <a:pt x="307" y="26"/>
                  </a:lnTo>
                  <a:lnTo>
                    <a:pt x="309" y="30"/>
                  </a:lnTo>
                  <a:lnTo>
                    <a:pt x="311" y="33"/>
                  </a:lnTo>
                  <a:lnTo>
                    <a:pt x="316" y="34"/>
                  </a:lnTo>
                  <a:lnTo>
                    <a:pt x="321" y="37"/>
                  </a:lnTo>
                  <a:lnTo>
                    <a:pt x="326" y="39"/>
                  </a:lnTo>
                  <a:lnTo>
                    <a:pt x="329" y="42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0" y="54"/>
                  </a:lnTo>
                  <a:lnTo>
                    <a:pt x="326" y="57"/>
                  </a:lnTo>
                  <a:lnTo>
                    <a:pt x="326" y="61"/>
                  </a:lnTo>
                  <a:lnTo>
                    <a:pt x="329" y="62"/>
                  </a:lnTo>
                  <a:lnTo>
                    <a:pt x="330" y="66"/>
                  </a:lnTo>
                  <a:lnTo>
                    <a:pt x="330" y="69"/>
                  </a:lnTo>
                  <a:lnTo>
                    <a:pt x="330" y="72"/>
                  </a:lnTo>
                  <a:lnTo>
                    <a:pt x="329" y="80"/>
                  </a:lnTo>
                  <a:lnTo>
                    <a:pt x="329" y="84"/>
                  </a:lnTo>
                  <a:lnTo>
                    <a:pt x="334" y="80"/>
                  </a:lnTo>
                  <a:lnTo>
                    <a:pt x="338" y="79"/>
                  </a:lnTo>
                  <a:lnTo>
                    <a:pt x="342" y="82"/>
                  </a:lnTo>
                  <a:lnTo>
                    <a:pt x="343" y="86"/>
                  </a:lnTo>
                  <a:lnTo>
                    <a:pt x="343" y="90"/>
                  </a:lnTo>
                  <a:lnTo>
                    <a:pt x="349" y="93"/>
                  </a:lnTo>
                  <a:lnTo>
                    <a:pt x="351" y="99"/>
                  </a:lnTo>
                  <a:lnTo>
                    <a:pt x="353" y="102"/>
                  </a:lnTo>
                  <a:lnTo>
                    <a:pt x="359" y="104"/>
                  </a:lnTo>
                  <a:lnTo>
                    <a:pt x="359" y="107"/>
                  </a:lnTo>
                  <a:lnTo>
                    <a:pt x="360" y="110"/>
                  </a:lnTo>
                  <a:lnTo>
                    <a:pt x="364" y="113"/>
                  </a:lnTo>
                  <a:lnTo>
                    <a:pt x="365" y="117"/>
                  </a:lnTo>
                  <a:lnTo>
                    <a:pt x="367" y="121"/>
                  </a:lnTo>
                  <a:lnTo>
                    <a:pt x="371" y="128"/>
                  </a:lnTo>
                  <a:lnTo>
                    <a:pt x="371" y="131"/>
                  </a:lnTo>
                  <a:lnTo>
                    <a:pt x="371" y="135"/>
                  </a:lnTo>
                  <a:lnTo>
                    <a:pt x="371" y="139"/>
                  </a:lnTo>
                  <a:lnTo>
                    <a:pt x="368" y="140"/>
                  </a:lnTo>
                  <a:lnTo>
                    <a:pt x="365" y="144"/>
                  </a:lnTo>
                  <a:lnTo>
                    <a:pt x="361" y="146"/>
                  </a:lnTo>
                  <a:lnTo>
                    <a:pt x="360" y="149"/>
                  </a:lnTo>
                  <a:lnTo>
                    <a:pt x="356" y="155"/>
                  </a:lnTo>
                  <a:lnTo>
                    <a:pt x="356" y="159"/>
                  </a:lnTo>
                  <a:lnTo>
                    <a:pt x="355" y="162"/>
                  </a:lnTo>
                  <a:lnTo>
                    <a:pt x="351" y="167"/>
                  </a:lnTo>
                  <a:lnTo>
                    <a:pt x="350" y="171"/>
                  </a:lnTo>
                  <a:lnTo>
                    <a:pt x="351" y="176"/>
                  </a:lnTo>
                  <a:lnTo>
                    <a:pt x="351" y="179"/>
                  </a:lnTo>
                  <a:lnTo>
                    <a:pt x="343" y="181"/>
                  </a:lnTo>
                  <a:lnTo>
                    <a:pt x="340" y="180"/>
                  </a:lnTo>
                  <a:lnTo>
                    <a:pt x="337" y="180"/>
                  </a:lnTo>
                  <a:lnTo>
                    <a:pt x="336" y="183"/>
                  </a:lnTo>
                  <a:lnTo>
                    <a:pt x="333" y="184"/>
                  </a:lnTo>
                  <a:lnTo>
                    <a:pt x="329" y="182"/>
                  </a:lnTo>
                  <a:lnTo>
                    <a:pt x="326" y="181"/>
                  </a:lnTo>
                  <a:lnTo>
                    <a:pt x="320" y="184"/>
                  </a:lnTo>
                  <a:lnTo>
                    <a:pt x="317" y="189"/>
                  </a:lnTo>
                  <a:lnTo>
                    <a:pt x="315" y="195"/>
                  </a:lnTo>
                  <a:lnTo>
                    <a:pt x="311" y="201"/>
                  </a:lnTo>
                  <a:lnTo>
                    <a:pt x="306" y="201"/>
                  </a:lnTo>
                  <a:lnTo>
                    <a:pt x="303" y="202"/>
                  </a:lnTo>
                  <a:lnTo>
                    <a:pt x="300" y="204"/>
                  </a:lnTo>
                  <a:lnTo>
                    <a:pt x="297" y="204"/>
                  </a:lnTo>
                  <a:lnTo>
                    <a:pt x="289" y="202"/>
                  </a:lnTo>
                  <a:lnTo>
                    <a:pt x="285" y="201"/>
                  </a:lnTo>
                  <a:lnTo>
                    <a:pt x="281" y="197"/>
                  </a:lnTo>
                  <a:lnTo>
                    <a:pt x="280" y="193"/>
                  </a:lnTo>
                  <a:lnTo>
                    <a:pt x="272" y="188"/>
                  </a:lnTo>
                  <a:lnTo>
                    <a:pt x="268" y="185"/>
                  </a:lnTo>
                  <a:lnTo>
                    <a:pt x="259" y="182"/>
                  </a:lnTo>
                  <a:lnTo>
                    <a:pt x="253" y="177"/>
                  </a:lnTo>
                  <a:lnTo>
                    <a:pt x="249" y="176"/>
                  </a:lnTo>
                  <a:lnTo>
                    <a:pt x="246" y="172"/>
                  </a:lnTo>
                  <a:lnTo>
                    <a:pt x="242" y="172"/>
                  </a:lnTo>
                  <a:lnTo>
                    <a:pt x="238" y="171"/>
                  </a:lnTo>
                  <a:lnTo>
                    <a:pt x="234" y="172"/>
                  </a:lnTo>
                  <a:lnTo>
                    <a:pt x="216" y="173"/>
                  </a:lnTo>
                  <a:lnTo>
                    <a:pt x="212" y="170"/>
                  </a:lnTo>
                  <a:lnTo>
                    <a:pt x="211" y="167"/>
                  </a:lnTo>
                  <a:lnTo>
                    <a:pt x="208" y="165"/>
                  </a:lnTo>
                  <a:lnTo>
                    <a:pt x="206" y="163"/>
                  </a:lnTo>
                  <a:lnTo>
                    <a:pt x="204" y="157"/>
                  </a:lnTo>
                  <a:lnTo>
                    <a:pt x="202" y="154"/>
                  </a:lnTo>
                  <a:lnTo>
                    <a:pt x="199" y="152"/>
                  </a:lnTo>
                  <a:lnTo>
                    <a:pt x="199" y="155"/>
                  </a:lnTo>
                  <a:lnTo>
                    <a:pt x="191" y="160"/>
                  </a:lnTo>
                  <a:lnTo>
                    <a:pt x="186" y="169"/>
                  </a:lnTo>
                  <a:lnTo>
                    <a:pt x="183" y="172"/>
                  </a:lnTo>
                  <a:lnTo>
                    <a:pt x="180" y="173"/>
                  </a:lnTo>
                  <a:lnTo>
                    <a:pt x="176" y="171"/>
                  </a:lnTo>
                  <a:lnTo>
                    <a:pt x="173" y="172"/>
                  </a:lnTo>
                  <a:lnTo>
                    <a:pt x="168" y="176"/>
                  </a:lnTo>
                  <a:lnTo>
                    <a:pt x="165" y="177"/>
                  </a:lnTo>
                  <a:lnTo>
                    <a:pt x="156" y="173"/>
                  </a:lnTo>
                  <a:lnTo>
                    <a:pt x="150" y="172"/>
                  </a:lnTo>
                  <a:lnTo>
                    <a:pt x="145" y="174"/>
                  </a:lnTo>
                  <a:lnTo>
                    <a:pt x="142" y="172"/>
                  </a:lnTo>
                  <a:lnTo>
                    <a:pt x="137" y="173"/>
                  </a:lnTo>
                  <a:lnTo>
                    <a:pt x="133" y="176"/>
                  </a:lnTo>
                  <a:lnTo>
                    <a:pt x="122" y="174"/>
                  </a:lnTo>
                  <a:lnTo>
                    <a:pt x="115" y="177"/>
                  </a:lnTo>
                  <a:lnTo>
                    <a:pt x="113" y="182"/>
                  </a:lnTo>
                  <a:lnTo>
                    <a:pt x="110" y="183"/>
                  </a:lnTo>
                  <a:lnTo>
                    <a:pt x="108" y="181"/>
                  </a:lnTo>
                  <a:lnTo>
                    <a:pt x="105" y="177"/>
                  </a:lnTo>
                  <a:lnTo>
                    <a:pt x="103" y="175"/>
                  </a:lnTo>
                  <a:lnTo>
                    <a:pt x="100" y="175"/>
                  </a:lnTo>
                  <a:lnTo>
                    <a:pt x="97" y="178"/>
                  </a:lnTo>
                  <a:lnTo>
                    <a:pt x="89" y="182"/>
                  </a:lnTo>
                  <a:lnTo>
                    <a:pt x="85" y="180"/>
                  </a:lnTo>
                  <a:lnTo>
                    <a:pt x="80" y="179"/>
                  </a:lnTo>
                  <a:lnTo>
                    <a:pt x="65" y="183"/>
                  </a:lnTo>
                  <a:lnTo>
                    <a:pt x="62" y="181"/>
                  </a:lnTo>
                  <a:lnTo>
                    <a:pt x="59" y="181"/>
                  </a:lnTo>
                  <a:lnTo>
                    <a:pt x="40" y="194"/>
                  </a:lnTo>
                  <a:lnTo>
                    <a:pt x="35" y="195"/>
                  </a:lnTo>
                  <a:lnTo>
                    <a:pt x="27" y="204"/>
                  </a:lnTo>
                  <a:lnTo>
                    <a:pt x="24" y="205"/>
                  </a:lnTo>
                  <a:lnTo>
                    <a:pt x="21" y="208"/>
                  </a:lnTo>
                  <a:lnTo>
                    <a:pt x="19" y="212"/>
                  </a:lnTo>
                  <a:lnTo>
                    <a:pt x="19" y="215"/>
                  </a:lnTo>
                  <a:lnTo>
                    <a:pt x="17" y="220"/>
                  </a:lnTo>
                  <a:lnTo>
                    <a:pt x="12" y="221"/>
                  </a:lnTo>
                  <a:lnTo>
                    <a:pt x="9" y="218"/>
                  </a:lnTo>
                  <a:lnTo>
                    <a:pt x="8" y="215"/>
                  </a:lnTo>
                  <a:lnTo>
                    <a:pt x="5" y="210"/>
                  </a:lnTo>
                  <a:lnTo>
                    <a:pt x="3" y="206"/>
                  </a:lnTo>
                  <a:lnTo>
                    <a:pt x="4" y="203"/>
                  </a:lnTo>
                  <a:lnTo>
                    <a:pt x="2" y="198"/>
                  </a:lnTo>
                  <a:lnTo>
                    <a:pt x="2" y="193"/>
                  </a:lnTo>
                  <a:lnTo>
                    <a:pt x="2" y="190"/>
                  </a:lnTo>
                  <a:lnTo>
                    <a:pt x="2" y="186"/>
                  </a:lnTo>
                  <a:lnTo>
                    <a:pt x="1" y="182"/>
                  </a:lnTo>
                  <a:lnTo>
                    <a:pt x="4" y="185"/>
                  </a:lnTo>
                  <a:lnTo>
                    <a:pt x="4" y="187"/>
                  </a:lnTo>
                  <a:lnTo>
                    <a:pt x="4" y="191"/>
                  </a:lnTo>
                  <a:lnTo>
                    <a:pt x="7" y="192"/>
                  </a:lnTo>
                  <a:lnTo>
                    <a:pt x="6" y="189"/>
                  </a:lnTo>
                  <a:lnTo>
                    <a:pt x="5" y="186"/>
                  </a:lnTo>
                  <a:lnTo>
                    <a:pt x="5" y="183"/>
                  </a:lnTo>
                  <a:lnTo>
                    <a:pt x="3" y="180"/>
                  </a:lnTo>
                  <a:lnTo>
                    <a:pt x="0" y="178"/>
                  </a:lnTo>
                  <a:lnTo>
                    <a:pt x="1" y="174"/>
                  </a:lnTo>
                  <a:lnTo>
                    <a:pt x="1" y="168"/>
                  </a:lnTo>
                  <a:lnTo>
                    <a:pt x="2" y="165"/>
                  </a:lnTo>
                  <a:lnTo>
                    <a:pt x="1" y="157"/>
                  </a:lnTo>
                  <a:lnTo>
                    <a:pt x="0" y="154"/>
                  </a:lnTo>
                  <a:lnTo>
                    <a:pt x="0" y="151"/>
                  </a:lnTo>
                  <a:lnTo>
                    <a:pt x="3" y="147"/>
                  </a:lnTo>
                  <a:lnTo>
                    <a:pt x="7" y="144"/>
                  </a:lnTo>
                  <a:lnTo>
                    <a:pt x="9" y="140"/>
                  </a:lnTo>
                  <a:lnTo>
                    <a:pt x="12" y="135"/>
                  </a:lnTo>
                  <a:lnTo>
                    <a:pt x="14" y="131"/>
                  </a:lnTo>
                  <a:lnTo>
                    <a:pt x="14" y="126"/>
                  </a:lnTo>
                  <a:lnTo>
                    <a:pt x="13" y="122"/>
                  </a:lnTo>
                  <a:lnTo>
                    <a:pt x="12" y="119"/>
                  </a:lnTo>
                  <a:lnTo>
                    <a:pt x="12" y="116"/>
                  </a:lnTo>
                  <a:lnTo>
                    <a:pt x="11" y="110"/>
                  </a:lnTo>
                  <a:lnTo>
                    <a:pt x="11" y="107"/>
                  </a:lnTo>
                  <a:lnTo>
                    <a:pt x="12" y="103"/>
                  </a:lnTo>
                  <a:lnTo>
                    <a:pt x="14" y="97"/>
                  </a:lnTo>
                  <a:lnTo>
                    <a:pt x="17" y="92"/>
                  </a:lnTo>
                  <a:lnTo>
                    <a:pt x="21" y="80"/>
                  </a:lnTo>
                  <a:lnTo>
                    <a:pt x="24" y="77"/>
                  </a:lnTo>
                  <a:lnTo>
                    <a:pt x="33" y="75"/>
                  </a:lnTo>
                  <a:lnTo>
                    <a:pt x="56" y="56"/>
                  </a:lnTo>
                  <a:lnTo>
                    <a:pt x="60" y="53"/>
                  </a:lnTo>
                  <a:lnTo>
                    <a:pt x="62" y="58"/>
                  </a:lnTo>
                  <a:lnTo>
                    <a:pt x="63" y="63"/>
                  </a:lnTo>
                  <a:lnTo>
                    <a:pt x="64" y="66"/>
                  </a:lnTo>
                  <a:lnTo>
                    <a:pt x="67" y="69"/>
                  </a:lnTo>
                  <a:lnTo>
                    <a:pt x="80" y="77"/>
                  </a:lnTo>
                  <a:lnTo>
                    <a:pt x="84" y="81"/>
                  </a:lnTo>
                  <a:lnTo>
                    <a:pt x="89" y="83"/>
                  </a:lnTo>
                  <a:lnTo>
                    <a:pt x="93" y="84"/>
                  </a:lnTo>
                  <a:lnTo>
                    <a:pt x="95" y="85"/>
                  </a:lnTo>
                  <a:lnTo>
                    <a:pt x="98" y="89"/>
                  </a:lnTo>
                  <a:lnTo>
                    <a:pt x="99" y="92"/>
                  </a:lnTo>
                  <a:lnTo>
                    <a:pt x="100" y="96"/>
                  </a:lnTo>
                  <a:lnTo>
                    <a:pt x="103" y="99"/>
                  </a:lnTo>
                  <a:lnTo>
                    <a:pt x="106" y="107"/>
                  </a:lnTo>
                  <a:lnTo>
                    <a:pt x="108" y="109"/>
                  </a:lnTo>
                  <a:lnTo>
                    <a:pt x="111" y="111"/>
                  </a:lnTo>
                  <a:lnTo>
                    <a:pt x="115" y="112"/>
                  </a:lnTo>
                  <a:lnTo>
                    <a:pt x="120" y="112"/>
                  </a:lnTo>
                  <a:lnTo>
                    <a:pt x="124" y="115"/>
                  </a:lnTo>
                  <a:lnTo>
                    <a:pt x="127" y="116"/>
                  </a:lnTo>
                  <a:lnTo>
                    <a:pt x="130" y="116"/>
                  </a:lnTo>
                  <a:lnTo>
                    <a:pt x="138" y="112"/>
                  </a:lnTo>
                  <a:lnTo>
                    <a:pt x="142" y="109"/>
                  </a:lnTo>
                  <a:lnTo>
                    <a:pt x="145" y="103"/>
                  </a:lnTo>
                  <a:lnTo>
                    <a:pt x="153" y="97"/>
                  </a:lnTo>
                  <a:lnTo>
                    <a:pt x="154" y="93"/>
                  </a:lnTo>
                  <a:lnTo>
                    <a:pt x="156" y="90"/>
                  </a:lnTo>
                  <a:lnTo>
                    <a:pt x="159" y="85"/>
                  </a:lnTo>
                  <a:lnTo>
                    <a:pt x="159" y="79"/>
                  </a:lnTo>
                  <a:lnTo>
                    <a:pt x="158" y="75"/>
                  </a:lnTo>
                  <a:lnTo>
                    <a:pt x="154" y="64"/>
                  </a:lnTo>
                  <a:lnTo>
                    <a:pt x="154" y="60"/>
                  </a:lnTo>
                  <a:lnTo>
                    <a:pt x="152" y="57"/>
                  </a:lnTo>
                  <a:lnTo>
                    <a:pt x="151" y="53"/>
                  </a:lnTo>
                  <a:lnTo>
                    <a:pt x="151" y="50"/>
                  </a:lnTo>
                  <a:lnTo>
                    <a:pt x="150" y="45"/>
                  </a:lnTo>
                  <a:lnTo>
                    <a:pt x="146" y="40"/>
                  </a:lnTo>
                  <a:lnTo>
                    <a:pt x="145" y="37"/>
                  </a:lnTo>
                  <a:lnTo>
                    <a:pt x="143" y="33"/>
                  </a:lnTo>
                  <a:lnTo>
                    <a:pt x="143" y="30"/>
                  </a:lnTo>
                  <a:lnTo>
                    <a:pt x="145" y="28"/>
                  </a:lnTo>
                  <a:lnTo>
                    <a:pt x="148" y="27"/>
                  </a:lnTo>
                  <a:lnTo>
                    <a:pt x="148" y="23"/>
                  </a:lnTo>
                  <a:lnTo>
                    <a:pt x="150" y="21"/>
                  </a:lnTo>
                  <a:lnTo>
                    <a:pt x="152" y="18"/>
                  </a:lnTo>
                  <a:lnTo>
                    <a:pt x="157" y="17"/>
                  </a:lnTo>
                  <a:lnTo>
                    <a:pt x="160" y="16"/>
                  </a:lnTo>
                  <a:lnTo>
                    <a:pt x="161" y="13"/>
                  </a:lnTo>
                  <a:lnTo>
                    <a:pt x="166" y="13"/>
                  </a:lnTo>
                  <a:lnTo>
                    <a:pt x="169" y="10"/>
                  </a:lnTo>
                  <a:lnTo>
                    <a:pt x="172" y="9"/>
                  </a:lnTo>
                  <a:lnTo>
                    <a:pt x="176" y="3"/>
                  </a:lnTo>
                  <a:lnTo>
                    <a:pt x="180" y="1"/>
                  </a:lnTo>
                  <a:lnTo>
                    <a:pt x="183" y="3"/>
                  </a:lnTo>
                  <a:lnTo>
                    <a:pt x="185" y="7"/>
                  </a:lnTo>
                  <a:lnTo>
                    <a:pt x="187" y="6"/>
                  </a:lnTo>
                  <a:lnTo>
                    <a:pt x="187" y="4"/>
                  </a:lnTo>
                  <a:lnTo>
                    <a:pt x="185" y="0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rgbClr val="AB5905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21" name="LT">
              <a:extLst>
                <a:ext uri="{FF2B5EF4-FFF2-40B4-BE49-F238E27FC236}">
                  <a16:creationId xmlns:a16="http://schemas.microsoft.com/office/drawing/2014/main" id="{E5A7CD41-4896-1AAA-97C3-01961F5559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0153" y="3308418"/>
              <a:ext cx="594733" cy="441957"/>
            </a:xfrm>
            <a:custGeom>
              <a:avLst/>
              <a:gdLst>
                <a:gd name="T0" fmla="*/ 13 w 312"/>
                <a:gd name="T1" fmla="*/ 118 h 245"/>
                <a:gd name="T2" fmla="*/ 12 w 312"/>
                <a:gd name="T3" fmla="*/ 132 h 245"/>
                <a:gd name="T4" fmla="*/ 9 w 312"/>
                <a:gd name="T5" fmla="*/ 136 h 245"/>
                <a:gd name="T6" fmla="*/ 10 w 312"/>
                <a:gd name="T7" fmla="*/ 112 h 245"/>
                <a:gd name="T8" fmla="*/ 194 w 312"/>
                <a:gd name="T9" fmla="*/ 4 h 245"/>
                <a:gd name="T10" fmla="*/ 202 w 312"/>
                <a:gd name="T11" fmla="*/ 17 h 245"/>
                <a:gd name="T12" fmla="*/ 231 w 312"/>
                <a:gd name="T13" fmla="*/ 19 h 245"/>
                <a:gd name="T14" fmla="*/ 249 w 312"/>
                <a:gd name="T15" fmla="*/ 29 h 245"/>
                <a:gd name="T16" fmla="*/ 271 w 312"/>
                <a:gd name="T17" fmla="*/ 44 h 245"/>
                <a:gd name="T18" fmla="*/ 290 w 312"/>
                <a:gd name="T19" fmla="*/ 51 h 245"/>
                <a:gd name="T20" fmla="*/ 293 w 312"/>
                <a:gd name="T21" fmla="*/ 63 h 245"/>
                <a:gd name="T22" fmla="*/ 293 w 312"/>
                <a:gd name="T23" fmla="*/ 77 h 245"/>
                <a:gd name="T24" fmla="*/ 302 w 312"/>
                <a:gd name="T25" fmla="*/ 82 h 245"/>
                <a:gd name="T26" fmla="*/ 307 w 312"/>
                <a:gd name="T27" fmla="*/ 91 h 245"/>
                <a:gd name="T28" fmla="*/ 289 w 312"/>
                <a:gd name="T29" fmla="*/ 101 h 245"/>
                <a:gd name="T30" fmla="*/ 286 w 312"/>
                <a:gd name="T31" fmla="*/ 116 h 245"/>
                <a:gd name="T32" fmla="*/ 274 w 312"/>
                <a:gd name="T33" fmla="*/ 124 h 245"/>
                <a:gd name="T34" fmla="*/ 268 w 312"/>
                <a:gd name="T35" fmla="*/ 135 h 245"/>
                <a:gd name="T36" fmla="*/ 268 w 312"/>
                <a:gd name="T37" fmla="*/ 151 h 245"/>
                <a:gd name="T38" fmla="*/ 268 w 312"/>
                <a:gd name="T39" fmla="*/ 166 h 245"/>
                <a:gd name="T40" fmla="*/ 266 w 312"/>
                <a:gd name="T41" fmla="*/ 182 h 245"/>
                <a:gd name="T42" fmla="*/ 275 w 312"/>
                <a:gd name="T43" fmla="*/ 186 h 245"/>
                <a:gd name="T44" fmla="*/ 280 w 312"/>
                <a:gd name="T45" fmla="*/ 200 h 245"/>
                <a:gd name="T46" fmla="*/ 268 w 312"/>
                <a:gd name="T47" fmla="*/ 199 h 245"/>
                <a:gd name="T48" fmla="*/ 261 w 312"/>
                <a:gd name="T49" fmla="*/ 190 h 245"/>
                <a:gd name="T50" fmla="*/ 250 w 312"/>
                <a:gd name="T51" fmla="*/ 202 h 245"/>
                <a:gd name="T52" fmla="*/ 236 w 312"/>
                <a:gd name="T53" fmla="*/ 209 h 245"/>
                <a:gd name="T54" fmla="*/ 234 w 312"/>
                <a:gd name="T55" fmla="*/ 222 h 245"/>
                <a:gd name="T56" fmla="*/ 221 w 312"/>
                <a:gd name="T57" fmla="*/ 228 h 245"/>
                <a:gd name="T58" fmla="*/ 207 w 312"/>
                <a:gd name="T59" fmla="*/ 239 h 245"/>
                <a:gd name="T60" fmla="*/ 191 w 312"/>
                <a:gd name="T61" fmla="*/ 239 h 245"/>
                <a:gd name="T62" fmla="*/ 175 w 312"/>
                <a:gd name="T63" fmla="*/ 243 h 245"/>
                <a:gd name="T64" fmla="*/ 163 w 312"/>
                <a:gd name="T65" fmla="*/ 237 h 245"/>
                <a:gd name="T66" fmla="*/ 157 w 312"/>
                <a:gd name="T67" fmla="*/ 223 h 245"/>
                <a:gd name="T68" fmla="*/ 144 w 312"/>
                <a:gd name="T69" fmla="*/ 217 h 245"/>
                <a:gd name="T70" fmla="*/ 132 w 312"/>
                <a:gd name="T71" fmla="*/ 211 h 245"/>
                <a:gd name="T72" fmla="*/ 122 w 312"/>
                <a:gd name="T73" fmla="*/ 207 h 245"/>
                <a:gd name="T74" fmla="*/ 112 w 312"/>
                <a:gd name="T75" fmla="*/ 204 h 245"/>
                <a:gd name="T76" fmla="*/ 110 w 312"/>
                <a:gd name="T77" fmla="*/ 186 h 245"/>
                <a:gd name="T78" fmla="*/ 114 w 312"/>
                <a:gd name="T79" fmla="*/ 173 h 245"/>
                <a:gd name="T80" fmla="*/ 106 w 312"/>
                <a:gd name="T81" fmla="*/ 159 h 245"/>
                <a:gd name="T82" fmla="*/ 96 w 312"/>
                <a:gd name="T83" fmla="*/ 149 h 245"/>
                <a:gd name="T84" fmla="*/ 71 w 312"/>
                <a:gd name="T85" fmla="*/ 156 h 245"/>
                <a:gd name="T86" fmla="*/ 58 w 312"/>
                <a:gd name="T87" fmla="*/ 152 h 245"/>
                <a:gd name="T88" fmla="*/ 43 w 312"/>
                <a:gd name="T89" fmla="*/ 146 h 245"/>
                <a:gd name="T90" fmla="*/ 25 w 312"/>
                <a:gd name="T91" fmla="*/ 144 h 245"/>
                <a:gd name="T92" fmla="*/ 19 w 312"/>
                <a:gd name="T93" fmla="*/ 136 h 245"/>
                <a:gd name="T94" fmla="*/ 18 w 312"/>
                <a:gd name="T95" fmla="*/ 120 h 245"/>
                <a:gd name="T96" fmla="*/ 12 w 312"/>
                <a:gd name="T97" fmla="*/ 104 h 245"/>
                <a:gd name="T98" fmla="*/ 2 w 312"/>
                <a:gd name="T99" fmla="*/ 83 h 245"/>
                <a:gd name="T100" fmla="*/ 5 w 312"/>
                <a:gd name="T101" fmla="*/ 68 h 245"/>
                <a:gd name="T102" fmla="*/ 17 w 312"/>
                <a:gd name="T103" fmla="*/ 52 h 245"/>
                <a:gd name="T104" fmla="*/ 51 w 312"/>
                <a:gd name="T105" fmla="*/ 28 h 245"/>
                <a:gd name="T106" fmla="*/ 78 w 312"/>
                <a:gd name="T107" fmla="*/ 29 h 245"/>
                <a:gd name="T108" fmla="*/ 95 w 312"/>
                <a:gd name="T109" fmla="*/ 24 h 245"/>
                <a:gd name="T110" fmla="*/ 105 w 312"/>
                <a:gd name="T111" fmla="*/ 26 h 245"/>
                <a:gd name="T112" fmla="*/ 130 w 312"/>
                <a:gd name="T113" fmla="*/ 20 h 245"/>
                <a:gd name="T114" fmla="*/ 152 w 312"/>
                <a:gd name="T115" fmla="*/ 23 h 245"/>
                <a:gd name="T116" fmla="*/ 170 w 312"/>
                <a:gd name="T117" fmla="*/ 20 h 245"/>
                <a:gd name="T118" fmla="*/ 187 w 312"/>
                <a:gd name="T119" fmla="*/ 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245">
                  <a:moveTo>
                    <a:pt x="9" y="103"/>
                  </a:moveTo>
                  <a:lnTo>
                    <a:pt x="11" y="106"/>
                  </a:lnTo>
                  <a:lnTo>
                    <a:pt x="13" y="115"/>
                  </a:lnTo>
                  <a:lnTo>
                    <a:pt x="13" y="118"/>
                  </a:lnTo>
                  <a:lnTo>
                    <a:pt x="13" y="123"/>
                  </a:lnTo>
                  <a:lnTo>
                    <a:pt x="12" y="126"/>
                  </a:lnTo>
                  <a:lnTo>
                    <a:pt x="13" y="128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10" y="143"/>
                  </a:lnTo>
                  <a:lnTo>
                    <a:pt x="5" y="143"/>
                  </a:lnTo>
                  <a:lnTo>
                    <a:pt x="9" y="136"/>
                  </a:lnTo>
                  <a:lnTo>
                    <a:pt x="10" y="130"/>
                  </a:lnTo>
                  <a:lnTo>
                    <a:pt x="11" y="122"/>
                  </a:lnTo>
                  <a:lnTo>
                    <a:pt x="11" y="114"/>
                  </a:lnTo>
                  <a:lnTo>
                    <a:pt x="10" y="112"/>
                  </a:lnTo>
                  <a:lnTo>
                    <a:pt x="9" y="103"/>
                  </a:lnTo>
                  <a:close/>
                  <a:moveTo>
                    <a:pt x="189" y="0"/>
                  </a:moveTo>
                  <a:lnTo>
                    <a:pt x="192" y="1"/>
                  </a:lnTo>
                  <a:lnTo>
                    <a:pt x="194" y="4"/>
                  </a:lnTo>
                  <a:lnTo>
                    <a:pt x="196" y="10"/>
                  </a:lnTo>
                  <a:lnTo>
                    <a:pt x="198" y="12"/>
                  </a:lnTo>
                  <a:lnTo>
                    <a:pt x="201" y="14"/>
                  </a:lnTo>
                  <a:lnTo>
                    <a:pt x="202" y="17"/>
                  </a:lnTo>
                  <a:lnTo>
                    <a:pt x="204" y="19"/>
                  </a:lnTo>
                  <a:lnTo>
                    <a:pt x="224" y="19"/>
                  </a:lnTo>
                  <a:lnTo>
                    <a:pt x="228" y="18"/>
                  </a:lnTo>
                  <a:lnTo>
                    <a:pt x="231" y="19"/>
                  </a:lnTo>
                  <a:lnTo>
                    <a:pt x="235" y="18"/>
                  </a:lnTo>
                  <a:lnTo>
                    <a:pt x="238" y="22"/>
                  </a:lnTo>
                  <a:lnTo>
                    <a:pt x="243" y="24"/>
                  </a:lnTo>
                  <a:lnTo>
                    <a:pt x="249" y="29"/>
                  </a:lnTo>
                  <a:lnTo>
                    <a:pt x="258" y="32"/>
                  </a:lnTo>
                  <a:lnTo>
                    <a:pt x="262" y="35"/>
                  </a:lnTo>
                  <a:lnTo>
                    <a:pt x="268" y="38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9" y="49"/>
                  </a:lnTo>
                  <a:lnTo>
                    <a:pt x="287" y="51"/>
                  </a:lnTo>
                  <a:lnTo>
                    <a:pt x="290" y="51"/>
                  </a:lnTo>
                  <a:lnTo>
                    <a:pt x="293" y="51"/>
                  </a:lnTo>
                  <a:lnTo>
                    <a:pt x="294" y="55"/>
                  </a:lnTo>
                  <a:lnTo>
                    <a:pt x="295" y="60"/>
                  </a:lnTo>
                  <a:lnTo>
                    <a:pt x="293" y="63"/>
                  </a:lnTo>
                  <a:lnTo>
                    <a:pt x="293" y="67"/>
                  </a:lnTo>
                  <a:lnTo>
                    <a:pt x="295" y="70"/>
                  </a:lnTo>
                  <a:lnTo>
                    <a:pt x="293" y="73"/>
                  </a:lnTo>
                  <a:lnTo>
                    <a:pt x="293" y="77"/>
                  </a:lnTo>
                  <a:lnTo>
                    <a:pt x="292" y="80"/>
                  </a:lnTo>
                  <a:lnTo>
                    <a:pt x="293" y="83"/>
                  </a:lnTo>
                  <a:lnTo>
                    <a:pt x="297" y="84"/>
                  </a:lnTo>
                  <a:lnTo>
                    <a:pt x="302" y="82"/>
                  </a:lnTo>
                  <a:lnTo>
                    <a:pt x="310" y="82"/>
                  </a:lnTo>
                  <a:lnTo>
                    <a:pt x="312" y="85"/>
                  </a:lnTo>
                  <a:lnTo>
                    <a:pt x="308" y="88"/>
                  </a:lnTo>
                  <a:lnTo>
                    <a:pt x="307" y="91"/>
                  </a:lnTo>
                  <a:lnTo>
                    <a:pt x="306" y="96"/>
                  </a:lnTo>
                  <a:lnTo>
                    <a:pt x="306" y="98"/>
                  </a:lnTo>
                  <a:lnTo>
                    <a:pt x="299" y="99"/>
                  </a:lnTo>
                  <a:lnTo>
                    <a:pt x="289" y="101"/>
                  </a:lnTo>
                  <a:lnTo>
                    <a:pt x="287" y="102"/>
                  </a:lnTo>
                  <a:lnTo>
                    <a:pt x="286" y="105"/>
                  </a:lnTo>
                  <a:lnTo>
                    <a:pt x="287" y="108"/>
                  </a:lnTo>
                  <a:lnTo>
                    <a:pt x="286" y="116"/>
                  </a:lnTo>
                  <a:lnTo>
                    <a:pt x="285" y="119"/>
                  </a:lnTo>
                  <a:lnTo>
                    <a:pt x="283" y="122"/>
                  </a:lnTo>
                  <a:lnTo>
                    <a:pt x="277" y="124"/>
                  </a:lnTo>
                  <a:lnTo>
                    <a:pt x="274" y="124"/>
                  </a:lnTo>
                  <a:lnTo>
                    <a:pt x="271" y="126"/>
                  </a:lnTo>
                  <a:lnTo>
                    <a:pt x="271" y="129"/>
                  </a:lnTo>
                  <a:lnTo>
                    <a:pt x="269" y="132"/>
                  </a:lnTo>
                  <a:lnTo>
                    <a:pt x="268" y="135"/>
                  </a:lnTo>
                  <a:lnTo>
                    <a:pt x="269" y="137"/>
                  </a:lnTo>
                  <a:lnTo>
                    <a:pt x="267" y="141"/>
                  </a:lnTo>
                  <a:lnTo>
                    <a:pt x="268" y="148"/>
                  </a:lnTo>
                  <a:lnTo>
                    <a:pt x="268" y="151"/>
                  </a:lnTo>
                  <a:lnTo>
                    <a:pt x="269" y="154"/>
                  </a:lnTo>
                  <a:lnTo>
                    <a:pt x="271" y="157"/>
                  </a:lnTo>
                  <a:lnTo>
                    <a:pt x="272" y="161"/>
                  </a:lnTo>
                  <a:lnTo>
                    <a:pt x="268" y="166"/>
                  </a:lnTo>
                  <a:lnTo>
                    <a:pt x="267" y="169"/>
                  </a:lnTo>
                  <a:lnTo>
                    <a:pt x="268" y="174"/>
                  </a:lnTo>
                  <a:lnTo>
                    <a:pt x="268" y="178"/>
                  </a:lnTo>
                  <a:lnTo>
                    <a:pt x="266" y="182"/>
                  </a:lnTo>
                  <a:lnTo>
                    <a:pt x="266" y="187"/>
                  </a:lnTo>
                  <a:lnTo>
                    <a:pt x="270" y="187"/>
                  </a:lnTo>
                  <a:lnTo>
                    <a:pt x="273" y="185"/>
                  </a:lnTo>
                  <a:lnTo>
                    <a:pt x="275" y="186"/>
                  </a:lnTo>
                  <a:lnTo>
                    <a:pt x="278" y="188"/>
                  </a:lnTo>
                  <a:lnTo>
                    <a:pt x="280" y="190"/>
                  </a:lnTo>
                  <a:lnTo>
                    <a:pt x="282" y="197"/>
                  </a:lnTo>
                  <a:lnTo>
                    <a:pt x="280" y="200"/>
                  </a:lnTo>
                  <a:lnTo>
                    <a:pt x="276" y="202"/>
                  </a:lnTo>
                  <a:lnTo>
                    <a:pt x="270" y="203"/>
                  </a:lnTo>
                  <a:lnTo>
                    <a:pt x="267" y="202"/>
                  </a:lnTo>
                  <a:lnTo>
                    <a:pt x="268" y="199"/>
                  </a:lnTo>
                  <a:lnTo>
                    <a:pt x="266" y="196"/>
                  </a:lnTo>
                  <a:lnTo>
                    <a:pt x="269" y="195"/>
                  </a:lnTo>
                  <a:lnTo>
                    <a:pt x="264" y="190"/>
                  </a:lnTo>
                  <a:lnTo>
                    <a:pt x="261" y="190"/>
                  </a:lnTo>
                  <a:lnTo>
                    <a:pt x="260" y="194"/>
                  </a:lnTo>
                  <a:lnTo>
                    <a:pt x="255" y="196"/>
                  </a:lnTo>
                  <a:lnTo>
                    <a:pt x="251" y="196"/>
                  </a:lnTo>
                  <a:lnTo>
                    <a:pt x="250" y="202"/>
                  </a:lnTo>
                  <a:lnTo>
                    <a:pt x="248" y="207"/>
                  </a:lnTo>
                  <a:lnTo>
                    <a:pt x="243" y="210"/>
                  </a:lnTo>
                  <a:lnTo>
                    <a:pt x="239" y="209"/>
                  </a:lnTo>
                  <a:lnTo>
                    <a:pt x="236" y="209"/>
                  </a:lnTo>
                  <a:lnTo>
                    <a:pt x="234" y="210"/>
                  </a:lnTo>
                  <a:lnTo>
                    <a:pt x="231" y="215"/>
                  </a:lnTo>
                  <a:lnTo>
                    <a:pt x="233" y="219"/>
                  </a:lnTo>
                  <a:lnTo>
                    <a:pt x="234" y="222"/>
                  </a:lnTo>
                  <a:lnTo>
                    <a:pt x="235" y="226"/>
                  </a:lnTo>
                  <a:lnTo>
                    <a:pt x="230" y="228"/>
                  </a:lnTo>
                  <a:lnTo>
                    <a:pt x="227" y="226"/>
                  </a:lnTo>
                  <a:lnTo>
                    <a:pt x="221" y="228"/>
                  </a:lnTo>
                  <a:lnTo>
                    <a:pt x="219" y="230"/>
                  </a:lnTo>
                  <a:lnTo>
                    <a:pt x="214" y="237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4" y="236"/>
                  </a:lnTo>
                  <a:lnTo>
                    <a:pt x="200" y="234"/>
                  </a:lnTo>
                  <a:lnTo>
                    <a:pt x="195" y="237"/>
                  </a:lnTo>
                  <a:lnTo>
                    <a:pt x="191" y="239"/>
                  </a:lnTo>
                  <a:lnTo>
                    <a:pt x="188" y="238"/>
                  </a:lnTo>
                  <a:lnTo>
                    <a:pt x="183" y="241"/>
                  </a:lnTo>
                  <a:lnTo>
                    <a:pt x="180" y="241"/>
                  </a:lnTo>
                  <a:lnTo>
                    <a:pt x="175" y="243"/>
                  </a:lnTo>
                  <a:lnTo>
                    <a:pt x="171" y="245"/>
                  </a:lnTo>
                  <a:lnTo>
                    <a:pt x="164" y="243"/>
                  </a:lnTo>
                  <a:lnTo>
                    <a:pt x="162" y="240"/>
                  </a:lnTo>
                  <a:lnTo>
                    <a:pt x="163" y="237"/>
                  </a:lnTo>
                  <a:lnTo>
                    <a:pt x="163" y="233"/>
                  </a:lnTo>
                  <a:lnTo>
                    <a:pt x="161" y="229"/>
                  </a:lnTo>
                  <a:lnTo>
                    <a:pt x="159" y="226"/>
                  </a:lnTo>
                  <a:lnTo>
                    <a:pt x="157" y="223"/>
                  </a:lnTo>
                  <a:lnTo>
                    <a:pt x="155" y="222"/>
                  </a:lnTo>
                  <a:lnTo>
                    <a:pt x="152" y="220"/>
                  </a:lnTo>
                  <a:lnTo>
                    <a:pt x="149" y="218"/>
                  </a:lnTo>
                  <a:lnTo>
                    <a:pt x="144" y="217"/>
                  </a:lnTo>
                  <a:lnTo>
                    <a:pt x="142" y="216"/>
                  </a:lnTo>
                  <a:lnTo>
                    <a:pt x="138" y="214"/>
                  </a:lnTo>
                  <a:lnTo>
                    <a:pt x="134" y="215"/>
                  </a:lnTo>
                  <a:lnTo>
                    <a:pt x="132" y="211"/>
                  </a:lnTo>
                  <a:lnTo>
                    <a:pt x="130" y="210"/>
                  </a:lnTo>
                  <a:lnTo>
                    <a:pt x="128" y="208"/>
                  </a:lnTo>
                  <a:lnTo>
                    <a:pt x="125" y="209"/>
                  </a:lnTo>
                  <a:lnTo>
                    <a:pt x="122" y="207"/>
                  </a:lnTo>
                  <a:lnTo>
                    <a:pt x="120" y="208"/>
                  </a:lnTo>
                  <a:lnTo>
                    <a:pt x="118" y="212"/>
                  </a:lnTo>
                  <a:lnTo>
                    <a:pt x="114" y="207"/>
                  </a:lnTo>
                  <a:lnTo>
                    <a:pt x="112" y="204"/>
                  </a:lnTo>
                  <a:lnTo>
                    <a:pt x="111" y="201"/>
                  </a:lnTo>
                  <a:lnTo>
                    <a:pt x="110" y="194"/>
                  </a:lnTo>
                  <a:lnTo>
                    <a:pt x="110" y="189"/>
                  </a:lnTo>
                  <a:lnTo>
                    <a:pt x="110" y="186"/>
                  </a:lnTo>
                  <a:lnTo>
                    <a:pt x="109" y="184"/>
                  </a:lnTo>
                  <a:lnTo>
                    <a:pt x="110" y="181"/>
                  </a:lnTo>
                  <a:lnTo>
                    <a:pt x="111" y="177"/>
                  </a:lnTo>
                  <a:lnTo>
                    <a:pt x="114" y="173"/>
                  </a:lnTo>
                  <a:lnTo>
                    <a:pt x="115" y="169"/>
                  </a:lnTo>
                  <a:lnTo>
                    <a:pt x="113" y="164"/>
                  </a:lnTo>
                  <a:lnTo>
                    <a:pt x="108" y="161"/>
                  </a:lnTo>
                  <a:lnTo>
                    <a:pt x="106" y="159"/>
                  </a:lnTo>
                  <a:lnTo>
                    <a:pt x="102" y="158"/>
                  </a:lnTo>
                  <a:lnTo>
                    <a:pt x="99" y="155"/>
                  </a:lnTo>
                  <a:lnTo>
                    <a:pt x="97" y="151"/>
                  </a:lnTo>
                  <a:lnTo>
                    <a:pt x="96" y="149"/>
                  </a:lnTo>
                  <a:lnTo>
                    <a:pt x="89" y="151"/>
                  </a:lnTo>
                  <a:lnTo>
                    <a:pt x="78" y="151"/>
                  </a:lnTo>
                  <a:lnTo>
                    <a:pt x="73" y="154"/>
                  </a:lnTo>
                  <a:lnTo>
                    <a:pt x="71" y="156"/>
                  </a:lnTo>
                  <a:lnTo>
                    <a:pt x="68" y="156"/>
                  </a:lnTo>
                  <a:lnTo>
                    <a:pt x="66" y="153"/>
                  </a:lnTo>
                  <a:lnTo>
                    <a:pt x="64" y="152"/>
                  </a:lnTo>
                  <a:lnTo>
                    <a:pt x="58" y="152"/>
                  </a:lnTo>
                  <a:lnTo>
                    <a:pt x="55" y="150"/>
                  </a:lnTo>
                  <a:lnTo>
                    <a:pt x="51" y="150"/>
                  </a:lnTo>
                  <a:lnTo>
                    <a:pt x="45" y="146"/>
                  </a:lnTo>
                  <a:lnTo>
                    <a:pt x="43" y="146"/>
                  </a:lnTo>
                  <a:lnTo>
                    <a:pt x="37" y="146"/>
                  </a:lnTo>
                  <a:lnTo>
                    <a:pt x="31" y="140"/>
                  </a:lnTo>
                  <a:lnTo>
                    <a:pt x="28" y="139"/>
                  </a:lnTo>
                  <a:lnTo>
                    <a:pt x="25" y="144"/>
                  </a:lnTo>
                  <a:lnTo>
                    <a:pt x="24" y="140"/>
                  </a:lnTo>
                  <a:lnTo>
                    <a:pt x="24" y="137"/>
                  </a:lnTo>
                  <a:lnTo>
                    <a:pt x="22" y="135"/>
                  </a:lnTo>
                  <a:lnTo>
                    <a:pt x="19" y="136"/>
                  </a:lnTo>
                  <a:lnTo>
                    <a:pt x="20" y="130"/>
                  </a:lnTo>
                  <a:lnTo>
                    <a:pt x="21" y="126"/>
                  </a:lnTo>
                  <a:lnTo>
                    <a:pt x="19" y="122"/>
                  </a:lnTo>
                  <a:lnTo>
                    <a:pt x="18" y="120"/>
                  </a:lnTo>
                  <a:lnTo>
                    <a:pt x="16" y="117"/>
                  </a:lnTo>
                  <a:lnTo>
                    <a:pt x="16" y="113"/>
                  </a:lnTo>
                  <a:lnTo>
                    <a:pt x="13" y="107"/>
                  </a:lnTo>
                  <a:lnTo>
                    <a:pt x="12" y="104"/>
                  </a:lnTo>
                  <a:lnTo>
                    <a:pt x="9" y="100"/>
                  </a:lnTo>
                  <a:lnTo>
                    <a:pt x="6" y="97"/>
                  </a:lnTo>
                  <a:lnTo>
                    <a:pt x="3" y="87"/>
                  </a:lnTo>
                  <a:lnTo>
                    <a:pt x="2" y="83"/>
                  </a:lnTo>
                  <a:lnTo>
                    <a:pt x="2" y="80"/>
                  </a:lnTo>
                  <a:lnTo>
                    <a:pt x="1" y="72"/>
                  </a:lnTo>
                  <a:lnTo>
                    <a:pt x="0" y="69"/>
                  </a:lnTo>
                  <a:lnTo>
                    <a:pt x="5" y="68"/>
                  </a:lnTo>
                  <a:lnTo>
                    <a:pt x="9" y="62"/>
                  </a:lnTo>
                  <a:lnTo>
                    <a:pt x="9" y="59"/>
                  </a:lnTo>
                  <a:lnTo>
                    <a:pt x="11" y="55"/>
                  </a:lnTo>
                  <a:lnTo>
                    <a:pt x="17" y="52"/>
                  </a:lnTo>
                  <a:lnTo>
                    <a:pt x="24" y="45"/>
                  </a:lnTo>
                  <a:lnTo>
                    <a:pt x="30" y="41"/>
                  </a:lnTo>
                  <a:lnTo>
                    <a:pt x="49" y="28"/>
                  </a:lnTo>
                  <a:lnTo>
                    <a:pt x="51" y="28"/>
                  </a:lnTo>
                  <a:lnTo>
                    <a:pt x="54" y="29"/>
                  </a:lnTo>
                  <a:lnTo>
                    <a:pt x="70" y="26"/>
                  </a:lnTo>
                  <a:lnTo>
                    <a:pt x="73" y="27"/>
                  </a:lnTo>
                  <a:lnTo>
                    <a:pt x="78" y="29"/>
                  </a:lnTo>
                  <a:lnTo>
                    <a:pt x="87" y="25"/>
                  </a:lnTo>
                  <a:lnTo>
                    <a:pt x="90" y="22"/>
                  </a:lnTo>
                  <a:lnTo>
                    <a:pt x="93" y="22"/>
                  </a:lnTo>
                  <a:lnTo>
                    <a:pt x="95" y="24"/>
                  </a:lnTo>
                  <a:lnTo>
                    <a:pt x="98" y="28"/>
                  </a:lnTo>
                  <a:lnTo>
                    <a:pt x="100" y="30"/>
                  </a:lnTo>
                  <a:lnTo>
                    <a:pt x="103" y="29"/>
                  </a:lnTo>
                  <a:lnTo>
                    <a:pt x="105" y="26"/>
                  </a:lnTo>
                  <a:lnTo>
                    <a:pt x="110" y="21"/>
                  </a:lnTo>
                  <a:lnTo>
                    <a:pt x="121" y="23"/>
                  </a:lnTo>
                  <a:lnTo>
                    <a:pt x="125" y="21"/>
                  </a:lnTo>
                  <a:lnTo>
                    <a:pt x="130" y="20"/>
                  </a:lnTo>
                  <a:lnTo>
                    <a:pt x="135" y="21"/>
                  </a:lnTo>
                  <a:lnTo>
                    <a:pt x="138" y="20"/>
                  </a:lnTo>
                  <a:lnTo>
                    <a:pt x="146" y="20"/>
                  </a:lnTo>
                  <a:lnTo>
                    <a:pt x="152" y="23"/>
                  </a:lnTo>
                  <a:lnTo>
                    <a:pt x="156" y="24"/>
                  </a:lnTo>
                  <a:lnTo>
                    <a:pt x="163" y="19"/>
                  </a:lnTo>
                  <a:lnTo>
                    <a:pt x="166" y="18"/>
                  </a:lnTo>
                  <a:lnTo>
                    <a:pt x="170" y="20"/>
                  </a:lnTo>
                  <a:lnTo>
                    <a:pt x="173" y="19"/>
                  </a:lnTo>
                  <a:lnTo>
                    <a:pt x="176" y="17"/>
                  </a:lnTo>
                  <a:lnTo>
                    <a:pt x="179" y="9"/>
                  </a:lnTo>
                  <a:lnTo>
                    <a:pt x="187" y="3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AB5905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22" name="LU">
              <a:extLst>
                <a:ext uri="{FF2B5EF4-FFF2-40B4-BE49-F238E27FC236}">
                  <a16:creationId xmlns:a16="http://schemas.microsoft.com/office/drawing/2014/main" id="{C4310B17-98D2-6136-75C8-435E2CDC5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187" y="4481889"/>
              <a:ext cx="90698" cy="121919"/>
            </a:xfrm>
            <a:custGeom>
              <a:avLst/>
              <a:gdLst>
                <a:gd name="T0" fmla="*/ 18 w 48"/>
                <a:gd name="T1" fmla="*/ 0 h 68"/>
                <a:gd name="T2" fmla="*/ 20 w 48"/>
                <a:gd name="T3" fmla="*/ 3 h 68"/>
                <a:gd name="T4" fmla="*/ 23 w 48"/>
                <a:gd name="T5" fmla="*/ 3 h 68"/>
                <a:gd name="T6" fmla="*/ 24 w 48"/>
                <a:gd name="T7" fmla="*/ 6 h 68"/>
                <a:gd name="T8" fmla="*/ 24 w 48"/>
                <a:gd name="T9" fmla="*/ 9 h 68"/>
                <a:gd name="T10" fmla="*/ 24 w 48"/>
                <a:gd name="T11" fmla="*/ 12 h 68"/>
                <a:gd name="T12" fmla="*/ 25 w 48"/>
                <a:gd name="T13" fmla="*/ 16 h 68"/>
                <a:gd name="T14" fmla="*/ 26 w 48"/>
                <a:gd name="T15" fmla="*/ 19 h 68"/>
                <a:gd name="T16" fmla="*/ 26 w 48"/>
                <a:gd name="T17" fmla="*/ 22 h 68"/>
                <a:gd name="T18" fmla="*/ 30 w 48"/>
                <a:gd name="T19" fmla="*/ 28 h 68"/>
                <a:gd name="T20" fmla="*/ 33 w 48"/>
                <a:gd name="T21" fmla="*/ 30 h 68"/>
                <a:gd name="T22" fmla="*/ 35 w 48"/>
                <a:gd name="T23" fmla="*/ 33 h 68"/>
                <a:gd name="T24" fmla="*/ 38 w 48"/>
                <a:gd name="T25" fmla="*/ 33 h 68"/>
                <a:gd name="T26" fmla="*/ 40 w 48"/>
                <a:gd name="T27" fmla="*/ 36 h 68"/>
                <a:gd name="T28" fmla="*/ 45 w 48"/>
                <a:gd name="T29" fmla="*/ 36 h 68"/>
                <a:gd name="T30" fmla="*/ 48 w 48"/>
                <a:gd name="T31" fmla="*/ 37 h 68"/>
                <a:gd name="T32" fmla="*/ 47 w 48"/>
                <a:gd name="T33" fmla="*/ 40 h 68"/>
                <a:gd name="T34" fmla="*/ 46 w 48"/>
                <a:gd name="T35" fmla="*/ 43 h 68"/>
                <a:gd name="T36" fmla="*/ 46 w 48"/>
                <a:gd name="T37" fmla="*/ 46 h 68"/>
                <a:gd name="T38" fmla="*/ 41 w 48"/>
                <a:gd name="T39" fmla="*/ 49 h 68"/>
                <a:gd name="T40" fmla="*/ 41 w 48"/>
                <a:gd name="T41" fmla="*/ 52 h 68"/>
                <a:gd name="T42" fmla="*/ 38 w 48"/>
                <a:gd name="T43" fmla="*/ 56 h 68"/>
                <a:gd name="T44" fmla="*/ 36 w 48"/>
                <a:gd name="T45" fmla="*/ 61 h 68"/>
                <a:gd name="T46" fmla="*/ 36 w 48"/>
                <a:gd name="T47" fmla="*/ 65 h 68"/>
                <a:gd name="T48" fmla="*/ 36 w 48"/>
                <a:gd name="T49" fmla="*/ 68 h 68"/>
                <a:gd name="T50" fmla="*/ 33 w 48"/>
                <a:gd name="T51" fmla="*/ 67 h 68"/>
                <a:gd name="T52" fmla="*/ 30 w 48"/>
                <a:gd name="T53" fmla="*/ 65 h 68"/>
                <a:gd name="T54" fmla="*/ 27 w 48"/>
                <a:gd name="T55" fmla="*/ 64 h 68"/>
                <a:gd name="T56" fmla="*/ 23 w 48"/>
                <a:gd name="T57" fmla="*/ 64 h 68"/>
                <a:gd name="T58" fmla="*/ 21 w 48"/>
                <a:gd name="T59" fmla="*/ 67 h 68"/>
                <a:gd name="T60" fmla="*/ 19 w 48"/>
                <a:gd name="T61" fmla="*/ 68 h 68"/>
                <a:gd name="T62" fmla="*/ 14 w 48"/>
                <a:gd name="T63" fmla="*/ 68 h 68"/>
                <a:gd name="T64" fmla="*/ 11 w 48"/>
                <a:gd name="T65" fmla="*/ 64 h 68"/>
                <a:gd name="T66" fmla="*/ 7 w 48"/>
                <a:gd name="T67" fmla="*/ 63 h 68"/>
                <a:gd name="T68" fmla="*/ 5 w 48"/>
                <a:gd name="T69" fmla="*/ 61 h 68"/>
                <a:gd name="T70" fmla="*/ 4 w 48"/>
                <a:gd name="T71" fmla="*/ 58 h 68"/>
                <a:gd name="T72" fmla="*/ 6 w 48"/>
                <a:gd name="T73" fmla="*/ 55 h 68"/>
                <a:gd name="T74" fmla="*/ 8 w 48"/>
                <a:gd name="T75" fmla="*/ 51 h 68"/>
                <a:gd name="T76" fmla="*/ 9 w 48"/>
                <a:gd name="T77" fmla="*/ 48 h 68"/>
                <a:gd name="T78" fmla="*/ 7 w 48"/>
                <a:gd name="T79" fmla="*/ 47 h 68"/>
                <a:gd name="T80" fmla="*/ 8 w 48"/>
                <a:gd name="T81" fmla="*/ 43 h 68"/>
                <a:gd name="T82" fmla="*/ 5 w 48"/>
                <a:gd name="T83" fmla="*/ 42 h 68"/>
                <a:gd name="T84" fmla="*/ 3 w 48"/>
                <a:gd name="T85" fmla="*/ 37 h 68"/>
                <a:gd name="T86" fmla="*/ 1 w 48"/>
                <a:gd name="T87" fmla="*/ 36 h 68"/>
                <a:gd name="T88" fmla="*/ 0 w 48"/>
                <a:gd name="T89" fmla="*/ 32 h 68"/>
                <a:gd name="T90" fmla="*/ 1 w 48"/>
                <a:gd name="T91" fmla="*/ 30 h 68"/>
                <a:gd name="T92" fmla="*/ 0 w 48"/>
                <a:gd name="T93" fmla="*/ 26 h 68"/>
                <a:gd name="T94" fmla="*/ 3 w 48"/>
                <a:gd name="T95" fmla="*/ 23 h 68"/>
                <a:gd name="T96" fmla="*/ 5 w 48"/>
                <a:gd name="T97" fmla="*/ 20 h 68"/>
                <a:gd name="T98" fmla="*/ 6 w 48"/>
                <a:gd name="T99" fmla="*/ 17 h 68"/>
                <a:gd name="T100" fmla="*/ 8 w 48"/>
                <a:gd name="T101" fmla="*/ 15 h 68"/>
                <a:gd name="T102" fmla="*/ 8 w 48"/>
                <a:gd name="T103" fmla="*/ 12 h 68"/>
                <a:gd name="T104" fmla="*/ 10 w 48"/>
                <a:gd name="T105" fmla="*/ 8 h 68"/>
                <a:gd name="T106" fmla="*/ 14 w 48"/>
                <a:gd name="T107" fmla="*/ 6 h 68"/>
                <a:gd name="T108" fmla="*/ 16 w 48"/>
                <a:gd name="T109" fmla="*/ 3 h 68"/>
                <a:gd name="T110" fmla="*/ 18 w 48"/>
                <a:gd name="T11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" h="68">
                  <a:moveTo>
                    <a:pt x="18" y="0"/>
                  </a:moveTo>
                  <a:lnTo>
                    <a:pt x="20" y="3"/>
                  </a:lnTo>
                  <a:lnTo>
                    <a:pt x="23" y="3"/>
                  </a:lnTo>
                  <a:lnTo>
                    <a:pt x="24" y="6"/>
                  </a:lnTo>
                  <a:lnTo>
                    <a:pt x="24" y="9"/>
                  </a:lnTo>
                  <a:lnTo>
                    <a:pt x="24" y="12"/>
                  </a:lnTo>
                  <a:lnTo>
                    <a:pt x="25" y="16"/>
                  </a:lnTo>
                  <a:lnTo>
                    <a:pt x="26" y="19"/>
                  </a:lnTo>
                  <a:lnTo>
                    <a:pt x="26" y="22"/>
                  </a:lnTo>
                  <a:lnTo>
                    <a:pt x="30" y="28"/>
                  </a:lnTo>
                  <a:lnTo>
                    <a:pt x="33" y="30"/>
                  </a:lnTo>
                  <a:lnTo>
                    <a:pt x="35" y="33"/>
                  </a:lnTo>
                  <a:lnTo>
                    <a:pt x="38" y="33"/>
                  </a:lnTo>
                  <a:lnTo>
                    <a:pt x="40" y="36"/>
                  </a:lnTo>
                  <a:lnTo>
                    <a:pt x="45" y="36"/>
                  </a:lnTo>
                  <a:lnTo>
                    <a:pt x="48" y="37"/>
                  </a:lnTo>
                  <a:lnTo>
                    <a:pt x="47" y="40"/>
                  </a:lnTo>
                  <a:lnTo>
                    <a:pt x="46" y="43"/>
                  </a:lnTo>
                  <a:lnTo>
                    <a:pt x="46" y="46"/>
                  </a:lnTo>
                  <a:lnTo>
                    <a:pt x="41" y="49"/>
                  </a:lnTo>
                  <a:lnTo>
                    <a:pt x="41" y="52"/>
                  </a:lnTo>
                  <a:lnTo>
                    <a:pt x="38" y="56"/>
                  </a:lnTo>
                  <a:lnTo>
                    <a:pt x="36" y="61"/>
                  </a:lnTo>
                  <a:lnTo>
                    <a:pt x="36" y="65"/>
                  </a:lnTo>
                  <a:lnTo>
                    <a:pt x="36" y="68"/>
                  </a:lnTo>
                  <a:lnTo>
                    <a:pt x="33" y="67"/>
                  </a:lnTo>
                  <a:lnTo>
                    <a:pt x="30" y="65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1" y="67"/>
                  </a:lnTo>
                  <a:lnTo>
                    <a:pt x="19" y="68"/>
                  </a:lnTo>
                  <a:lnTo>
                    <a:pt x="14" y="68"/>
                  </a:lnTo>
                  <a:lnTo>
                    <a:pt x="11" y="64"/>
                  </a:lnTo>
                  <a:lnTo>
                    <a:pt x="7" y="63"/>
                  </a:lnTo>
                  <a:lnTo>
                    <a:pt x="5" y="61"/>
                  </a:lnTo>
                  <a:lnTo>
                    <a:pt x="4" y="58"/>
                  </a:lnTo>
                  <a:lnTo>
                    <a:pt x="6" y="55"/>
                  </a:lnTo>
                  <a:lnTo>
                    <a:pt x="8" y="51"/>
                  </a:lnTo>
                  <a:lnTo>
                    <a:pt x="9" y="48"/>
                  </a:lnTo>
                  <a:lnTo>
                    <a:pt x="7" y="47"/>
                  </a:lnTo>
                  <a:lnTo>
                    <a:pt x="8" y="43"/>
                  </a:lnTo>
                  <a:lnTo>
                    <a:pt x="5" y="42"/>
                  </a:lnTo>
                  <a:lnTo>
                    <a:pt x="3" y="37"/>
                  </a:lnTo>
                  <a:lnTo>
                    <a:pt x="1" y="36"/>
                  </a:lnTo>
                  <a:lnTo>
                    <a:pt x="0" y="32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3" y="23"/>
                  </a:lnTo>
                  <a:lnTo>
                    <a:pt x="5" y="20"/>
                  </a:lnTo>
                  <a:lnTo>
                    <a:pt x="6" y="17"/>
                  </a:lnTo>
                  <a:lnTo>
                    <a:pt x="8" y="15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4" y="6"/>
                  </a:lnTo>
                  <a:lnTo>
                    <a:pt x="16" y="3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FC000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29" name="MK">
              <a:extLst>
                <a:ext uri="{FF2B5EF4-FFF2-40B4-BE49-F238E27FC236}">
                  <a16:creationId xmlns:a16="http://schemas.microsoft.com/office/drawing/2014/main" id="{522ABB09-9294-660D-9EB5-36A120C59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7519" y="5662290"/>
              <a:ext cx="336024" cy="278474"/>
            </a:xfrm>
            <a:custGeom>
              <a:avLst/>
              <a:gdLst>
                <a:gd name="T0" fmla="*/ 116 w 175"/>
                <a:gd name="T1" fmla="*/ 3 h 154"/>
                <a:gd name="T2" fmla="*/ 128 w 175"/>
                <a:gd name="T3" fmla="*/ 12 h 154"/>
                <a:gd name="T4" fmla="*/ 132 w 175"/>
                <a:gd name="T5" fmla="*/ 16 h 154"/>
                <a:gd name="T6" fmla="*/ 142 w 175"/>
                <a:gd name="T7" fmla="*/ 23 h 154"/>
                <a:gd name="T8" fmla="*/ 149 w 175"/>
                <a:gd name="T9" fmla="*/ 25 h 154"/>
                <a:gd name="T10" fmla="*/ 157 w 175"/>
                <a:gd name="T11" fmla="*/ 26 h 154"/>
                <a:gd name="T12" fmla="*/ 161 w 175"/>
                <a:gd name="T13" fmla="*/ 32 h 154"/>
                <a:gd name="T14" fmla="*/ 163 w 175"/>
                <a:gd name="T15" fmla="*/ 39 h 154"/>
                <a:gd name="T16" fmla="*/ 169 w 175"/>
                <a:gd name="T17" fmla="*/ 47 h 154"/>
                <a:gd name="T18" fmla="*/ 174 w 175"/>
                <a:gd name="T19" fmla="*/ 52 h 154"/>
                <a:gd name="T20" fmla="*/ 171 w 175"/>
                <a:gd name="T21" fmla="*/ 59 h 154"/>
                <a:gd name="T22" fmla="*/ 172 w 175"/>
                <a:gd name="T23" fmla="*/ 66 h 154"/>
                <a:gd name="T24" fmla="*/ 174 w 175"/>
                <a:gd name="T25" fmla="*/ 76 h 154"/>
                <a:gd name="T26" fmla="*/ 175 w 175"/>
                <a:gd name="T27" fmla="*/ 84 h 154"/>
                <a:gd name="T28" fmla="*/ 167 w 175"/>
                <a:gd name="T29" fmla="*/ 89 h 154"/>
                <a:gd name="T30" fmla="*/ 162 w 175"/>
                <a:gd name="T31" fmla="*/ 95 h 154"/>
                <a:gd name="T32" fmla="*/ 163 w 175"/>
                <a:gd name="T33" fmla="*/ 106 h 154"/>
                <a:gd name="T34" fmla="*/ 156 w 175"/>
                <a:gd name="T35" fmla="*/ 106 h 154"/>
                <a:gd name="T36" fmla="*/ 153 w 175"/>
                <a:gd name="T37" fmla="*/ 112 h 154"/>
                <a:gd name="T38" fmla="*/ 146 w 175"/>
                <a:gd name="T39" fmla="*/ 113 h 154"/>
                <a:gd name="T40" fmla="*/ 139 w 175"/>
                <a:gd name="T41" fmla="*/ 113 h 154"/>
                <a:gd name="T42" fmla="*/ 134 w 175"/>
                <a:gd name="T43" fmla="*/ 114 h 154"/>
                <a:gd name="T44" fmla="*/ 127 w 175"/>
                <a:gd name="T45" fmla="*/ 112 h 154"/>
                <a:gd name="T46" fmla="*/ 121 w 175"/>
                <a:gd name="T47" fmla="*/ 116 h 154"/>
                <a:gd name="T48" fmla="*/ 110 w 175"/>
                <a:gd name="T49" fmla="*/ 118 h 154"/>
                <a:gd name="T50" fmla="*/ 106 w 175"/>
                <a:gd name="T51" fmla="*/ 125 h 154"/>
                <a:gd name="T52" fmla="*/ 100 w 175"/>
                <a:gd name="T53" fmla="*/ 134 h 154"/>
                <a:gd name="T54" fmla="*/ 97 w 175"/>
                <a:gd name="T55" fmla="*/ 139 h 154"/>
                <a:gd name="T56" fmla="*/ 91 w 175"/>
                <a:gd name="T57" fmla="*/ 142 h 154"/>
                <a:gd name="T58" fmla="*/ 85 w 175"/>
                <a:gd name="T59" fmla="*/ 146 h 154"/>
                <a:gd name="T60" fmla="*/ 76 w 175"/>
                <a:gd name="T61" fmla="*/ 143 h 154"/>
                <a:gd name="T62" fmla="*/ 71 w 175"/>
                <a:gd name="T63" fmla="*/ 148 h 154"/>
                <a:gd name="T64" fmla="*/ 60 w 175"/>
                <a:gd name="T65" fmla="*/ 149 h 154"/>
                <a:gd name="T66" fmla="*/ 44 w 175"/>
                <a:gd name="T67" fmla="*/ 154 h 154"/>
                <a:gd name="T68" fmla="*/ 38 w 175"/>
                <a:gd name="T69" fmla="*/ 148 h 154"/>
                <a:gd name="T70" fmla="*/ 30 w 175"/>
                <a:gd name="T71" fmla="*/ 151 h 154"/>
                <a:gd name="T72" fmla="*/ 24 w 175"/>
                <a:gd name="T73" fmla="*/ 148 h 154"/>
                <a:gd name="T74" fmla="*/ 20 w 175"/>
                <a:gd name="T75" fmla="*/ 138 h 154"/>
                <a:gd name="T76" fmla="*/ 14 w 175"/>
                <a:gd name="T77" fmla="*/ 135 h 154"/>
                <a:gd name="T78" fmla="*/ 11 w 175"/>
                <a:gd name="T79" fmla="*/ 129 h 154"/>
                <a:gd name="T80" fmla="*/ 5 w 175"/>
                <a:gd name="T81" fmla="*/ 118 h 154"/>
                <a:gd name="T82" fmla="*/ 7 w 175"/>
                <a:gd name="T83" fmla="*/ 112 h 154"/>
                <a:gd name="T84" fmla="*/ 6 w 175"/>
                <a:gd name="T85" fmla="*/ 106 h 154"/>
                <a:gd name="T86" fmla="*/ 1 w 175"/>
                <a:gd name="T87" fmla="*/ 100 h 154"/>
                <a:gd name="T88" fmla="*/ 3 w 175"/>
                <a:gd name="T89" fmla="*/ 94 h 154"/>
                <a:gd name="T90" fmla="*/ 3 w 175"/>
                <a:gd name="T91" fmla="*/ 85 h 154"/>
                <a:gd name="T92" fmla="*/ 2 w 175"/>
                <a:gd name="T93" fmla="*/ 74 h 154"/>
                <a:gd name="T94" fmla="*/ 2 w 175"/>
                <a:gd name="T95" fmla="*/ 65 h 154"/>
                <a:gd name="T96" fmla="*/ 8 w 175"/>
                <a:gd name="T97" fmla="*/ 65 h 154"/>
                <a:gd name="T98" fmla="*/ 15 w 175"/>
                <a:gd name="T99" fmla="*/ 63 h 154"/>
                <a:gd name="T100" fmla="*/ 15 w 175"/>
                <a:gd name="T101" fmla="*/ 53 h 154"/>
                <a:gd name="T102" fmla="*/ 16 w 175"/>
                <a:gd name="T103" fmla="*/ 42 h 154"/>
                <a:gd name="T104" fmla="*/ 35 w 175"/>
                <a:gd name="T105" fmla="*/ 30 h 154"/>
                <a:gd name="T106" fmla="*/ 41 w 175"/>
                <a:gd name="T107" fmla="*/ 31 h 154"/>
                <a:gd name="T108" fmla="*/ 50 w 175"/>
                <a:gd name="T109" fmla="*/ 37 h 154"/>
                <a:gd name="T110" fmla="*/ 50 w 175"/>
                <a:gd name="T111" fmla="*/ 31 h 154"/>
                <a:gd name="T112" fmla="*/ 58 w 175"/>
                <a:gd name="T113" fmla="*/ 24 h 154"/>
                <a:gd name="T114" fmla="*/ 61 w 175"/>
                <a:gd name="T115" fmla="*/ 20 h 154"/>
                <a:gd name="T116" fmla="*/ 68 w 175"/>
                <a:gd name="T117" fmla="*/ 20 h 154"/>
                <a:gd name="T118" fmla="*/ 76 w 175"/>
                <a:gd name="T119" fmla="*/ 18 h 154"/>
                <a:gd name="T120" fmla="*/ 88 w 175"/>
                <a:gd name="T121" fmla="*/ 10 h 154"/>
                <a:gd name="T122" fmla="*/ 96 w 175"/>
                <a:gd name="T123" fmla="*/ 8 h 154"/>
                <a:gd name="T124" fmla="*/ 112 w 175"/>
                <a:gd name="T125" fmla="*/ 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5" h="154">
                  <a:moveTo>
                    <a:pt x="114" y="0"/>
                  </a:moveTo>
                  <a:lnTo>
                    <a:pt x="116" y="3"/>
                  </a:lnTo>
                  <a:lnTo>
                    <a:pt x="120" y="4"/>
                  </a:lnTo>
                  <a:lnTo>
                    <a:pt x="128" y="12"/>
                  </a:lnTo>
                  <a:lnTo>
                    <a:pt x="131" y="13"/>
                  </a:lnTo>
                  <a:lnTo>
                    <a:pt x="132" y="16"/>
                  </a:lnTo>
                  <a:lnTo>
                    <a:pt x="135" y="20"/>
                  </a:lnTo>
                  <a:lnTo>
                    <a:pt x="142" y="23"/>
                  </a:lnTo>
                  <a:lnTo>
                    <a:pt x="147" y="24"/>
                  </a:lnTo>
                  <a:lnTo>
                    <a:pt x="149" y="25"/>
                  </a:lnTo>
                  <a:lnTo>
                    <a:pt x="153" y="25"/>
                  </a:lnTo>
                  <a:lnTo>
                    <a:pt x="157" y="26"/>
                  </a:lnTo>
                  <a:lnTo>
                    <a:pt x="159" y="28"/>
                  </a:lnTo>
                  <a:lnTo>
                    <a:pt x="161" y="32"/>
                  </a:lnTo>
                  <a:lnTo>
                    <a:pt x="163" y="36"/>
                  </a:lnTo>
                  <a:lnTo>
                    <a:pt x="163" y="39"/>
                  </a:lnTo>
                  <a:lnTo>
                    <a:pt x="167" y="44"/>
                  </a:lnTo>
                  <a:lnTo>
                    <a:pt x="169" y="47"/>
                  </a:lnTo>
                  <a:lnTo>
                    <a:pt x="172" y="47"/>
                  </a:lnTo>
                  <a:lnTo>
                    <a:pt x="174" y="52"/>
                  </a:lnTo>
                  <a:lnTo>
                    <a:pt x="173" y="56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72" y="66"/>
                  </a:lnTo>
                  <a:lnTo>
                    <a:pt x="172" y="68"/>
                  </a:lnTo>
                  <a:lnTo>
                    <a:pt x="174" y="76"/>
                  </a:lnTo>
                  <a:lnTo>
                    <a:pt x="174" y="79"/>
                  </a:lnTo>
                  <a:lnTo>
                    <a:pt x="175" y="84"/>
                  </a:lnTo>
                  <a:lnTo>
                    <a:pt x="173" y="88"/>
                  </a:lnTo>
                  <a:lnTo>
                    <a:pt x="167" y="89"/>
                  </a:lnTo>
                  <a:lnTo>
                    <a:pt x="164" y="90"/>
                  </a:lnTo>
                  <a:lnTo>
                    <a:pt x="162" y="95"/>
                  </a:lnTo>
                  <a:lnTo>
                    <a:pt x="163" y="102"/>
                  </a:lnTo>
                  <a:lnTo>
                    <a:pt x="163" y="106"/>
                  </a:lnTo>
                  <a:lnTo>
                    <a:pt x="159" y="107"/>
                  </a:lnTo>
                  <a:lnTo>
                    <a:pt x="156" y="106"/>
                  </a:lnTo>
                  <a:lnTo>
                    <a:pt x="155" y="110"/>
                  </a:lnTo>
                  <a:lnTo>
                    <a:pt x="153" y="112"/>
                  </a:lnTo>
                  <a:lnTo>
                    <a:pt x="149" y="112"/>
                  </a:lnTo>
                  <a:lnTo>
                    <a:pt x="146" y="113"/>
                  </a:lnTo>
                  <a:lnTo>
                    <a:pt x="143" y="114"/>
                  </a:lnTo>
                  <a:lnTo>
                    <a:pt x="139" y="113"/>
                  </a:lnTo>
                  <a:lnTo>
                    <a:pt x="136" y="113"/>
                  </a:lnTo>
                  <a:lnTo>
                    <a:pt x="134" y="114"/>
                  </a:lnTo>
                  <a:lnTo>
                    <a:pt x="130" y="112"/>
                  </a:lnTo>
                  <a:lnTo>
                    <a:pt x="127" y="112"/>
                  </a:lnTo>
                  <a:lnTo>
                    <a:pt x="125" y="112"/>
                  </a:lnTo>
                  <a:lnTo>
                    <a:pt x="121" y="116"/>
                  </a:lnTo>
                  <a:lnTo>
                    <a:pt x="117" y="116"/>
                  </a:lnTo>
                  <a:lnTo>
                    <a:pt x="110" y="118"/>
                  </a:lnTo>
                  <a:lnTo>
                    <a:pt x="107" y="121"/>
                  </a:lnTo>
                  <a:lnTo>
                    <a:pt x="106" y="125"/>
                  </a:lnTo>
                  <a:lnTo>
                    <a:pt x="103" y="130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97" y="139"/>
                  </a:lnTo>
                  <a:lnTo>
                    <a:pt x="93" y="139"/>
                  </a:lnTo>
                  <a:lnTo>
                    <a:pt x="91" y="142"/>
                  </a:lnTo>
                  <a:lnTo>
                    <a:pt x="88" y="145"/>
                  </a:lnTo>
                  <a:lnTo>
                    <a:pt x="85" y="146"/>
                  </a:lnTo>
                  <a:lnTo>
                    <a:pt x="82" y="143"/>
                  </a:lnTo>
                  <a:lnTo>
                    <a:pt x="76" y="143"/>
                  </a:lnTo>
                  <a:lnTo>
                    <a:pt x="73" y="145"/>
                  </a:lnTo>
                  <a:lnTo>
                    <a:pt x="71" y="148"/>
                  </a:lnTo>
                  <a:lnTo>
                    <a:pt x="66" y="149"/>
                  </a:lnTo>
                  <a:lnTo>
                    <a:pt x="60" y="149"/>
                  </a:lnTo>
                  <a:lnTo>
                    <a:pt x="54" y="152"/>
                  </a:lnTo>
                  <a:lnTo>
                    <a:pt x="44" y="154"/>
                  </a:lnTo>
                  <a:lnTo>
                    <a:pt x="42" y="150"/>
                  </a:lnTo>
                  <a:lnTo>
                    <a:pt x="38" y="148"/>
                  </a:lnTo>
                  <a:lnTo>
                    <a:pt x="34" y="148"/>
                  </a:lnTo>
                  <a:lnTo>
                    <a:pt x="30" y="151"/>
                  </a:lnTo>
                  <a:lnTo>
                    <a:pt x="27" y="151"/>
                  </a:lnTo>
                  <a:lnTo>
                    <a:pt x="24" y="148"/>
                  </a:lnTo>
                  <a:lnTo>
                    <a:pt x="22" y="143"/>
                  </a:lnTo>
                  <a:lnTo>
                    <a:pt x="20" y="138"/>
                  </a:lnTo>
                  <a:lnTo>
                    <a:pt x="17" y="136"/>
                  </a:lnTo>
                  <a:lnTo>
                    <a:pt x="14" y="135"/>
                  </a:lnTo>
                  <a:lnTo>
                    <a:pt x="13" y="132"/>
                  </a:lnTo>
                  <a:lnTo>
                    <a:pt x="11" y="129"/>
                  </a:lnTo>
                  <a:lnTo>
                    <a:pt x="8" y="125"/>
                  </a:lnTo>
                  <a:lnTo>
                    <a:pt x="5" y="118"/>
                  </a:lnTo>
                  <a:lnTo>
                    <a:pt x="4" y="116"/>
                  </a:lnTo>
                  <a:lnTo>
                    <a:pt x="7" y="112"/>
                  </a:lnTo>
                  <a:lnTo>
                    <a:pt x="8" y="109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100"/>
                  </a:lnTo>
                  <a:lnTo>
                    <a:pt x="0" y="96"/>
                  </a:lnTo>
                  <a:lnTo>
                    <a:pt x="3" y="94"/>
                  </a:lnTo>
                  <a:lnTo>
                    <a:pt x="5" y="92"/>
                  </a:lnTo>
                  <a:lnTo>
                    <a:pt x="3" y="85"/>
                  </a:lnTo>
                  <a:lnTo>
                    <a:pt x="1" y="77"/>
                  </a:lnTo>
                  <a:lnTo>
                    <a:pt x="2" y="74"/>
                  </a:lnTo>
                  <a:lnTo>
                    <a:pt x="3" y="69"/>
                  </a:lnTo>
                  <a:lnTo>
                    <a:pt x="2" y="65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11" y="65"/>
                  </a:lnTo>
                  <a:lnTo>
                    <a:pt x="15" y="63"/>
                  </a:lnTo>
                  <a:lnTo>
                    <a:pt x="16" y="59"/>
                  </a:lnTo>
                  <a:lnTo>
                    <a:pt x="15" y="53"/>
                  </a:lnTo>
                  <a:lnTo>
                    <a:pt x="15" y="46"/>
                  </a:lnTo>
                  <a:lnTo>
                    <a:pt x="16" y="42"/>
                  </a:lnTo>
                  <a:lnTo>
                    <a:pt x="30" y="35"/>
                  </a:lnTo>
                  <a:lnTo>
                    <a:pt x="35" y="30"/>
                  </a:lnTo>
                  <a:lnTo>
                    <a:pt x="37" y="29"/>
                  </a:lnTo>
                  <a:lnTo>
                    <a:pt x="41" y="31"/>
                  </a:lnTo>
                  <a:lnTo>
                    <a:pt x="45" y="35"/>
                  </a:lnTo>
                  <a:lnTo>
                    <a:pt x="50" y="37"/>
                  </a:lnTo>
                  <a:lnTo>
                    <a:pt x="51" y="34"/>
                  </a:lnTo>
                  <a:lnTo>
                    <a:pt x="50" y="31"/>
                  </a:lnTo>
                  <a:lnTo>
                    <a:pt x="53" y="25"/>
                  </a:lnTo>
                  <a:lnTo>
                    <a:pt x="58" y="24"/>
                  </a:lnTo>
                  <a:lnTo>
                    <a:pt x="58" y="21"/>
                  </a:lnTo>
                  <a:lnTo>
                    <a:pt x="61" y="20"/>
                  </a:lnTo>
                  <a:lnTo>
                    <a:pt x="64" y="21"/>
                  </a:lnTo>
                  <a:lnTo>
                    <a:pt x="68" y="20"/>
                  </a:lnTo>
                  <a:lnTo>
                    <a:pt x="72" y="18"/>
                  </a:lnTo>
                  <a:lnTo>
                    <a:pt x="76" y="18"/>
                  </a:lnTo>
                  <a:lnTo>
                    <a:pt x="84" y="11"/>
                  </a:lnTo>
                  <a:lnTo>
                    <a:pt x="88" y="10"/>
                  </a:lnTo>
                  <a:lnTo>
                    <a:pt x="91" y="7"/>
                  </a:lnTo>
                  <a:lnTo>
                    <a:pt x="96" y="8"/>
                  </a:lnTo>
                  <a:lnTo>
                    <a:pt x="101" y="8"/>
                  </a:lnTo>
                  <a:lnTo>
                    <a:pt x="112" y="2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FDDEBE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0" name="MT">
              <a:extLst>
                <a:ext uri="{FF2B5EF4-FFF2-40B4-BE49-F238E27FC236}">
                  <a16:creationId xmlns:a16="http://schemas.microsoft.com/office/drawing/2014/main" id="{82B3F001-0145-4D7B-DCA2-B6C4310BD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0985" y="6691675"/>
              <a:ext cx="53526" cy="42950"/>
            </a:xfrm>
            <a:custGeom>
              <a:avLst/>
              <a:gdLst>
                <a:gd name="T0" fmla="*/ 14 w 29"/>
                <a:gd name="T1" fmla="*/ 6 h 23"/>
                <a:gd name="T2" fmla="*/ 18 w 29"/>
                <a:gd name="T3" fmla="*/ 9 h 23"/>
                <a:gd name="T4" fmla="*/ 22 w 29"/>
                <a:gd name="T5" fmla="*/ 11 h 23"/>
                <a:gd name="T6" fmla="*/ 25 w 29"/>
                <a:gd name="T7" fmla="*/ 14 h 23"/>
                <a:gd name="T8" fmla="*/ 29 w 29"/>
                <a:gd name="T9" fmla="*/ 17 h 23"/>
                <a:gd name="T10" fmla="*/ 29 w 29"/>
                <a:gd name="T11" fmla="*/ 19 h 23"/>
                <a:gd name="T12" fmla="*/ 27 w 29"/>
                <a:gd name="T13" fmla="*/ 22 h 23"/>
                <a:gd name="T14" fmla="*/ 22 w 29"/>
                <a:gd name="T15" fmla="*/ 23 h 23"/>
                <a:gd name="T16" fmla="*/ 19 w 29"/>
                <a:gd name="T17" fmla="*/ 22 h 23"/>
                <a:gd name="T18" fmla="*/ 15 w 29"/>
                <a:gd name="T19" fmla="*/ 20 h 23"/>
                <a:gd name="T20" fmla="*/ 13 w 29"/>
                <a:gd name="T21" fmla="*/ 17 h 23"/>
                <a:gd name="T22" fmla="*/ 12 w 29"/>
                <a:gd name="T23" fmla="*/ 14 h 23"/>
                <a:gd name="T24" fmla="*/ 12 w 29"/>
                <a:gd name="T25" fmla="*/ 11 h 23"/>
                <a:gd name="T26" fmla="*/ 11 w 29"/>
                <a:gd name="T27" fmla="*/ 8 h 23"/>
                <a:gd name="T28" fmla="*/ 14 w 29"/>
                <a:gd name="T29" fmla="*/ 6 h 23"/>
                <a:gd name="T30" fmla="*/ 5 w 29"/>
                <a:gd name="T31" fmla="*/ 0 h 23"/>
                <a:gd name="T32" fmla="*/ 10 w 29"/>
                <a:gd name="T33" fmla="*/ 1 h 23"/>
                <a:gd name="T34" fmla="*/ 7 w 29"/>
                <a:gd name="T35" fmla="*/ 5 h 23"/>
                <a:gd name="T36" fmla="*/ 4 w 29"/>
                <a:gd name="T37" fmla="*/ 5 h 23"/>
                <a:gd name="T38" fmla="*/ 1 w 29"/>
                <a:gd name="T39" fmla="*/ 4 h 23"/>
                <a:gd name="T40" fmla="*/ 0 w 29"/>
                <a:gd name="T41" fmla="*/ 2 h 23"/>
                <a:gd name="T42" fmla="*/ 5 w 29"/>
                <a:gd name="T4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23">
                  <a:moveTo>
                    <a:pt x="14" y="6"/>
                  </a:moveTo>
                  <a:lnTo>
                    <a:pt x="18" y="9"/>
                  </a:lnTo>
                  <a:lnTo>
                    <a:pt x="22" y="11"/>
                  </a:lnTo>
                  <a:lnTo>
                    <a:pt x="25" y="14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27" y="22"/>
                  </a:lnTo>
                  <a:lnTo>
                    <a:pt x="22" y="23"/>
                  </a:lnTo>
                  <a:lnTo>
                    <a:pt x="19" y="22"/>
                  </a:lnTo>
                  <a:lnTo>
                    <a:pt x="15" y="20"/>
                  </a:lnTo>
                  <a:lnTo>
                    <a:pt x="13" y="17"/>
                  </a:lnTo>
                  <a:lnTo>
                    <a:pt x="12" y="14"/>
                  </a:lnTo>
                  <a:lnTo>
                    <a:pt x="12" y="11"/>
                  </a:lnTo>
                  <a:lnTo>
                    <a:pt x="11" y="8"/>
                  </a:lnTo>
                  <a:lnTo>
                    <a:pt x="14" y="6"/>
                  </a:lnTo>
                  <a:close/>
                  <a:moveTo>
                    <a:pt x="5" y="0"/>
                  </a:moveTo>
                  <a:lnTo>
                    <a:pt x="10" y="1"/>
                  </a:lnTo>
                  <a:lnTo>
                    <a:pt x="7" y="5"/>
                  </a:lnTo>
                  <a:lnTo>
                    <a:pt x="4" y="5"/>
                  </a:lnTo>
                  <a:lnTo>
                    <a:pt x="1" y="4"/>
                  </a:lnTo>
                  <a:lnTo>
                    <a:pt x="0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1" name="MO">
              <a:extLst>
                <a:ext uri="{FF2B5EF4-FFF2-40B4-BE49-F238E27FC236}">
                  <a16:creationId xmlns:a16="http://schemas.microsoft.com/office/drawing/2014/main" id="{0730C851-59C6-C83E-0FAA-FFFDF00BD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058" y="4545621"/>
              <a:ext cx="483221" cy="469665"/>
            </a:xfrm>
            <a:custGeom>
              <a:avLst/>
              <a:gdLst>
                <a:gd name="T0" fmla="*/ 79 w 254"/>
                <a:gd name="T1" fmla="*/ 8 h 265"/>
                <a:gd name="T2" fmla="*/ 90 w 254"/>
                <a:gd name="T3" fmla="*/ 14 h 265"/>
                <a:gd name="T4" fmla="*/ 104 w 254"/>
                <a:gd name="T5" fmla="*/ 10 h 265"/>
                <a:gd name="T6" fmla="*/ 107 w 254"/>
                <a:gd name="T7" fmla="*/ 18 h 265"/>
                <a:gd name="T8" fmla="*/ 116 w 254"/>
                <a:gd name="T9" fmla="*/ 23 h 265"/>
                <a:gd name="T10" fmla="*/ 125 w 254"/>
                <a:gd name="T11" fmla="*/ 15 h 265"/>
                <a:gd name="T12" fmla="*/ 138 w 254"/>
                <a:gd name="T13" fmla="*/ 19 h 265"/>
                <a:gd name="T14" fmla="*/ 152 w 254"/>
                <a:gd name="T15" fmla="*/ 27 h 265"/>
                <a:gd name="T16" fmla="*/ 161 w 254"/>
                <a:gd name="T17" fmla="*/ 27 h 265"/>
                <a:gd name="T18" fmla="*/ 167 w 254"/>
                <a:gd name="T19" fmla="*/ 39 h 265"/>
                <a:gd name="T20" fmla="*/ 169 w 254"/>
                <a:gd name="T21" fmla="*/ 54 h 265"/>
                <a:gd name="T22" fmla="*/ 171 w 254"/>
                <a:gd name="T23" fmla="*/ 69 h 265"/>
                <a:gd name="T24" fmla="*/ 181 w 254"/>
                <a:gd name="T25" fmla="*/ 73 h 265"/>
                <a:gd name="T26" fmla="*/ 190 w 254"/>
                <a:gd name="T27" fmla="*/ 80 h 265"/>
                <a:gd name="T28" fmla="*/ 199 w 254"/>
                <a:gd name="T29" fmla="*/ 75 h 265"/>
                <a:gd name="T30" fmla="*/ 201 w 254"/>
                <a:gd name="T31" fmla="*/ 92 h 265"/>
                <a:gd name="T32" fmla="*/ 206 w 254"/>
                <a:gd name="T33" fmla="*/ 95 h 265"/>
                <a:gd name="T34" fmla="*/ 207 w 254"/>
                <a:gd name="T35" fmla="*/ 108 h 265"/>
                <a:gd name="T36" fmla="*/ 220 w 254"/>
                <a:gd name="T37" fmla="*/ 112 h 265"/>
                <a:gd name="T38" fmla="*/ 234 w 254"/>
                <a:gd name="T39" fmla="*/ 114 h 265"/>
                <a:gd name="T40" fmla="*/ 238 w 254"/>
                <a:gd name="T41" fmla="*/ 130 h 265"/>
                <a:gd name="T42" fmla="*/ 240 w 254"/>
                <a:gd name="T43" fmla="*/ 141 h 265"/>
                <a:gd name="T44" fmla="*/ 250 w 254"/>
                <a:gd name="T45" fmla="*/ 145 h 265"/>
                <a:gd name="T46" fmla="*/ 243 w 254"/>
                <a:gd name="T47" fmla="*/ 153 h 265"/>
                <a:gd name="T48" fmla="*/ 234 w 254"/>
                <a:gd name="T49" fmla="*/ 152 h 265"/>
                <a:gd name="T50" fmla="*/ 225 w 254"/>
                <a:gd name="T51" fmla="*/ 160 h 265"/>
                <a:gd name="T52" fmla="*/ 215 w 254"/>
                <a:gd name="T53" fmla="*/ 153 h 265"/>
                <a:gd name="T54" fmla="*/ 203 w 254"/>
                <a:gd name="T55" fmla="*/ 155 h 265"/>
                <a:gd name="T56" fmla="*/ 197 w 254"/>
                <a:gd name="T57" fmla="*/ 166 h 265"/>
                <a:gd name="T58" fmla="*/ 188 w 254"/>
                <a:gd name="T59" fmla="*/ 156 h 265"/>
                <a:gd name="T60" fmla="*/ 182 w 254"/>
                <a:gd name="T61" fmla="*/ 171 h 265"/>
                <a:gd name="T62" fmla="*/ 190 w 254"/>
                <a:gd name="T63" fmla="*/ 185 h 265"/>
                <a:gd name="T64" fmla="*/ 191 w 254"/>
                <a:gd name="T65" fmla="*/ 202 h 265"/>
                <a:gd name="T66" fmla="*/ 182 w 254"/>
                <a:gd name="T67" fmla="*/ 221 h 265"/>
                <a:gd name="T68" fmla="*/ 174 w 254"/>
                <a:gd name="T69" fmla="*/ 235 h 265"/>
                <a:gd name="T70" fmla="*/ 174 w 254"/>
                <a:gd name="T71" fmla="*/ 248 h 265"/>
                <a:gd name="T72" fmla="*/ 164 w 254"/>
                <a:gd name="T73" fmla="*/ 258 h 265"/>
                <a:gd name="T74" fmla="*/ 153 w 254"/>
                <a:gd name="T75" fmla="*/ 263 h 265"/>
                <a:gd name="T76" fmla="*/ 147 w 254"/>
                <a:gd name="T77" fmla="*/ 252 h 265"/>
                <a:gd name="T78" fmla="*/ 145 w 254"/>
                <a:gd name="T79" fmla="*/ 235 h 265"/>
                <a:gd name="T80" fmla="*/ 142 w 254"/>
                <a:gd name="T81" fmla="*/ 224 h 265"/>
                <a:gd name="T82" fmla="*/ 137 w 254"/>
                <a:gd name="T83" fmla="*/ 205 h 265"/>
                <a:gd name="T84" fmla="*/ 137 w 254"/>
                <a:gd name="T85" fmla="*/ 190 h 265"/>
                <a:gd name="T86" fmla="*/ 138 w 254"/>
                <a:gd name="T87" fmla="*/ 178 h 265"/>
                <a:gd name="T88" fmla="*/ 133 w 254"/>
                <a:gd name="T89" fmla="*/ 163 h 265"/>
                <a:gd name="T90" fmla="*/ 123 w 254"/>
                <a:gd name="T91" fmla="*/ 144 h 265"/>
                <a:gd name="T92" fmla="*/ 116 w 254"/>
                <a:gd name="T93" fmla="*/ 130 h 265"/>
                <a:gd name="T94" fmla="*/ 102 w 254"/>
                <a:gd name="T95" fmla="*/ 122 h 265"/>
                <a:gd name="T96" fmla="*/ 91 w 254"/>
                <a:gd name="T97" fmla="*/ 111 h 265"/>
                <a:gd name="T98" fmla="*/ 78 w 254"/>
                <a:gd name="T99" fmla="*/ 102 h 265"/>
                <a:gd name="T100" fmla="*/ 70 w 254"/>
                <a:gd name="T101" fmla="*/ 92 h 265"/>
                <a:gd name="T102" fmla="*/ 58 w 254"/>
                <a:gd name="T103" fmla="*/ 82 h 265"/>
                <a:gd name="T104" fmla="*/ 47 w 254"/>
                <a:gd name="T105" fmla="*/ 67 h 265"/>
                <a:gd name="T106" fmla="*/ 40 w 254"/>
                <a:gd name="T107" fmla="*/ 57 h 265"/>
                <a:gd name="T108" fmla="*/ 32 w 254"/>
                <a:gd name="T109" fmla="*/ 47 h 265"/>
                <a:gd name="T110" fmla="*/ 24 w 254"/>
                <a:gd name="T111" fmla="*/ 37 h 265"/>
                <a:gd name="T112" fmla="*/ 11 w 254"/>
                <a:gd name="T113" fmla="*/ 31 h 265"/>
                <a:gd name="T114" fmla="*/ 0 w 254"/>
                <a:gd name="T115" fmla="*/ 34 h 265"/>
                <a:gd name="T116" fmla="*/ 7 w 254"/>
                <a:gd name="T117" fmla="*/ 29 h 265"/>
                <a:gd name="T118" fmla="*/ 17 w 254"/>
                <a:gd name="T119" fmla="*/ 20 h 265"/>
                <a:gd name="T120" fmla="*/ 24 w 254"/>
                <a:gd name="T121" fmla="*/ 15 h 265"/>
                <a:gd name="T122" fmla="*/ 42 w 254"/>
                <a:gd name="T123" fmla="*/ 8 h 265"/>
                <a:gd name="T124" fmla="*/ 64 w 254"/>
                <a:gd name="T125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265">
                  <a:moveTo>
                    <a:pt x="64" y="0"/>
                  </a:moveTo>
                  <a:lnTo>
                    <a:pt x="71" y="2"/>
                  </a:lnTo>
                  <a:lnTo>
                    <a:pt x="74" y="5"/>
                  </a:lnTo>
                  <a:lnTo>
                    <a:pt x="79" y="8"/>
                  </a:lnTo>
                  <a:lnTo>
                    <a:pt x="85" y="7"/>
                  </a:lnTo>
                  <a:lnTo>
                    <a:pt x="87" y="8"/>
                  </a:lnTo>
                  <a:lnTo>
                    <a:pt x="88" y="13"/>
                  </a:lnTo>
                  <a:lnTo>
                    <a:pt x="90" y="14"/>
                  </a:lnTo>
                  <a:lnTo>
                    <a:pt x="93" y="11"/>
                  </a:lnTo>
                  <a:lnTo>
                    <a:pt x="95" y="14"/>
                  </a:lnTo>
                  <a:lnTo>
                    <a:pt x="98" y="14"/>
                  </a:lnTo>
                  <a:lnTo>
                    <a:pt x="104" y="10"/>
                  </a:lnTo>
                  <a:lnTo>
                    <a:pt x="106" y="12"/>
                  </a:lnTo>
                  <a:lnTo>
                    <a:pt x="106" y="15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09" y="15"/>
                  </a:lnTo>
                  <a:lnTo>
                    <a:pt x="112" y="18"/>
                  </a:lnTo>
                  <a:lnTo>
                    <a:pt x="113" y="22"/>
                  </a:lnTo>
                  <a:lnTo>
                    <a:pt x="116" y="23"/>
                  </a:lnTo>
                  <a:lnTo>
                    <a:pt x="116" y="19"/>
                  </a:lnTo>
                  <a:lnTo>
                    <a:pt x="116" y="15"/>
                  </a:lnTo>
                  <a:lnTo>
                    <a:pt x="119" y="14"/>
                  </a:lnTo>
                  <a:lnTo>
                    <a:pt x="125" y="15"/>
                  </a:lnTo>
                  <a:lnTo>
                    <a:pt x="129" y="14"/>
                  </a:lnTo>
                  <a:lnTo>
                    <a:pt x="132" y="14"/>
                  </a:lnTo>
                  <a:lnTo>
                    <a:pt x="135" y="16"/>
                  </a:lnTo>
                  <a:lnTo>
                    <a:pt x="138" y="19"/>
                  </a:lnTo>
                  <a:lnTo>
                    <a:pt x="139" y="22"/>
                  </a:lnTo>
                  <a:lnTo>
                    <a:pt x="143" y="25"/>
                  </a:lnTo>
                  <a:lnTo>
                    <a:pt x="148" y="28"/>
                  </a:lnTo>
                  <a:lnTo>
                    <a:pt x="152" y="27"/>
                  </a:lnTo>
                  <a:lnTo>
                    <a:pt x="153" y="23"/>
                  </a:lnTo>
                  <a:lnTo>
                    <a:pt x="156" y="21"/>
                  </a:lnTo>
                  <a:lnTo>
                    <a:pt x="159" y="23"/>
                  </a:lnTo>
                  <a:lnTo>
                    <a:pt x="161" y="27"/>
                  </a:lnTo>
                  <a:lnTo>
                    <a:pt x="165" y="29"/>
                  </a:lnTo>
                  <a:lnTo>
                    <a:pt x="166" y="32"/>
                  </a:lnTo>
                  <a:lnTo>
                    <a:pt x="164" y="37"/>
                  </a:lnTo>
                  <a:lnTo>
                    <a:pt x="167" y="39"/>
                  </a:lnTo>
                  <a:lnTo>
                    <a:pt x="168" y="42"/>
                  </a:lnTo>
                  <a:lnTo>
                    <a:pt x="168" y="47"/>
                  </a:lnTo>
                  <a:lnTo>
                    <a:pt x="169" y="50"/>
                  </a:lnTo>
                  <a:lnTo>
                    <a:pt x="169" y="54"/>
                  </a:lnTo>
                  <a:lnTo>
                    <a:pt x="168" y="57"/>
                  </a:lnTo>
                  <a:lnTo>
                    <a:pt x="167" y="62"/>
                  </a:lnTo>
                  <a:lnTo>
                    <a:pt x="168" y="65"/>
                  </a:lnTo>
                  <a:lnTo>
                    <a:pt x="171" y="69"/>
                  </a:lnTo>
                  <a:lnTo>
                    <a:pt x="174" y="70"/>
                  </a:lnTo>
                  <a:lnTo>
                    <a:pt x="176" y="68"/>
                  </a:lnTo>
                  <a:lnTo>
                    <a:pt x="179" y="70"/>
                  </a:lnTo>
                  <a:lnTo>
                    <a:pt x="181" y="73"/>
                  </a:lnTo>
                  <a:lnTo>
                    <a:pt x="184" y="73"/>
                  </a:lnTo>
                  <a:lnTo>
                    <a:pt x="186" y="76"/>
                  </a:lnTo>
                  <a:lnTo>
                    <a:pt x="187" y="78"/>
                  </a:lnTo>
                  <a:lnTo>
                    <a:pt x="190" y="80"/>
                  </a:lnTo>
                  <a:lnTo>
                    <a:pt x="193" y="78"/>
                  </a:lnTo>
                  <a:lnTo>
                    <a:pt x="193" y="75"/>
                  </a:lnTo>
                  <a:lnTo>
                    <a:pt x="195" y="73"/>
                  </a:lnTo>
                  <a:lnTo>
                    <a:pt x="199" y="75"/>
                  </a:lnTo>
                  <a:lnTo>
                    <a:pt x="201" y="79"/>
                  </a:lnTo>
                  <a:lnTo>
                    <a:pt x="199" y="82"/>
                  </a:lnTo>
                  <a:lnTo>
                    <a:pt x="201" y="88"/>
                  </a:lnTo>
                  <a:lnTo>
                    <a:pt x="201" y="92"/>
                  </a:lnTo>
                  <a:lnTo>
                    <a:pt x="198" y="93"/>
                  </a:lnTo>
                  <a:lnTo>
                    <a:pt x="201" y="97"/>
                  </a:lnTo>
                  <a:lnTo>
                    <a:pt x="203" y="95"/>
                  </a:lnTo>
                  <a:lnTo>
                    <a:pt x="206" y="95"/>
                  </a:lnTo>
                  <a:lnTo>
                    <a:pt x="207" y="98"/>
                  </a:lnTo>
                  <a:lnTo>
                    <a:pt x="206" y="102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11" y="109"/>
                  </a:lnTo>
                  <a:lnTo>
                    <a:pt x="214" y="110"/>
                  </a:lnTo>
                  <a:lnTo>
                    <a:pt x="217" y="110"/>
                  </a:lnTo>
                  <a:lnTo>
                    <a:pt x="220" y="112"/>
                  </a:lnTo>
                  <a:lnTo>
                    <a:pt x="224" y="113"/>
                  </a:lnTo>
                  <a:lnTo>
                    <a:pt x="227" y="112"/>
                  </a:lnTo>
                  <a:lnTo>
                    <a:pt x="231" y="115"/>
                  </a:lnTo>
                  <a:lnTo>
                    <a:pt x="234" y="114"/>
                  </a:lnTo>
                  <a:lnTo>
                    <a:pt x="234" y="117"/>
                  </a:lnTo>
                  <a:lnTo>
                    <a:pt x="236" y="119"/>
                  </a:lnTo>
                  <a:lnTo>
                    <a:pt x="238" y="127"/>
                  </a:lnTo>
                  <a:lnTo>
                    <a:pt x="238" y="130"/>
                  </a:lnTo>
                  <a:lnTo>
                    <a:pt x="240" y="134"/>
                  </a:lnTo>
                  <a:lnTo>
                    <a:pt x="240" y="137"/>
                  </a:lnTo>
                  <a:lnTo>
                    <a:pt x="238" y="138"/>
                  </a:lnTo>
                  <a:lnTo>
                    <a:pt x="240" y="141"/>
                  </a:lnTo>
                  <a:lnTo>
                    <a:pt x="243" y="141"/>
                  </a:lnTo>
                  <a:lnTo>
                    <a:pt x="246" y="141"/>
                  </a:lnTo>
                  <a:lnTo>
                    <a:pt x="247" y="144"/>
                  </a:lnTo>
                  <a:lnTo>
                    <a:pt x="250" y="145"/>
                  </a:lnTo>
                  <a:lnTo>
                    <a:pt x="253" y="145"/>
                  </a:lnTo>
                  <a:lnTo>
                    <a:pt x="254" y="149"/>
                  </a:lnTo>
                  <a:lnTo>
                    <a:pt x="251" y="152"/>
                  </a:lnTo>
                  <a:lnTo>
                    <a:pt x="243" y="153"/>
                  </a:lnTo>
                  <a:lnTo>
                    <a:pt x="240" y="158"/>
                  </a:lnTo>
                  <a:lnTo>
                    <a:pt x="237" y="157"/>
                  </a:lnTo>
                  <a:lnTo>
                    <a:pt x="236" y="154"/>
                  </a:lnTo>
                  <a:lnTo>
                    <a:pt x="234" y="152"/>
                  </a:lnTo>
                  <a:lnTo>
                    <a:pt x="230" y="149"/>
                  </a:lnTo>
                  <a:lnTo>
                    <a:pt x="228" y="153"/>
                  </a:lnTo>
                  <a:lnTo>
                    <a:pt x="227" y="156"/>
                  </a:lnTo>
                  <a:lnTo>
                    <a:pt x="225" y="160"/>
                  </a:lnTo>
                  <a:lnTo>
                    <a:pt x="222" y="159"/>
                  </a:lnTo>
                  <a:lnTo>
                    <a:pt x="219" y="156"/>
                  </a:lnTo>
                  <a:lnTo>
                    <a:pt x="216" y="156"/>
                  </a:lnTo>
                  <a:lnTo>
                    <a:pt x="215" y="153"/>
                  </a:lnTo>
                  <a:lnTo>
                    <a:pt x="212" y="151"/>
                  </a:lnTo>
                  <a:lnTo>
                    <a:pt x="211" y="154"/>
                  </a:lnTo>
                  <a:lnTo>
                    <a:pt x="209" y="159"/>
                  </a:lnTo>
                  <a:lnTo>
                    <a:pt x="203" y="155"/>
                  </a:lnTo>
                  <a:lnTo>
                    <a:pt x="202" y="158"/>
                  </a:lnTo>
                  <a:lnTo>
                    <a:pt x="203" y="161"/>
                  </a:lnTo>
                  <a:lnTo>
                    <a:pt x="200" y="166"/>
                  </a:lnTo>
                  <a:lnTo>
                    <a:pt x="197" y="166"/>
                  </a:lnTo>
                  <a:lnTo>
                    <a:pt x="198" y="163"/>
                  </a:lnTo>
                  <a:lnTo>
                    <a:pt x="196" y="154"/>
                  </a:lnTo>
                  <a:lnTo>
                    <a:pt x="194" y="151"/>
                  </a:lnTo>
                  <a:lnTo>
                    <a:pt x="188" y="156"/>
                  </a:lnTo>
                  <a:lnTo>
                    <a:pt x="185" y="158"/>
                  </a:lnTo>
                  <a:lnTo>
                    <a:pt x="181" y="162"/>
                  </a:lnTo>
                  <a:lnTo>
                    <a:pt x="180" y="167"/>
                  </a:lnTo>
                  <a:lnTo>
                    <a:pt x="182" y="171"/>
                  </a:lnTo>
                  <a:lnTo>
                    <a:pt x="184" y="175"/>
                  </a:lnTo>
                  <a:lnTo>
                    <a:pt x="184" y="178"/>
                  </a:lnTo>
                  <a:lnTo>
                    <a:pt x="186" y="182"/>
                  </a:lnTo>
                  <a:lnTo>
                    <a:pt x="190" y="185"/>
                  </a:lnTo>
                  <a:lnTo>
                    <a:pt x="191" y="189"/>
                  </a:lnTo>
                  <a:lnTo>
                    <a:pt x="189" y="195"/>
                  </a:lnTo>
                  <a:lnTo>
                    <a:pt x="189" y="198"/>
                  </a:lnTo>
                  <a:lnTo>
                    <a:pt x="191" y="202"/>
                  </a:lnTo>
                  <a:lnTo>
                    <a:pt x="180" y="211"/>
                  </a:lnTo>
                  <a:lnTo>
                    <a:pt x="179" y="214"/>
                  </a:lnTo>
                  <a:lnTo>
                    <a:pt x="181" y="217"/>
                  </a:lnTo>
                  <a:lnTo>
                    <a:pt x="182" y="221"/>
                  </a:lnTo>
                  <a:lnTo>
                    <a:pt x="180" y="224"/>
                  </a:lnTo>
                  <a:lnTo>
                    <a:pt x="179" y="228"/>
                  </a:lnTo>
                  <a:lnTo>
                    <a:pt x="173" y="231"/>
                  </a:lnTo>
                  <a:lnTo>
                    <a:pt x="174" y="235"/>
                  </a:lnTo>
                  <a:lnTo>
                    <a:pt x="171" y="239"/>
                  </a:lnTo>
                  <a:lnTo>
                    <a:pt x="169" y="242"/>
                  </a:lnTo>
                  <a:lnTo>
                    <a:pt x="172" y="245"/>
                  </a:lnTo>
                  <a:lnTo>
                    <a:pt x="174" y="248"/>
                  </a:lnTo>
                  <a:lnTo>
                    <a:pt x="173" y="252"/>
                  </a:lnTo>
                  <a:lnTo>
                    <a:pt x="174" y="255"/>
                  </a:lnTo>
                  <a:lnTo>
                    <a:pt x="169" y="258"/>
                  </a:lnTo>
                  <a:lnTo>
                    <a:pt x="164" y="258"/>
                  </a:lnTo>
                  <a:lnTo>
                    <a:pt x="159" y="259"/>
                  </a:lnTo>
                  <a:lnTo>
                    <a:pt x="157" y="262"/>
                  </a:lnTo>
                  <a:lnTo>
                    <a:pt x="156" y="265"/>
                  </a:lnTo>
                  <a:lnTo>
                    <a:pt x="153" y="263"/>
                  </a:lnTo>
                  <a:lnTo>
                    <a:pt x="153" y="260"/>
                  </a:lnTo>
                  <a:lnTo>
                    <a:pt x="151" y="257"/>
                  </a:lnTo>
                  <a:lnTo>
                    <a:pt x="145" y="255"/>
                  </a:lnTo>
                  <a:lnTo>
                    <a:pt x="147" y="252"/>
                  </a:lnTo>
                  <a:lnTo>
                    <a:pt x="150" y="251"/>
                  </a:lnTo>
                  <a:lnTo>
                    <a:pt x="150" y="248"/>
                  </a:lnTo>
                  <a:lnTo>
                    <a:pt x="147" y="239"/>
                  </a:lnTo>
                  <a:lnTo>
                    <a:pt x="145" y="235"/>
                  </a:lnTo>
                  <a:lnTo>
                    <a:pt x="143" y="233"/>
                  </a:lnTo>
                  <a:lnTo>
                    <a:pt x="142" y="230"/>
                  </a:lnTo>
                  <a:lnTo>
                    <a:pt x="142" y="227"/>
                  </a:lnTo>
                  <a:lnTo>
                    <a:pt x="142" y="224"/>
                  </a:lnTo>
                  <a:lnTo>
                    <a:pt x="140" y="222"/>
                  </a:lnTo>
                  <a:lnTo>
                    <a:pt x="138" y="218"/>
                  </a:lnTo>
                  <a:lnTo>
                    <a:pt x="137" y="212"/>
                  </a:lnTo>
                  <a:lnTo>
                    <a:pt x="137" y="205"/>
                  </a:lnTo>
                  <a:lnTo>
                    <a:pt x="137" y="200"/>
                  </a:lnTo>
                  <a:lnTo>
                    <a:pt x="133" y="197"/>
                  </a:lnTo>
                  <a:lnTo>
                    <a:pt x="134" y="193"/>
                  </a:lnTo>
                  <a:lnTo>
                    <a:pt x="137" y="190"/>
                  </a:lnTo>
                  <a:lnTo>
                    <a:pt x="137" y="187"/>
                  </a:lnTo>
                  <a:lnTo>
                    <a:pt x="137" y="184"/>
                  </a:lnTo>
                  <a:lnTo>
                    <a:pt x="137" y="181"/>
                  </a:lnTo>
                  <a:lnTo>
                    <a:pt x="138" y="178"/>
                  </a:lnTo>
                  <a:lnTo>
                    <a:pt x="138" y="173"/>
                  </a:lnTo>
                  <a:lnTo>
                    <a:pt x="134" y="171"/>
                  </a:lnTo>
                  <a:lnTo>
                    <a:pt x="133" y="166"/>
                  </a:lnTo>
                  <a:lnTo>
                    <a:pt x="133" y="163"/>
                  </a:lnTo>
                  <a:lnTo>
                    <a:pt x="134" y="160"/>
                  </a:lnTo>
                  <a:lnTo>
                    <a:pt x="133" y="157"/>
                  </a:lnTo>
                  <a:lnTo>
                    <a:pt x="127" y="149"/>
                  </a:lnTo>
                  <a:lnTo>
                    <a:pt x="123" y="144"/>
                  </a:lnTo>
                  <a:lnTo>
                    <a:pt x="121" y="139"/>
                  </a:lnTo>
                  <a:lnTo>
                    <a:pt x="120" y="137"/>
                  </a:lnTo>
                  <a:lnTo>
                    <a:pt x="118" y="134"/>
                  </a:lnTo>
                  <a:lnTo>
                    <a:pt x="116" y="130"/>
                  </a:lnTo>
                  <a:lnTo>
                    <a:pt x="112" y="126"/>
                  </a:lnTo>
                  <a:lnTo>
                    <a:pt x="109" y="125"/>
                  </a:lnTo>
                  <a:lnTo>
                    <a:pt x="105" y="125"/>
                  </a:lnTo>
                  <a:lnTo>
                    <a:pt x="102" y="122"/>
                  </a:lnTo>
                  <a:lnTo>
                    <a:pt x="99" y="121"/>
                  </a:lnTo>
                  <a:lnTo>
                    <a:pt x="95" y="118"/>
                  </a:lnTo>
                  <a:lnTo>
                    <a:pt x="94" y="115"/>
                  </a:lnTo>
                  <a:lnTo>
                    <a:pt x="91" y="111"/>
                  </a:lnTo>
                  <a:lnTo>
                    <a:pt x="88" y="108"/>
                  </a:lnTo>
                  <a:lnTo>
                    <a:pt x="85" y="107"/>
                  </a:lnTo>
                  <a:lnTo>
                    <a:pt x="82" y="106"/>
                  </a:lnTo>
                  <a:lnTo>
                    <a:pt x="78" y="102"/>
                  </a:lnTo>
                  <a:lnTo>
                    <a:pt x="76" y="97"/>
                  </a:lnTo>
                  <a:lnTo>
                    <a:pt x="75" y="94"/>
                  </a:lnTo>
                  <a:lnTo>
                    <a:pt x="74" y="92"/>
                  </a:lnTo>
                  <a:lnTo>
                    <a:pt x="70" y="92"/>
                  </a:lnTo>
                  <a:lnTo>
                    <a:pt x="67" y="90"/>
                  </a:lnTo>
                  <a:lnTo>
                    <a:pt x="65" y="87"/>
                  </a:lnTo>
                  <a:lnTo>
                    <a:pt x="62" y="84"/>
                  </a:lnTo>
                  <a:lnTo>
                    <a:pt x="58" y="82"/>
                  </a:lnTo>
                  <a:lnTo>
                    <a:pt x="53" y="78"/>
                  </a:lnTo>
                  <a:lnTo>
                    <a:pt x="50" y="74"/>
                  </a:lnTo>
                  <a:lnTo>
                    <a:pt x="50" y="70"/>
                  </a:lnTo>
                  <a:lnTo>
                    <a:pt x="47" y="67"/>
                  </a:lnTo>
                  <a:lnTo>
                    <a:pt x="46" y="64"/>
                  </a:lnTo>
                  <a:lnTo>
                    <a:pt x="44" y="63"/>
                  </a:lnTo>
                  <a:lnTo>
                    <a:pt x="43" y="59"/>
                  </a:lnTo>
                  <a:lnTo>
                    <a:pt x="40" y="57"/>
                  </a:lnTo>
                  <a:lnTo>
                    <a:pt x="40" y="55"/>
                  </a:lnTo>
                  <a:lnTo>
                    <a:pt x="38" y="52"/>
                  </a:lnTo>
                  <a:lnTo>
                    <a:pt x="35" y="49"/>
                  </a:lnTo>
                  <a:lnTo>
                    <a:pt x="32" y="47"/>
                  </a:lnTo>
                  <a:lnTo>
                    <a:pt x="29" y="45"/>
                  </a:lnTo>
                  <a:lnTo>
                    <a:pt x="28" y="42"/>
                  </a:lnTo>
                  <a:lnTo>
                    <a:pt x="25" y="40"/>
                  </a:lnTo>
                  <a:lnTo>
                    <a:pt x="24" y="37"/>
                  </a:lnTo>
                  <a:lnTo>
                    <a:pt x="21" y="36"/>
                  </a:lnTo>
                  <a:lnTo>
                    <a:pt x="19" y="36"/>
                  </a:lnTo>
                  <a:lnTo>
                    <a:pt x="14" y="32"/>
                  </a:lnTo>
                  <a:lnTo>
                    <a:pt x="11" y="31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2" y="31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7" y="29"/>
                  </a:lnTo>
                  <a:lnTo>
                    <a:pt x="8" y="25"/>
                  </a:lnTo>
                  <a:lnTo>
                    <a:pt x="7" y="22"/>
                  </a:lnTo>
                  <a:lnTo>
                    <a:pt x="12" y="18"/>
                  </a:lnTo>
                  <a:lnTo>
                    <a:pt x="17" y="20"/>
                  </a:lnTo>
                  <a:lnTo>
                    <a:pt x="19" y="19"/>
                  </a:lnTo>
                  <a:lnTo>
                    <a:pt x="22" y="18"/>
                  </a:lnTo>
                  <a:lnTo>
                    <a:pt x="21" y="16"/>
                  </a:lnTo>
                  <a:lnTo>
                    <a:pt x="24" y="15"/>
                  </a:lnTo>
                  <a:lnTo>
                    <a:pt x="31" y="16"/>
                  </a:lnTo>
                  <a:lnTo>
                    <a:pt x="35" y="14"/>
                  </a:lnTo>
                  <a:lnTo>
                    <a:pt x="37" y="9"/>
                  </a:lnTo>
                  <a:lnTo>
                    <a:pt x="42" y="8"/>
                  </a:lnTo>
                  <a:lnTo>
                    <a:pt x="47" y="4"/>
                  </a:lnTo>
                  <a:lnTo>
                    <a:pt x="50" y="1"/>
                  </a:lnTo>
                  <a:lnTo>
                    <a:pt x="54" y="1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2" name="ME">
              <a:extLst>
                <a:ext uri="{FF2B5EF4-FFF2-40B4-BE49-F238E27FC236}">
                  <a16:creationId xmlns:a16="http://schemas.microsoft.com/office/drawing/2014/main" id="{261E59DE-75A7-DAFA-F8E5-897C1A576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87" y="5527902"/>
              <a:ext cx="251275" cy="270162"/>
            </a:xfrm>
            <a:custGeom>
              <a:avLst/>
              <a:gdLst>
                <a:gd name="T0" fmla="*/ 48 w 132"/>
                <a:gd name="T1" fmla="*/ 8 h 152"/>
                <a:gd name="T2" fmla="*/ 67 w 132"/>
                <a:gd name="T3" fmla="*/ 19 h 152"/>
                <a:gd name="T4" fmla="*/ 75 w 132"/>
                <a:gd name="T5" fmla="*/ 29 h 152"/>
                <a:gd name="T6" fmla="*/ 85 w 132"/>
                <a:gd name="T7" fmla="*/ 30 h 152"/>
                <a:gd name="T8" fmla="*/ 95 w 132"/>
                <a:gd name="T9" fmla="*/ 36 h 152"/>
                <a:gd name="T10" fmla="*/ 103 w 132"/>
                <a:gd name="T11" fmla="*/ 36 h 152"/>
                <a:gd name="T12" fmla="*/ 120 w 132"/>
                <a:gd name="T13" fmla="*/ 44 h 152"/>
                <a:gd name="T14" fmla="*/ 132 w 132"/>
                <a:gd name="T15" fmla="*/ 51 h 152"/>
                <a:gd name="T16" fmla="*/ 124 w 132"/>
                <a:gd name="T17" fmla="*/ 58 h 152"/>
                <a:gd name="T18" fmla="*/ 117 w 132"/>
                <a:gd name="T19" fmla="*/ 63 h 152"/>
                <a:gd name="T20" fmla="*/ 112 w 132"/>
                <a:gd name="T21" fmla="*/ 69 h 152"/>
                <a:gd name="T22" fmla="*/ 116 w 132"/>
                <a:gd name="T23" fmla="*/ 79 h 152"/>
                <a:gd name="T24" fmla="*/ 111 w 132"/>
                <a:gd name="T25" fmla="*/ 87 h 152"/>
                <a:gd name="T26" fmla="*/ 98 w 132"/>
                <a:gd name="T27" fmla="*/ 92 h 152"/>
                <a:gd name="T28" fmla="*/ 94 w 132"/>
                <a:gd name="T29" fmla="*/ 81 h 152"/>
                <a:gd name="T30" fmla="*/ 85 w 132"/>
                <a:gd name="T31" fmla="*/ 82 h 152"/>
                <a:gd name="T32" fmla="*/ 82 w 132"/>
                <a:gd name="T33" fmla="*/ 91 h 152"/>
                <a:gd name="T34" fmla="*/ 73 w 132"/>
                <a:gd name="T35" fmla="*/ 105 h 152"/>
                <a:gd name="T36" fmla="*/ 65 w 132"/>
                <a:gd name="T37" fmla="*/ 124 h 152"/>
                <a:gd name="T38" fmla="*/ 72 w 132"/>
                <a:gd name="T39" fmla="*/ 134 h 152"/>
                <a:gd name="T40" fmla="*/ 73 w 132"/>
                <a:gd name="T41" fmla="*/ 143 h 152"/>
                <a:gd name="T42" fmla="*/ 75 w 132"/>
                <a:gd name="T43" fmla="*/ 152 h 152"/>
                <a:gd name="T44" fmla="*/ 61 w 132"/>
                <a:gd name="T45" fmla="*/ 148 h 152"/>
                <a:gd name="T46" fmla="*/ 53 w 132"/>
                <a:gd name="T47" fmla="*/ 135 h 152"/>
                <a:gd name="T48" fmla="*/ 48 w 132"/>
                <a:gd name="T49" fmla="*/ 130 h 152"/>
                <a:gd name="T50" fmla="*/ 39 w 132"/>
                <a:gd name="T51" fmla="*/ 119 h 152"/>
                <a:gd name="T52" fmla="*/ 31 w 132"/>
                <a:gd name="T53" fmla="*/ 120 h 152"/>
                <a:gd name="T54" fmla="*/ 24 w 132"/>
                <a:gd name="T55" fmla="*/ 111 h 152"/>
                <a:gd name="T56" fmla="*/ 16 w 132"/>
                <a:gd name="T57" fmla="*/ 111 h 152"/>
                <a:gd name="T58" fmla="*/ 24 w 132"/>
                <a:gd name="T59" fmla="*/ 110 h 152"/>
                <a:gd name="T60" fmla="*/ 10 w 132"/>
                <a:gd name="T61" fmla="*/ 105 h 152"/>
                <a:gd name="T62" fmla="*/ 7 w 132"/>
                <a:gd name="T63" fmla="*/ 105 h 152"/>
                <a:gd name="T64" fmla="*/ 8 w 132"/>
                <a:gd name="T65" fmla="*/ 95 h 152"/>
                <a:gd name="T66" fmla="*/ 11 w 132"/>
                <a:gd name="T67" fmla="*/ 85 h 152"/>
                <a:gd name="T68" fmla="*/ 2 w 132"/>
                <a:gd name="T69" fmla="*/ 72 h 152"/>
                <a:gd name="T70" fmla="*/ 1 w 132"/>
                <a:gd name="T71" fmla="*/ 63 h 152"/>
                <a:gd name="T72" fmla="*/ 7 w 132"/>
                <a:gd name="T73" fmla="*/ 52 h 152"/>
                <a:gd name="T74" fmla="*/ 12 w 132"/>
                <a:gd name="T75" fmla="*/ 45 h 152"/>
                <a:gd name="T76" fmla="*/ 22 w 132"/>
                <a:gd name="T77" fmla="*/ 22 h 152"/>
                <a:gd name="T78" fmla="*/ 32 w 132"/>
                <a:gd name="T79" fmla="*/ 20 h 152"/>
                <a:gd name="T80" fmla="*/ 37 w 132"/>
                <a:gd name="T81" fmla="*/ 22 h 152"/>
                <a:gd name="T82" fmla="*/ 35 w 132"/>
                <a:gd name="T83" fmla="*/ 12 h 152"/>
                <a:gd name="T84" fmla="*/ 27 w 132"/>
                <a:gd name="T85" fmla="*/ 4 h 152"/>
                <a:gd name="T86" fmla="*/ 36 w 132"/>
                <a:gd name="T87" fmla="*/ 3 h 152"/>
                <a:gd name="T88" fmla="*/ 46 w 132"/>
                <a:gd name="T8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2" h="152">
                  <a:moveTo>
                    <a:pt x="46" y="0"/>
                  </a:moveTo>
                  <a:lnTo>
                    <a:pt x="45" y="5"/>
                  </a:lnTo>
                  <a:lnTo>
                    <a:pt x="48" y="8"/>
                  </a:lnTo>
                  <a:lnTo>
                    <a:pt x="58" y="11"/>
                  </a:lnTo>
                  <a:lnTo>
                    <a:pt x="62" y="16"/>
                  </a:lnTo>
                  <a:lnTo>
                    <a:pt x="67" y="19"/>
                  </a:lnTo>
                  <a:lnTo>
                    <a:pt x="69" y="23"/>
                  </a:lnTo>
                  <a:lnTo>
                    <a:pt x="73" y="25"/>
                  </a:lnTo>
                  <a:lnTo>
                    <a:pt x="75" y="29"/>
                  </a:lnTo>
                  <a:lnTo>
                    <a:pt x="79" y="30"/>
                  </a:lnTo>
                  <a:lnTo>
                    <a:pt x="82" y="31"/>
                  </a:lnTo>
                  <a:lnTo>
                    <a:pt x="85" y="30"/>
                  </a:lnTo>
                  <a:lnTo>
                    <a:pt x="88" y="33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8" y="35"/>
                  </a:lnTo>
                  <a:lnTo>
                    <a:pt x="100" y="33"/>
                  </a:lnTo>
                  <a:lnTo>
                    <a:pt x="103" y="36"/>
                  </a:lnTo>
                  <a:lnTo>
                    <a:pt x="107" y="38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6" y="46"/>
                  </a:lnTo>
                  <a:lnTo>
                    <a:pt x="130" y="48"/>
                  </a:lnTo>
                  <a:lnTo>
                    <a:pt x="132" y="51"/>
                  </a:lnTo>
                  <a:lnTo>
                    <a:pt x="132" y="55"/>
                  </a:lnTo>
                  <a:lnTo>
                    <a:pt x="126" y="57"/>
                  </a:lnTo>
                  <a:lnTo>
                    <a:pt x="124" y="58"/>
                  </a:lnTo>
                  <a:lnTo>
                    <a:pt x="123" y="61"/>
                  </a:lnTo>
                  <a:lnTo>
                    <a:pt x="122" y="64"/>
                  </a:lnTo>
                  <a:lnTo>
                    <a:pt x="117" y="63"/>
                  </a:lnTo>
                  <a:lnTo>
                    <a:pt x="114" y="62"/>
                  </a:lnTo>
                  <a:lnTo>
                    <a:pt x="112" y="65"/>
                  </a:lnTo>
                  <a:lnTo>
                    <a:pt x="112" y="69"/>
                  </a:lnTo>
                  <a:lnTo>
                    <a:pt x="117" y="72"/>
                  </a:lnTo>
                  <a:lnTo>
                    <a:pt x="117" y="75"/>
                  </a:lnTo>
                  <a:lnTo>
                    <a:pt x="116" y="79"/>
                  </a:lnTo>
                  <a:lnTo>
                    <a:pt x="116" y="83"/>
                  </a:lnTo>
                  <a:lnTo>
                    <a:pt x="113" y="83"/>
                  </a:lnTo>
                  <a:lnTo>
                    <a:pt x="111" y="87"/>
                  </a:lnTo>
                  <a:lnTo>
                    <a:pt x="109" y="88"/>
                  </a:lnTo>
                  <a:lnTo>
                    <a:pt x="101" y="92"/>
                  </a:lnTo>
                  <a:lnTo>
                    <a:pt x="98" y="92"/>
                  </a:lnTo>
                  <a:lnTo>
                    <a:pt x="94" y="88"/>
                  </a:lnTo>
                  <a:lnTo>
                    <a:pt x="93" y="85"/>
                  </a:lnTo>
                  <a:lnTo>
                    <a:pt x="94" y="81"/>
                  </a:lnTo>
                  <a:lnTo>
                    <a:pt x="92" y="77"/>
                  </a:lnTo>
                  <a:lnTo>
                    <a:pt x="89" y="77"/>
                  </a:lnTo>
                  <a:lnTo>
                    <a:pt x="85" y="82"/>
                  </a:lnTo>
                  <a:lnTo>
                    <a:pt x="84" y="85"/>
                  </a:lnTo>
                  <a:lnTo>
                    <a:pt x="84" y="88"/>
                  </a:lnTo>
                  <a:lnTo>
                    <a:pt x="82" y="91"/>
                  </a:lnTo>
                  <a:lnTo>
                    <a:pt x="81" y="94"/>
                  </a:lnTo>
                  <a:lnTo>
                    <a:pt x="79" y="98"/>
                  </a:lnTo>
                  <a:lnTo>
                    <a:pt x="73" y="105"/>
                  </a:lnTo>
                  <a:lnTo>
                    <a:pt x="72" y="108"/>
                  </a:lnTo>
                  <a:lnTo>
                    <a:pt x="67" y="121"/>
                  </a:lnTo>
                  <a:lnTo>
                    <a:pt x="65" y="124"/>
                  </a:lnTo>
                  <a:lnTo>
                    <a:pt x="67" y="127"/>
                  </a:lnTo>
                  <a:lnTo>
                    <a:pt x="71" y="129"/>
                  </a:lnTo>
                  <a:lnTo>
                    <a:pt x="72" y="134"/>
                  </a:lnTo>
                  <a:lnTo>
                    <a:pt x="72" y="138"/>
                  </a:lnTo>
                  <a:lnTo>
                    <a:pt x="73" y="141"/>
                  </a:lnTo>
                  <a:lnTo>
                    <a:pt x="73" y="143"/>
                  </a:lnTo>
                  <a:lnTo>
                    <a:pt x="73" y="146"/>
                  </a:lnTo>
                  <a:lnTo>
                    <a:pt x="74" y="149"/>
                  </a:lnTo>
                  <a:lnTo>
                    <a:pt x="75" y="152"/>
                  </a:lnTo>
                  <a:lnTo>
                    <a:pt x="71" y="150"/>
                  </a:lnTo>
                  <a:lnTo>
                    <a:pt x="64" y="149"/>
                  </a:lnTo>
                  <a:lnTo>
                    <a:pt x="61" y="148"/>
                  </a:lnTo>
                  <a:lnTo>
                    <a:pt x="60" y="144"/>
                  </a:lnTo>
                  <a:lnTo>
                    <a:pt x="58" y="138"/>
                  </a:lnTo>
                  <a:lnTo>
                    <a:pt x="53" y="135"/>
                  </a:lnTo>
                  <a:lnTo>
                    <a:pt x="53" y="132"/>
                  </a:lnTo>
                  <a:lnTo>
                    <a:pt x="50" y="130"/>
                  </a:lnTo>
                  <a:lnTo>
                    <a:pt x="48" y="130"/>
                  </a:lnTo>
                  <a:lnTo>
                    <a:pt x="44" y="126"/>
                  </a:lnTo>
                  <a:lnTo>
                    <a:pt x="40" y="123"/>
                  </a:lnTo>
                  <a:lnTo>
                    <a:pt x="39" y="119"/>
                  </a:lnTo>
                  <a:lnTo>
                    <a:pt x="36" y="118"/>
                  </a:lnTo>
                  <a:lnTo>
                    <a:pt x="33" y="118"/>
                  </a:lnTo>
                  <a:lnTo>
                    <a:pt x="31" y="120"/>
                  </a:lnTo>
                  <a:lnTo>
                    <a:pt x="27" y="117"/>
                  </a:lnTo>
                  <a:lnTo>
                    <a:pt x="25" y="114"/>
                  </a:lnTo>
                  <a:lnTo>
                    <a:pt x="24" y="111"/>
                  </a:lnTo>
                  <a:lnTo>
                    <a:pt x="21" y="111"/>
                  </a:lnTo>
                  <a:lnTo>
                    <a:pt x="19" y="113"/>
                  </a:lnTo>
                  <a:lnTo>
                    <a:pt x="16" y="111"/>
                  </a:lnTo>
                  <a:lnTo>
                    <a:pt x="13" y="108"/>
                  </a:lnTo>
                  <a:lnTo>
                    <a:pt x="21" y="108"/>
                  </a:lnTo>
                  <a:lnTo>
                    <a:pt x="24" y="110"/>
                  </a:lnTo>
                  <a:lnTo>
                    <a:pt x="22" y="104"/>
                  </a:lnTo>
                  <a:lnTo>
                    <a:pt x="18" y="106"/>
                  </a:lnTo>
                  <a:lnTo>
                    <a:pt x="10" y="105"/>
                  </a:lnTo>
                  <a:lnTo>
                    <a:pt x="11" y="110"/>
                  </a:lnTo>
                  <a:lnTo>
                    <a:pt x="10" y="107"/>
                  </a:lnTo>
                  <a:lnTo>
                    <a:pt x="7" y="105"/>
                  </a:lnTo>
                  <a:lnTo>
                    <a:pt x="4" y="102"/>
                  </a:lnTo>
                  <a:lnTo>
                    <a:pt x="4" y="98"/>
                  </a:lnTo>
                  <a:lnTo>
                    <a:pt x="8" y="95"/>
                  </a:lnTo>
                  <a:lnTo>
                    <a:pt x="10" y="91"/>
                  </a:lnTo>
                  <a:lnTo>
                    <a:pt x="12" y="87"/>
                  </a:lnTo>
                  <a:lnTo>
                    <a:pt x="11" y="85"/>
                  </a:lnTo>
                  <a:lnTo>
                    <a:pt x="9" y="81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2" y="69"/>
                  </a:lnTo>
                  <a:lnTo>
                    <a:pt x="3" y="66"/>
                  </a:lnTo>
                  <a:lnTo>
                    <a:pt x="1" y="63"/>
                  </a:lnTo>
                  <a:lnTo>
                    <a:pt x="0" y="59"/>
                  </a:lnTo>
                  <a:lnTo>
                    <a:pt x="1" y="56"/>
                  </a:lnTo>
                  <a:lnTo>
                    <a:pt x="7" y="52"/>
                  </a:lnTo>
                  <a:lnTo>
                    <a:pt x="11" y="52"/>
                  </a:lnTo>
                  <a:lnTo>
                    <a:pt x="14" y="52"/>
                  </a:lnTo>
                  <a:lnTo>
                    <a:pt x="12" y="45"/>
                  </a:lnTo>
                  <a:lnTo>
                    <a:pt x="12" y="40"/>
                  </a:lnTo>
                  <a:lnTo>
                    <a:pt x="15" y="33"/>
                  </a:lnTo>
                  <a:lnTo>
                    <a:pt x="22" y="22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32" y="20"/>
                  </a:lnTo>
                  <a:lnTo>
                    <a:pt x="32" y="23"/>
                  </a:lnTo>
                  <a:lnTo>
                    <a:pt x="35" y="25"/>
                  </a:lnTo>
                  <a:lnTo>
                    <a:pt x="37" y="22"/>
                  </a:lnTo>
                  <a:lnTo>
                    <a:pt x="39" y="22"/>
                  </a:lnTo>
                  <a:lnTo>
                    <a:pt x="37" y="18"/>
                  </a:lnTo>
                  <a:lnTo>
                    <a:pt x="35" y="12"/>
                  </a:lnTo>
                  <a:lnTo>
                    <a:pt x="32" y="10"/>
                  </a:lnTo>
                  <a:lnTo>
                    <a:pt x="29" y="7"/>
                  </a:lnTo>
                  <a:lnTo>
                    <a:pt x="27" y="4"/>
                  </a:lnTo>
                  <a:lnTo>
                    <a:pt x="30" y="1"/>
                  </a:lnTo>
                  <a:lnTo>
                    <a:pt x="33" y="0"/>
                  </a:lnTo>
                  <a:lnTo>
                    <a:pt x="36" y="3"/>
                  </a:lnTo>
                  <a:lnTo>
                    <a:pt x="38" y="3"/>
                  </a:lnTo>
                  <a:lnTo>
                    <a:pt x="41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3" name="NL">
              <a:extLst>
                <a:ext uri="{FF2B5EF4-FFF2-40B4-BE49-F238E27FC236}">
                  <a16:creationId xmlns:a16="http://schemas.microsoft.com/office/drawing/2014/main" id="{3DB8CFC0-6B6B-8ECB-9EE4-4C894E1193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2426" y="3920784"/>
              <a:ext cx="441591" cy="461354"/>
            </a:xfrm>
            <a:custGeom>
              <a:avLst/>
              <a:gdLst>
                <a:gd name="T0" fmla="*/ 36 w 231"/>
                <a:gd name="T1" fmla="*/ 195 h 261"/>
                <a:gd name="T2" fmla="*/ 50 w 231"/>
                <a:gd name="T3" fmla="*/ 196 h 261"/>
                <a:gd name="T4" fmla="*/ 25 w 231"/>
                <a:gd name="T5" fmla="*/ 210 h 261"/>
                <a:gd name="T6" fmla="*/ 8 w 231"/>
                <a:gd name="T7" fmla="*/ 205 h 261"/>
                <a:gd name="T8" fmla="*/ 10 w 231"/>
                <a:gd name="T9" fmla="*/ 189 h 261"/>
                <a:gd name="T10" fmla="*/ 39 w 231"/>
                <a:gd name="T11" fmla="*/ 171 h 261"/>
                <a:gd name="T12" fmla="*/ 23 w 231"/>
                <a:gd name="T13" fmla="*/ 160 h 261"/>
                <a:gd name="T14" fmla="*/ 102 w 231"/>
                <a:gd name="T15" fmla="*/ 36 h 261"/>
                <a:gd name="T16" fmla="*/ 96 w 231"/>
                <a:gd name="T17" fmla="*/ 34 h 261"/>
                <a:gd name="T18" fmla="*/ 107 w 231"/>
                <a:gd name="T19" fmla="*/ 24 h 261"/>
                <a:gd name="T20" fmla="*/ 206 w 231"/>
                <a:gd name="T21" fmla="*/ 10 h 261"/>
                <a:gd name="T22" fmla="*/ 225 w 231"/>
                <a:gd name="T23" fmla="*/ 29 h 261"/>
                <a:gd name="T24" fmla="*/ 230 w 231"/>
                <a:gd name="T25" fmla="*/ 51 h 261"/>
                <a:gd name="T26" fmla="*/ 221 w 231"/>
                <a:gd name="T27" fmla="*/ 73 h 261"/>
                <a:gd name="T28" fmla="*/ 205 w 231"/>
                <a:gd name="T29" fmla="*/ 87 h 261"/>
                <a:gd name="T30" fmla="*/ 200 w 231"/>
                <a:gd name="T31" fmla="*/ 102 h 261"/>
                <a:gd name="T32" fmla="*/ 219 w 231"/>
                <a:gd name="T33" fmla="*/ 111 h 261"/>
                <a:gd name="T34" fmla="*/ 213 w 231"/>
                <a:gd name="T35" fmla="*/ 130 h 261"/>
                <a:gd name="T36" fmla="*/ 197 w 231"/>
                <a:gd name="T37" fmla="*/ 143 h 261"/>
                <a:gd name="T38" fmla="*/ 188 w 231"/>
                <a:gd name="T39" fmla="*/ 157 h 261"/>
                <a:gd name="T40" fmla="*/ 170 w 231"/>
                <a:gd name="T41" fmla="*/ 158 h 261"/>
                <a:gd name="T42" fmla="*/ 156 w 231"/>
                <a:gd name="T43" fmla="*/ 160 h 261"/>
                <a:gd name="T44" fmla="*/ 161 w 231"/>
                <a:gd name="T45" fmla="*/ 177 h 261"/>
                <a:gd name="T46" fmla="*/ 166 w 231"/>
                <a:gd name="T47" fmla="*/ 201 h 261"/>
                <a:gd name="T48" fmla="*/ 161 w 231"/>
                <a:gd name="T49" fmla="*/ 221 h 261"/>
                <a:gd name="T50" fmla="*/ 144 w 231"/>
                <a:gd name="T51" fmla="*/ 233 h 261"/>
                <a:gd name="T52" fmla="*/ 156 w 231"/>
                <a:gd name="T53" fmla="*/ 250 h 261"/>
                <a:gd name="T54" fmla="*/ 139 w 231"/>
                <a:gd name="T55" fmla="*/ 260 h 261"/>
                <a:gd name="T56" fmla="*/ 134 w 231"/>
                <a:gd name="T57" fmla="*/ 245 h 261"/>
                <a:gd name="T58" fmla="*/ 142 w 231"/>
                <a:gd name="T59" fmla="*/ 230 h 261"/>
                <a:gd name="T60" fmla="*/ 129 w 231"/>
                <a:gd name="T61" fmla="*/ 217 h 261"/>
                <a:gd name="T62" fmla="*/ 110 w 231"/>
                <a:gd name="T63" fmla="*/ 211 h 261"/>
                <a:gd name="T64" fmla="*/ 102 w 231"/>
                <a:gd name="T65" fmla="*/ 194 h 261"/>
                <a:gd name="T66" fmla="*/ 86 w 231"/>
                <a:gd name="T67" fmla="*/ 195 h 261"/>
                <a:gd name="T68" fmla="*/ 74 w 231"/>
                <a:gd name="T69" fmla="*/ 194 h 261"/>
                <a:gd name="T70" fmla="*/ 61 w 231"/>
                <a:gd name="T71" fmla="*/ 193 h 261"/>
                <a:gd name="T72" fmla="*/ 50 w 231"/>
                <a:gd name="T73" fmla="*/ 193 h 261"/>
                <a:gd name="T74" fmla="*/ 30 w 231"/>
                <a:gd name="T75" fmla="*/ 192 h 261"/>
                <a:gd name="T76" fmla="*/ 10 w 231"/>
                <a:gd name="T77" fmla="*/ 182 h 261"/>
                <a:gd name="T78" fmla="*/ 38 w 231"/>
                <a:gd name="T79" fmla="*/ 179 h 261"/>
                <a:gd name="T80" fmla="*/ 55 w 231"/>
                <a:gd name="T81" fmla="*/ 190 h 261"/>
                <a:gd name="T82" fmla="*/ 44 w 231"/>
                <a:gd name="T83" fmla="*/ 180 h 261"/>
                <a:gd name="T84" fmla="*/ 47 w 231"/>
                <a:gd name="T85" fmla="*/ 169 h 261"/>
                <a:gd name="T86" fmla="*/ 40 w 231"/>
                <a:gd name="T87" fmla="*/ 155 h 261"/>
                <a:gd name="T88" fmla="*/ 45 w 231"/>
                <a:gd name="T89" fmla="*/ 152 h 261"/>
                <a:gd name="T90" fmla="*/ 49 w 231"/>
                <a:gd name="T91" fmla="*/ 138 h 261"/>
                <a:gd name="T92" fmla="*/ 81 w 231"/>
                <a:gd name="T93" fmla="*/ 92 h 261"/>
                <a:gd name="T94" fmla="*/ 91 w 231"/>
                <a:gd name="T95" fmla="*/ 53 h 261"/>
                <a:gd name="T96" fmla="*/ 106 w 231"/>
                <a:gd name="T97" fmla="*/ 54 h 261"/>
                <a:gd name="T98" fmla="*/ 132 w 231"/>
                <a:gd name="T99" fmla="*/ 31 h 261"/>
                <a:gd name="T100" fmla="*/ 164 w 231"/>
                <a:gd name="T101" fmla="*/ 13 h 261"/>
                <a:gd name="T102" fmla="*/ 139 w 231"/>
                <a:gd name="T103" fmla="*/ 10 h 261"/>
                <a:gd name="T104" fmla="*/ 125 w 231"/>
                <a:gd name="T105" fmla="*/ 11 h 261"/>
                <a:gd name="T106" fmla="*/ 157 w 231"/>
                <a:gd name="T107" fmla="*/ 9 h 261"/>
                <a:gd name="T108" fmla="*/ 175 w 231"/>
                <a:gd name="T109" fmla="*/ 8 h 261"/>
                <a:gd name="T110" fmla="*/ 192 w 231"/>
                <a:gd name="T111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1" h="261">
                  <a:moveTo>
                    <a:pt x="10" y="189"/>
                  </a:moveTo>
                  <a:lnTo>
                    <a:pt x="15" y="192"/>
                  </a:lnTo>
                  <a:lnTo>
                    <a:pt x="20" y="194"/>
                  </a:lnTo>
                  <a:lnTo>
                    <a:pt x="22" y="195"/>
                  </a:lnTo>
                  <a:lnTo>
                    <a:pt x="26" y="196"/>
                  </a:lnTo>
                  <a:lnTo>
                    <a:pt x="36" y="195"/>
                  </a:lnTo>
                  <a:lnTo>
                    <a:pt x="37" y="192"/>
                  </a:lnTo>
                  <a:lnTo>
                    <a:pt x="40" y="192"/>
                  </a:lnTo>
                  <a:lnTo>
                    <a:pt x="43" y="196"/>
                  </a:lnTo>
                  <a:lnTo>
                    <a:pt x="45" y="197"/>
                  </a:lnTo>
                  <a:lnTo>
                    <a:pt x="47" y="197"/>
                  </a:lnTo>
                  <a:lnTo>
                    <a:pt x="50" y="196"/>
                  </a:lnTo>
                  <a:lnTo>
                    <a:pt x="51" y="199"/>
                  </a:lnTo>
                  <a:lnTo>
                    <a:pt x="48" y="203"/>
                  </a:lnTo>
                  <a:lnTo>
                    <a:pt x="45" y="205"/>
                  </a:lnTo>
                  <a:lnTo>
                    <a:pt x="37" y="208"/>
                  </a:lnTo>
                  <a:lnTo>
                    <a:pt x="34" y="210"/>
                  </a:lnTo>
                  <a:lnTo>
                    <a:pt x="25" y="210"/>
                  </a:lnTo>
                  <a:lnTo>
                    <a:pt x="24" y="206"/>
                  </a:lnTo>
                  <a:lnTo>
                    <a:pt x="16" y="201"/>
                  </a:lnTo>
                  <a:lnTo>
                    <a:pt x="13" y="201"/>
                  </a:lnTo>
                  <a:lnTo>
                    <a:pt x="11" y="201"/>
                  </a:lnTo>
                  <a:lnTo>
                    <a:pt x="8" y="202"/>
                  </a:lnTo>
                  <a:lnTo>
                    <a:pt x="8" y="205"/>
                  </a:lnTo>
                  <a:lnTo>
                    <a:pt x="5" y="205"/>
                  </a:lnTo>
                  <a:lnTo>
                    <a:pt x="2" y="204"/>
                  </a:lnTo>
                  <a:lnTo>
                    <a:pt x="0" y="200"/>
                  </a:lnTo>
                  <a:lnTo>
                    <a:pt x="0" y="195"/>
                  </a:lnTo>
                  <a:lnTo>
                    <a:pt x="0" y="192"/>
                  </a:lnTo>
                  <a:lnTo>
                    <a:pt x="10" y="189"/>
                  </a:lnTo>
                  <a:close/>
                  <a:moveTo>
                    <a:pt x="31" y="159"/>
                  </a:moveTo>
                  <a:lnTo>
                    <a:pt x="38" y="160"/>
                  </a:lnTo>
                  <a:lnTo>
                    <a:pt x="42" y="164"/>
                  </a:lnTo>
                  <a:lnTo>
                    <a:pt x="45" y="166"/>
                  </a:lnTo>
                  <a:lnTo>
                    <a:pt x="46" y="170"/>
                  </a:lnTo>
                  <a:lnTo>
                    <a:pt x="39" y="171"/>
                  </a:lnTo>
                  <a:lnTo>
                    <a:pt x="36" y="170"/>
                  </a:lnTo>
                  <a:lnTo>
                    <a:pt x="34" y="166"/>
                  </a:lnTo>
                  <a:lnTo>
                    <a:pt x="31" y="165"/>
                  </a:lnTo>
                  <a:lnTo>
                    <a:pt x="27" y="165"/>
                  </a:lnTo>
                  <a:lnTo>
                    <a:pt x="24" y="165"/>
                  </a:lnTo>
                  <a:lnTo>
                    <a:pt x="23" y="160"/>
                  </a:lnTo>
                  <a:lnTo>
                    <a:pt x="25" y="159"/>
                  </a:lnTo>
                  <a:lnTo>
                    <a:pt x="31" y="159"/>
                  </a:lnTo>
                  <a:close/>
                  <a:moveTo>
                    <a:pt x="102" y="29"/>
                  </a:moveTo>
                  <a:lnTo>
                    <a:pt x="103" y="33"/>
                  </a:lnTo>
                  <a:lnTo>
                    <a:pt x="103" y="36"/>
                  </a:lnTo>
                  <a:lnTo>
                    <a:pt x="102" y="36"/>
                  </a:lnTo>
                  <a:lnTo>
                    <a:pt x="102" y="40"/>
                  </a:lnTo>
                  <a:lnTo>
                    <a:pt x="96" y="45"/>
                  </a:lnTo>
                  <a:lnTo>
                    <a:pt x="93" y="48"/>
                  </a:lnTo>
                  <a:lnTo>
                    <a:pt x="90" y="44"/>
                  </a:lnTo>
                  <a:lnTo>
                    <a:pt x="92" y="38"/>
                  </a:lnTo>
                  <a:lnTo>
                    <a:pt x="96" y="34"/>
                  </a:lnTo>
                  <a:lnTo>
                    <a:pt x="98" y="31"/>
                  </a:lnTo>
                  <a:lnTo>
                    <a:pt x="102" y="29"/>
                  </a:lnTo>
                  <a:close/>
                  <a:moveTo>
                    <a:pt x="112" y="18"/>
                  </a:moveTo>
                  <a:lnTo>
                    <a:pt x="115" y="19"/>
                  </a:lnTo>
                  <a:lnTo>
                    <a:pt x="113" y="20"/>
                  </a:lnTo>
                  <a:lnTo>
                    <a:pt x="107" y="24"/>
                  </a:lnTo>
                  <a:lnTo>
                    <a:pt x="105" y="26"/>
                  </a:lnTo>
                  <a:lnTo>
                    <a:pt x="102" y="26"/>
                  </a:lnTo>
                  <a:lnTo>
                    <a:pt x="105" y="23"/>
                  </a:lnTo>
                  <a:lnTo>
                    <a:pt x="108" y="20"/>
                  </a:lnTo>
                  <a:lnTo>
                    <a:pt x="112" y="18"/>
                  </a:lnTo>
                  <a:close/>
                  <a:moveTo>
                    <a:pt x="206" y="10"/>
                  </a:moveTo>
                  <a:lnTo>
                    <a:pt x="212" y="11"/>
                  </a:lnTo>
                  <a:lnTo>
                    <a:pt x="214" y="13"/>
                  </a:lnTo>
                  <a:lnTo>
                    <a:pt x="215" y="21"/>
                  </a:lnTo>
                  <a:lnTo>
                    <a:pt x="219" y="24"/>
                  </a:lnTo>
                  <a:lnTo>
                    <a:pt x="224" y="25"/>
                  </a:lnTo>
                  <a:lnTo>
                    <a:pt x="225" y="29"/>
                  </a:lnTo>
                  <a:lnTo>
                    <a:pt x="230" y="31"/>
                  </a:lnTo>
                  <a:lnTo>
                    <a:pt x="231" y="34"/>
                  </a:lnTo>
                  <a:lnTo>
                    <a:pt x="231" y="37"/>
                  </a:lnTo>
                  <a:lnTo>
                    <a:pt x="229" y="40"/>
                  </a:lnTo>
                  <a:lnTo>
                    <a:pt x="230" y="44"/>
                  </a:lnTo>
                  <a:lnTo>
                    <a:pt x="230" y="51"/>
                  </a:lnTo>
                  <a:lnTo>
                    <a:pt x="230" y="55"/>
                  </a:lnTo>
                  <a:lnTo>
                    <a:pt x="229" y="58"/>
                  </a:lnTo>
                  <a:lnTo>
                    <a:pt x="228" y="61"/>
                  </a:lnTo>
                  <a:lnTo>
                    <a:pt x="223" y="68"/>
                  </a:lnTo>
                  <a:lnTo>
                    <a:pt x="222" y="70"/>
                  </a:lnTo>
                  <a:lnTo>
                    <a:pt x="221" y="73"/>
                  </a:lnTo>
                  <a:lnTo>
                    <a:pt x="220" y="83"/>
                  </a:lnTo>
                  <a:lnTo>
                    <a:pt x="220" y="87"/>
                  </a:lnTo>
                  <a:lnTo>
                    <a:pt x="217" y="88"/>
                  </a:lnTo>
                  <a:lnTo>
                    <a:pt x="213" y="88"/>
                  </a:lnTo>
                  <a:lnTo>
                    <a:pt x="210" y="87"/>
                  </a:lnTo>
                  <a:lnTo>
                    <a:pt x="205" y="87"/>
                  </a:lnTo>
                  <a:lnTo>
                    <a:pt x="201" y="88"/>
                  </a:lnTo>
                  <a:lnTo>
                    <a:pt x="201" y="92"/>
                  </a:lnTo>
                  <a:lnTo>
                    <a:pt x="203" y="94"/>
                  </a:lnTo>
                  <a:lnTo>
                    <a:pt x="200" y="95"/>
                  </a:lnTo>
                  <a:lnTo>
                    <a:pt x="200" y="99"/>
                  </a:lnTo>
                  <a:lnTo>
                    <a:pt x="200" y="102"/>
                  </a:lnTo>
                  <a:lnTo>
                    <a:pt x="203" y="104"/>
                  </a:lnTo>
                  <a:lnTo>
                    <a:pt x="207" y="105"/>
                  </a:lnTo>
                  <a:lnTo>
                    <a:pt x="210" y="106"/>
                  </a:lnTo>
                  <a:lnTo>
                    <a:pt x="213" y="106"/>
                  </a:lnTo>
                  <a:lnTo>
                    <a:pt x="215" y="105"/>
                  </a:lnTo>
                  <a:lnTo>
                    <a:pt x="219" y="111"/>
                  </a:lnTo>
                  <a:lnTo>
                    <a:pt x="219" y="117"/>
                  </a:lnTo>
                  <a:lnTo>
                    <a:pt x="218" y="120"/>
                  </a:lnTo>
                  <a:lnTo>
                    <a:pt x="217" y="123"/>
                  </a:lnTo>
                  <a:lnTo>
                    <a:pt x="218" y="125"/>
                  </a:lnTo>
                  <a:lnTo>
                    <a:pt x="215" y="127"/>
                  </a:lnTo>
                  <a:lnTo>
                    <a:pt x="213" y="130"/>
                  </a:lnTo>
                  <a:lnTo>
                    <a:pt x="209" y="132"/>
                  </a:lnTo>
                  <a:lnTo>
                    <a:pt x="207" y="136"/>
                  </a:lnTo>
                  <a:lnTo>
                    <a:pt x="203" y="137"/>
                  </a:lnTo>
                  <a:lnTo>
                    <a:pt x="200" y="138"/>
                  </a:lnTo>
                  <a:lnTo>
                    <a:pt x="198" y="140"/>
                  </a:lnTo>
                  <a:lnTo>
                    <a:pt x="197" y="143"/>
                  </a:lnTo>
                  <a:lnTo>
                    <a:pt x="203" y="146"/>
                  </a:lnTo>
                  <a:lnTo>
                    <a:pt x="205" y="149"/>
                  </a:lnTo>
                  <a:lnTo>
                    <a:pt x="202" y="153"/>
                  </a:lnTo>
                  <a:lnTo>
                    <a:pt x="199" y="156"/>
                  </a:lnTo>
                  <a:lnTo>
                    <a:pt x="194" y="156"/>
                  </a:lnTo>
                  <a:lnTo>
                    <a:pt x="188" y="157"/>
                  </a:lnTo>
                  <a:lnTo>
                    <a:pt x="185" y="159"/>
                  </a:lnTo>
                  <a:lnTo>
                    <a:pt x="179" y="158"/>
                  </a:lnTo>
                  <a:lnTo>
                    <a:pt x="180" y="161"/>
                  </a:lnTo>
                  <a:lnTo>
                    <a:pt x="177" y="162"/>
                  </a:lnTo>
                  <a:lnTo>
                    <a:pt x="174" y="159"/>
                  </a:lnTo>
                  <a:lnTo>
                    <a:pt x="170" y="158"/>
                  </a:lnTo>
                  <a:lnTo>
                    <a:pt x="166" y="155"/>
                  </a:lnTo>
                  <a:lnTo>
                    <a:pt x="162" y="155"/>
                  </a:lnTo>
                  <a:lnTo>
                    <a:pt x="165" y="158"/>
                  </a:lnTo>
                  <a:lnTo>
                    <a:pt x="162" y="158"/>
                  </a:lnTo>
                  <a:lnTo>
                    <a:pt x="159" y="159"/>
                  </a:lnTo>
                  <a:lnTo>
                    <a:pt x="156" y="160"/>
                  </a:lnTo>
                  <a:lnTo>
                    <a:pt x="154" y="160"/>
                  </a:lnTo>
                  <a:lnTo>
                    <a:pt x="154" y="165"/>
                  </a:lnTo>
                  <a:lnTo>
                    <a:pt x="153" y="168"/>
                  </a:lnTo>
                  <a:lnTo>
                    <a:pt x="157" y="171"/>
                  </a:lnTo>
                  <a:lnTo>
                    <a:pt x="157" y="174"/>
                  </a:lnTo>
                  <a:lnTo>
                    <a:pt x="161" y="177"/>
                  </a:lnTo>
                  <a:lnTo>
                    <a:pt x="160" y="182"/>
                  </a:lnTo>
                  <a:lnTo>
                    <a:pt x="164" y="188"/>
                  </a:lnTo>
                  <a:lnTo>
                    <a:pt x="166" y="191"/>
                  </a:lnTo>
                  <a:lnTo>
                    <a:pt x="166" y="194"/>
                  </a:lnTo>
                  <a:lnTo>
                    <a:pt x="166" y="198"/>
                  </a:lnTo>
                  <a:lnTo>
                    <a:pt x="166" y="201"/>
                  </a:lnTo>
                  <a:lnTo>
                    <a:pt x="166" y="205"/>
                  </a:lnTo>
                  <a:lnTo>
                    <a:pt x="163" y="208"/>
                  </a:lnTo>
                  <a:lnTo>
                    <a:pt x="159" y="214"/>
                  </a:lnTo>
                  <a:lnTo>
                    <a:pt x="157" y="218"/>
                  </a:lnTo>
                  <a:lnTo>
                    <a:pt x="157" y="222"/>
                  </a:lnTo>
                  <a:lnTo>
                    <a:pt x="161" y="221"/>
                  </a:lnTo>
                  <a:lnTo>
                    <a:pt x="162" y="224"/>
                  </a:lnTo>
                  <a:lnTo>
                    <a:pt x="158" y="226"/>
                  </a:lnTo>
                  <a:lnTo>
                    <a:pt x="152" y="230"/>
                  </a:lnTo>
                  <a:lnTo>
                    <a:pt x="150" y="233"/>
                  </a:lnTo>
                  <a:lnTo>
                    <a:pt x="147" y="233"/>
                  </a:lnTo>
                  <a:lnTo>
                    <a:pt x="144" y="233"/>
                  </a:lnTo>
                  <a:lnTo>
                    <a:pt x="145" y="238"/>
                  </a:lnTo>
                  <a:lnTo>
                    <a:pt x="147" y="239"/>
                  </a:lnTo>
                  <a:lnTo>
                    <a:pt x="151" y="240"/>
                  </a:lnTo>
                  <a:lnTo>
                    <a:pt x="152" y="243"/>
                  </a:lnTo>
                  <a:lnTo>
                    <a:pt x="156" y="247"/>
                  </a:lnTo>
                  <a:lnTo>
                    <a:pt x="156" y="250"/>
                  </a:lnTo>
                  <a:lnTo>
                    <a:pt x="153" y="253"/>
                  </a:lnTo>
                  <a:lnTo>
                    <a:pt x="152" y="255"/>
                  </a:lnTo>
                  <a:lnTo>
                    <a:pt x="150" y="258"/>
                  </a:lnTo>
                  <a:lnTo>
                    <a:pt x="151" y="261"/>
                  </a:lnTo>
                  <a:lnTo>
                    <a:pt x="146" y="261"/>
                  </a:lnTo>
                  <a:lnTo>
                    <a:pt x="139" y="260"/>
                  </a:lnTo>
                  <a:lnTo>
                    <a:pt x="137" y="258"/>
                  </a:lnTo>
                  <a:lnTo>
                    <a:pt x="134" y="260"/>
                  </a:lnTo>
                  <a:lnTo>
                    <a:pt x="134" y="257"/>
                  </a:lnTo>
                  <a:lnTo>
                    <a:pt x="131" y="254"/>
                  </a:lnTo>
                  <a:lnTo>
                    <a:pt x="130" y="251"/>
                  </a:lnTo>
                  <a:lnTo>
                    <a:pt x="134" y="245"/>
                  </a:lnTo>
                  <a:lnTo>
                    <a:pt x="137" y="243"/>
                  </a:lnTo>
                  <a:lnTo>
                    <a:pt x="139" y="240"/>
                  </a:lnTo>
                  <a:lnTo>
                    <a:pt x="136" y="240"/>
                  </a:lnTo>
                  <a:lnTo>
                    <a:pt x="139" y="237"/>
                  </a:lnTo>
                  <a:lnTo>
                    <a:pt x="139" y="233"/>
                  </a:lnTo>
                  <a:lnTo>
                    <a:pt x="142" y="230"/>
                  </a:lnTo>
                  <a:lnTo>
                    <a:pt x="143" y="228"/>
                  </a:lnTo>
                  <a:lnTo>
                    <a:pt x="143" y="225"/>
                  </a:lnTo>
                  <a:lnTo>
                    <a:pt x="141" y="223"/>
                  </a:lnTo>
                  <a:lnTo>
                    <a:pt x="138" y="219"/>
                  </a:lnTo>
                  <a:lnTo>
                    <a:pt x="135" y="220"/>
                  </a:lnTo>
                  <a:lnTo>
                    <a:pt x="129" y="217"/>
                  </a:lnTo>
                  <a:lnTo>
                    <a:pt x="127" y="213"/>
                  </a:lnTo>
                  <a:lnTo>
                    <a:pt x="126" y="210"/>
                  </a:lnTo>
                  <a:lnTo>
                    <a:pt x="124" y="209"/>
                  </a:lnTo>
                  <a:lnTo>
                    <a:pt x="120" y="211"/>
                  </a:lnTo>
                  <a:lnTo>
                    <a:pt x="112" y="211"/>
                  </a:lnTo>
                  <a:lnTo>
                    <a:pt x="110" y="211"/>
                  </a:lnTo>
                  <a:lnTo>
                    <a:pt x="109" y="207"/>
                  </a:lnTo>
                  <a:lnTo>
                    <a:pt x="105" y="206"/>
                  </a:lnTo>
                  <a:lnTo>
                    <a:pt x="103" y="203"/>
                  </a:lnTo>
                  <a:lnTo>
                    <a:pt x="101" y="200"/>
                  </a:lnTo>
                  <a:lnTo>
                    <a:pt x="101" y="197"/>
                  </a:lnTo>
                  <a:lnTo>
                    <a:pt x="102" y="194"/>
                  </a:lnTo>
                  <a:lnTo>
                    <a:pt x="98" y="190"/>
                  </a:lnTo>
                  <a:lnTo>
                    <a:pt x="95" y="194"/>
                  </a:lnTo>
                  <a:lnTo>
                    <a:pt x="92" y="197"/>
                  </a:lnTo>
                  <a:lnTo>
                    <a:pt x="89" y="196"/>
                  </a:lnTo>
                  <a:lnTo>
                    <a:pt x="84" y="195"/>
                  </a:lnTo>
                  <a:lnTo>
                    <a:pt x="86" y="195"/>
                  </a:lnTo>
                  <a:lnTo>
                    <a:pt x="86" y="192"/>
                  </a:lnTo>
                  <a:lnTo>
                    <a:pt x="87" y="189"/>
                  </a:lnTo>
                  <a:lnTo>
                    <a:pt x="84" y="187"/>
                  </a:lnTo>
                  <a:lnTo>
                    <a:pt x="81" y="188"/>
                  </a:lnTo>
                  <a:lnTo>
                    <a:pt x="76" y="193"/>
                  </a:lnTo>
                  <a:lnTo>
                    <a:pt x="74" y="194"/>
                  </a:lnTo>
                  <a:lnTo>
                    <a:pt x="71" y="193"/>
                  </a:lnTo>
                  <a:lnTo>
                    <a:pt x="70" y="190"/>
                  </a:lnTo>
                  <a:lnTo>
                    <a:pt x="67" y="188"/>
                  </a:lnTo>
                  <a:lnTo>
                    <a:pt x="64" y="189"/>
                  </a:lnTo>
                  <a:lnTo>
                    <a:pt x="61" y="190"/>
                  </a:lnTo>
                  <a:lnTo>
                    <a:pt x="61" y="193"/>
                  </a:lnTo>
                  <a:lnTo>
                    <a:pt x="62" y="197"/>
                  </a:lnTo>
                  <a:lnTo>
                    <a:pt x="58" y="199"/>
                  </a:lnTo>
                  <a:lnTo>
                    <a:pt x="55" y="197"/>
                  </a:lnTo>
                  <a:lnTo>
                    <a:pt x="53" y="195"/>
                  </a:lnTo>
                  <a:lnTo>
                    <a:pt x="53" y="192"/>
                  </a:lnTo>
                  <a:lnTo>
                    <a:pt x="50" y="193"/>
                  </a:lnTo>
                  <a:lnTo>
                    <a:pt x="45" y="193"/>
                  </a:lnTo>
                  <a:lnTo>
                    <a:pt x="43" y="191"/>
                  </a:lnTo>
                  <a:lnTo>
                    <a:pt x="40" y="188"/>
                  </a:lnTo>
                  <a:lnTo>
                    <a:pt x="37" y="187"/>
                  </a:lnTo>
                  <a:lnTo>
                    <a:pt x="34" y="191"/>
                  </a:lnTo>
                  <a:lnTo>
                    <a:pt x="30" y="192"/>
                  </a:lnTo>
                  <a:lnTo>
                    <a:pt x="26" y="190"/>
                  </a:lnTo>
                  <a:lnTo>
                    <a:pt x="22" y="188"/>
                  </a:lnTo>
                  <a:lnTo>
                    <a:pt x="20" y="186"/>
                  </a:lnTo>
                  <a:lnTo>
                    <a:pt x="17" y="187"/>
                  </a:lnTo>
                  <a:lnTo>
                    <a:pt x="13" y="186"/>
                  </a:lnTo>
                  <a:lnTo>
                    <a:pt x="10" y="182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4" y="172"/>
                  </a:lnTo>
                  <a:lnTo>
                    <a:pt x="31" y="171"/>
                  </a:lnTo>
                  <a:lnTo>
                    <a:pt x="35" y="176"/>
                  </a:lnTo>
                  <a:lnTo>
                    <a:pt x="38" y="179"/>
                  </a:lnTo>
                  <a:lnTo>
                    <a:pt x="41" y="181"/>
                  </a:lnTo>
                  <a:lnTo>
                    <a:pt x="43" y="183"/>
                  </a:lnTo>
                  <a:lnTo>
                    <a:pt x="44" y="188"/>
                  </a:lnTo>
                  <a:lnTo>
                    <a:pt x="49" y="189"/>
                  </a:lnTo>
                  <a:lnTo>
                    <a:pt x="52" y="190"/>
                  </a:lnTo>
                  <a:lnTo>
                    <a:pt x="55" y="190"/>
                  </a:lnTo>
                  <a:lnTo>
                    <a:pt x="56" y="186"/>
                  </a:lnTo>
                  <a:lnTo>
                    <a:pt x="53" y="183"/>
                  </a:lnTo>
                  <a:lnTo>
                    <a:pt x="51" y="182"/>
                  </a:lnTo>
                  <a:lnTo>
                    <a:pt x="49" y="181"/>
                  </a:lnTo>
                  <a:lnTo>
                    <a:pt x="46" y="181"/>
                  </a:lnTo>
                  <a:lnTo>
                    <a:pt x="44" y="180"/>
                  </a:lnTo>
                  <a:lnTo>
                    <a:pt x="40" y="174"/>
                  </a:lnTo>
                  <a:lnTo>
                    <a:pt x="43" y="173"/>
                  </a:lnTo>
                  <a:lnTo>
                    <a:pt x="49" y="173"/>
                  </a:lnTo>
                  <a:lnTo>
                    <a:pt x="52" y="175"/>
                  </a:lnTo>
                  <a:lnTo>
                    <a:pt x="49" y="172"/>
                  </a:lnTo>
                  <a:lnTo>
                    <a:pt x="47" y="169"/>
                  </a:lnTo>
                  <a:lnTo>
                    <a:pt x="48" y="167"/>
                  </a:lnTo>
                  <a:lnTo>
                    <a:pt x="51" y="166"/>
                  </a:lnTo>
                  <a:lnTo>
                    <a:pt x="45" y="163"/>
                  </a:lnTo>
                  <a:lnTo>
                    <a:pt x="44" y="159"/>
                  </a:lnTo>
                  <a:lnTo>
                    <a:pt x="42" y="155"/>
                  </a:lnTo>
                  <a:lnTo>
                    <a:pt x="40" y="155"/>
                  </a:lnTo>
                  <a:lnTo>
                    <a:pt x="37" y="155"/>
                  </a:lnTo>
                  <a:lnTo>
                    <a:pt x="34" y="155"/>
                  </a:lnTo>
                  <a:lnTo>
                    <a:pt x="36" y="152"/>
                  </a:lnTo>
                  <a:lnTo>
                    <a:pt x="39" y="151"/>
                  </a:lnTo>
                  <a:lnTo>
                    <a:pt x="43" y="151"/>
                  </a:lnTo>
                  <a:lnTo>
                    <a:pt x="45" y="152"/>
                  </a:lnTo>
                  <a:lnTo>
                    <a:pt x="45" y="148"/>
                  </a:lnTo>
                  <a:lnTo>
                    <a:pt x="45" y="145"/>
                  </a:lnTo>
                  <a:lnTo>
                    <a:pt x="44" y="140"/>
                  </a:lnTo>
                  <a:lnTo>
                    <a:pt x="45" y="137"/>
                  </a:lnTo>
                  <a:lnTo>
                    <a:pt x="47" y="138"/>
                  </a:lnTo>
                  <a:lnTo>
                    <a:pt x="49" y="138"/>
                  </a:lnTo>
                  <a:lnTo>
                    <a:pt x="60" y="128"/>
                  </a:lnTo>
                  <a:lnTo>
                    <a:pt x="68" y="118"/>
                  </a:lnTo>
                  <a:lnTo>
                    <a:pt x="74" y="107"/>
                  </a:lnTo>
                  <a:lnTo>
                    <a:pt x="79" y="97"/>
                  </a:lnTo>
                  <a:lnTo>
                    <a:pt x="79" y="95"/>
                  </a:lnTo>
                  <a:lnTo>
                    <a:pt x="81" y="92"/>
                  </a:lnTo>
                  <a:lnTo>
                    <a:pt x="84" y="74"/>
                  </a:lnTo>
                  <a:lnTo>
                    <a:pt x="86" y="70"/>
                  </a:lnTo>
                  <a:lnTo>
                    <a:pt x="87" y="65"/>
                  </a:lnTo>
                  <a:lnTo>
                    <a:pt x="89" y="59"/>
                  </a:lnTo>
                  <a:lnTo>
                    <a:pt x="90" y="56"/>
                  </a:lnTo>
                  <a:lnTo>
                    <a:pt x="91" y="53"/>
                  </a:lnTo>
                  <a:lnTo>
                    <a:pt x="92" y="50"/>
                  </a:lnTo>
                  <a:lnTo>
                    <a:pt x="95" y="51"/>
                  </a:lnTo>
                  <a:lnTo>
                    <a:pt x="95" y="54"/>
                  </a:lnTo>
                  <a:lnTo>
                    <a:pt x="99" y="56"/>
                  </a:lnTo>
                  <a:lnTo>
                    <a:pt x="102" y="56"/>
                  </a:lnTo>
                  <a:lnTo>
                    <a:pt x="106" y="54"/>
                  </a:lnTo>
                  <a:lnTo>
                    <a:pt x="109" y="53"/>
                  </a:lnTo>
                  <a:lnTo>
                    <a:pt x="111" y="53"/>
                  </a:lnTo>
                  <a:lnTo>
                    <a:pt x="123" y="43"/>
                  </a:lnTo>
                  <a:lnTo>
                    <a:pt x="128" y="40"/>
                  </a:lnTo>
                  <a:lnTo>
                    <a:pt x="130" y="37"/>
                  </a:lnTo>
                  <a:lnTo>
                    <a:pt x="132" y="31"/>
                  </a:lnTo>
                  <a:lnTo>
                    <a:pt x="133" y="28"/>
                  </a:lnTo>
                  <a:lnTo>
                    <a:pt x="137" y="25"/>
                  </a:lnTo>
                  <a:lnTo>
                    <a:pt x="142" y="21"/>
                  </a:lnTo>
                  <a:lnTo>
                    <a:pt x="146" y="21"/>
                  </a:lnTo>
                  <a:lnTo>
                    <a:pt x="157" y="16"/>
                  </a:lnTo>
                  <a:lnTo>
                    <a:pt x="164" y="13"/>
                  </a:lnTo>
                  <a:lnTo>
                    <a:pt x="169" y="13"/>
                  </a:lnTo>
                  <a:lnTo>
                    <a:pt x="181" y="13"/>
                  </a:lnTo>
                  <a:lnTo>
                    <a:pt x="193" y="12"/>
                  </a:lnTo>
                  <a:lnTo>
                    <a:pt x="206" y="10"/>
                  </a:lnTo>
                  <a:close/>
                  <a:moveTo>
                    <a:pt x="142" y="7"/>
                  </a:moveTo>
                  <a:lnTo>
                    <a:pt x="139" y="10"/>
                  </a:lnTo>
                  <a:lnTo>
                    <a:pt x="136" y="10"/>
                  </a:lnTo>
                  <a:lnTo>
                    <a:pt x="133" y="11"/>
                  </a:lnTo>
                  <a:lnTo>
                    <a:pt x="131" y="12"/>
                  </a:lnTo>
                  <a:lnTo>
                    <a:pt x="121" y="15"/>
                  </a:lnTo>
                  <a:lnTo>
                    <a:pt x="123" y="11"/>
                  </a:lnTo>
                  <a:lnTo>
                    <a:pt x="125" y="11"/>
                  </a:lnTo>
                  <a:lnTo>
                    <a:pt x="132" y="10"/>
                  </a:lnTo>
                  <a:lnTo>
                    <a:pt x="142" y="7"/>
                  </a:lnTo>
                  <a:close/>
                  <a:moveTo>
                    <a:pt x="147" y="6"/>
                  </a:moveTo>
                  <a:lnTo>
                    <a:pt x="160" y="7"/>
                  </a:lnTo>
                  <a:lnTo>
                    <a:pt x="163" y="8"/>
                  </a:lnTo>
                  <a:lnTo>
                    <a:pt x="157" y="9"/>
                  </a:lnTo>
                  <a:lnTo>
                    <a:pt x="151" y="9"/>
                  </a:lnTo>
                  <a:lnTo>
                    <a:pt x="147" y="10"/>
                  </a:lnTo>
                  <a:lnTo>
                    <a:pt x="145" y="8"/>
                  </a:lnTo>
                  <a:lnTo>
                    <a:pt x="147" y="6"/>
                  </a:lnTo>
                  <a:close/>
                  <a:moveTo>
                    <a:pt x="183" y="4"/>
                  </a:moveTo>
                  <a:lnTo>
                    <a:pt x="175" y="8"/>
                  </a:lnTo>
                  <a:lnTo>
                    <a:pt x="176" y="5"/>
                  </a:lnTo>
                  <a:lnTo>
                    <a:pt x="183" y="4"/>
                  </a:lnTo>
                  <a:close/>
                  <a:moveTo>
                    <a:pt x="192" y="0"/>
                  </a:moveTo>
                  <a:lnTo>
                    <a:pt x="194" y="2"/>
                  </a:lnTo>
                  <a:lnTo>
                    <a:pt x="192" y="2"/>
                  </a:lnTo>
                  <a:lnTo>
                    <a:pt x="192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4" name="NO">
              <a:extLst>
                <a:ext uri="{FF2B5EF4-FFF2-40B4-BE49-F238E27FC236}">
                  <a16:creationId xmlns:a16="http://schemas.microsoft.com/office/drawing/2014/main" id="{DCB8145C-2520-E515-A94D-21701E83CE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7898" y="854794"/>
              <a:ext cx="1763386" cy="2328933"/>
            </a:xfrm>
            <a:custGeom>
              <a:avLst/>
              <a:gdLst>
                <a:gd name="T0" fmla="*/ 15 w 923"/>
                <a:gd name="T1" fmla="*/ 1131 h 1287"/>
                <a:gd name="T2" fmla="*/ 10 w 923"/>
                <a:gd name="T3" fmla="*/ 1058 h 1287"/>
                <a:gd name="T4" fmla="*/ 14 w 923"/>
                <a:gd name="T5" fmla="*/ 940 h 1287"/>
                <a:gd name="T6" fmla="*/ 117 w 923"/>
                <a:gd name="T7" fmla="*/ 888 h 1287"/>
                <a:gd name="T8" fmla="*/ 139 w 923"/>
                <a:gd name="T9" fmla="*/ 817 h 1287"/>
                <a:gd name="T10" fmla="*/ 184 w 923"/>
                <a:gd name="T11" fmla="*/ 768 h 1287"/>
                <a:gd name="T12" fmla="*/ 279 w 923"/>
                <a:gd name="T13" fmla="*/ 651 h 1287"/>
                <a:gd name="T14" fmla="*/ 321 w 923"/>
                <a:gd name="T15" fmla="*/ 573 h 1287"/>
                <a:gd name="T16" fmla="*/ 399 w 923"/>
                <a:gd name="T17" fmla="*/ 411 h 1287"/>
                <a:gd name="T18" fmla="*/ 375 w 923"/>
                <a:gd name="T19" fmla="*/ 330 h 1287"/>
                <a:gd name="T20" fmla="*/ 462 w 923"/>
                <a:gd name="T21" fmla="*/ 299 h 1287"/>
                <a:gd name="T22" fmla="*/ 455 w 923"/>
                <a:gd name="T23" fmla="*/ 278 h 1287"/>
                <a:gd name="T24" fmla="*/ 430 w 923"/>
                <a:gd name="T25" fmla="*/ 286 h 1287"/>
                <a:gd name="T26" fmla="*/ 414 w 923"/>
                <a:gd name="T27" fmla="*/ 275 h 1287"/>
                <a:gd name="T28" fmla="*/ 512 w 923"/>
                <a:gd name="T29" fmla="*/ 214 h 1287"/>
                <a:gd name="T30" fmla="*/ 528 w 923"/>
                <a:gd name="T31" fmla="*/ 167 h 1287"/>
                <a:gd name="T32" fmla="*/ 532 w 923"/>
                <a:gd name="T33" fmla="*/ 147 h 1287"/>
                <a:gd name="T34" fmla="*/ 539 w 923"/>
                <a:gd name="T35" fmla="*/ 133 h 1287"/>
                <a:gd name="T36" fmla="*/ 642 w 923"/>
                <a:gd name="T37" fmla="*/ 102 h 1287"/>
                <a:gd name="T38" fmla="*/ 672 w 923"/>
                <a:gd name="T39" fmla="*/ 76 h 1287"/>
                <a:gd name="T40" fmla="*/ 655 w 923"/>
                <a:gd name="T41" fmla="*/ 55 h 1287"/>
                <a:gd name="T42" fmla="*/ 806 w 923"/>
                <a:gd name="T43" fmla="*/ 15 h 1287"/>
                <a:gd name="T44" fmla="*/ 822 w 923"/>
                <a:gd name="T45" fmla="*/ 48 h 1287"/>
                <a:gd name="T46" fmla="*/ 861 w 923"/>
                <a:gd name="T47" fmla="*/ 84 h 1287"/>
                <a:gd name="T48" fmla="*/ 890 w 923"/>
                <a:gd name="T49" fmla="*/ 142 h 1287"/>
                <a:gd name="T50" fmla="*/ 764 w 923"/>
                <a:gd name="T51" fmla="*/ 219 h 1287"/>
                <a:gd name="T52" fmla="*/ 484 w 923"/>
                <a:gd name="T53" fmla="*/ 358 h 1287"/>
                <a:gd name="T54" fmla="*/ 372 w 923"/>
                <a:gd name="T55" fmla="*/ 983 h 1287"/>
                <a:gd name="T56" fmla="*/ 286 w 923"/>
                <a:gd name="T57" fmla="*/ 1179 h 1287"/>
                <a:gd name="T58" fmla="*/ 260 w 923"/>
                <a:gd name="T59" fmla="*/ 1176 h 1287"/>
                <a:gd name="T60" fmla="*/ 157 w 923"/>
                <a:gd name="T61" fmla="*/ 1269 h 1287"/>
                <a:gd name="T62" fmla="*/ 51 w 923"/>
                <a:gd name="T63" fmla="*/ 1250 h 1287"/>
                <a:gd name="T64" fmla="*/ 59 w 923"/>
                <a:gd name="T65" fmla="*/ 1166 h 1287"/>
                <a:gd name="T66" fmla="*/ 21 w 923"/>
                <a:gd name="T67" fmla="*/ 1153 h 1287"/>
                <a:gd name="T68" fmla="*/ 72 w 923"/>
                <a:gd name="T69" fmla="*/ 1067 h 1287"/>
                <a:gd name="T70" fmla="*/ 44 w 923"/>
                <a:gd name="T71" fmla="*/ 1078 h 1287"/>
                <a:gd name="T72" fmla="*/ 13 w 923"/>
                <a:gd name="T73" fmla="*/ 1019 h 1287"/>
                <a:gd name="T74" fmla="*/ 89 w 923"/>
                <a:gd name="T75" fmla="*/ 991 h 1287"/>
                <a:gd name="T76" fmla="*/ 85 w 923"/>
                <a:gd name="T77" fmla="*/ 982 h 1287"/>
                <a:gd name="T78" fmla="*/ 49 w 923"/>
                <a:gd name="T79" fmla="*/ 957 h 1287"/>
                <a:gd name="T80" fmla="*/ 51 w 923"/>
                <a:gd name="T81" fmla="*/ 917 h 1287"/>
                <a:gd name="T82" fmla="*/ 82 w 923"/>
                <a:gd name="T83" fmla="*/ 878 h 1287"/>
                <a:gd name="T84" fmla="*/ 138 w 923"/>
                <a:gd name="T85" fmla="*/ 851 h 1287"/>
                <a:gd name="T86" fmla="*/ 161 w 923"/>
                <a:gd name="T87" fmla="*/ 825 h 1287"/>
                <a:gd name="T88" fmla="*/ 212 w 923"/>
                <a:gd name="T89" fmla="*/ 788 h 1287"/>
                <a:gd name="T90" fmla="*/ 299 w 923"/>
                <a:gd name="T91" fmla="*/ 750 h 1287"/>
                <a:gd name="T92" fmla="*/ 238 w 923"/>
                <a:gd name="T93" fmla="*/ 739 h 1287"/>
                <a:gd name="T94" fmla="*/ 301 w 923"/>
                <a:gd name="T95" fmla="*/ 686 h 1287"/>
                <a:gd name="T96" fmla="*/ 334 w 923"/>
                <a:gd name="T97" fmla="*/ 630 h 1287"/>
                <a:gd name="T98" fmla="*/ 347 w 923"/>
                <a:gd name="T99" fmla="*/ 571 h 1287"/>
                <a:gd name="T100" fmla="*/ 370 w 923"/>
                <a:gd name="T101" fmla="*/ 508 h 1287"/>
                <a:gd name="T102" fmla="*/ 388 w 923"/>
                <a:gd name="T103" fmla="*/ 448 h 1287"/>
                <a:gd name="T104" fmla="*/ 404 w 923"/>
                <a:gd name="T105" fmla="*/ 422 h 1287"/>
                <a:gd name="T106" fmla="*/ 446 w 923"/>
                <a:gd name="T107" fmla="*/ 370 h 1287"/>
                <a:gd name="T108" fmla="*/ 445 w 923"/>
                <a:gd name="T109" fmla="*/ 344 h 1287"/>
                <a:gd name="T110" fmla="*/ 460 w 923"/>
                <a:gd name="T111" fmla="*/ 317 h 1287"/>
                <a:gd name="T112" fmla="*/ 494 w 923"/>
                <a:gd name="T113" fmla="*/ 273 h 1287"/>
                <a:gd name="T114" fmla="*/ 556 w 923"/>
                <a:gd name="T115" fmla="*/ 217 h 1287"/>
                <a:gd name="T116" fmla="*/ 582 w 923"/>
                <a:gd name="T117" fmla="*/ 165 h 1287"/>
                <a:gd name="T118" fmla="*/ 629 w 923"/>
                <a:gd name="T119" fmla="*/ 142 h 1287"/>
                <a:gd name="T120" fmla="*/ 660 w 923"/>
                <a:gd name="T121" fmla="*/ 124 h 1287"/>
                <a:gd name="T122" fmla="*/ 708 w 923"/>
                <a:gd name="T123" fmla="*/ 43 h 1287"/>
                <a:gd name="T124" fmla="*/ 752 w 923"/>
                <a:gd name="T125" fmla="*/ 23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23" h="1287">
                  <a:moveTo>
                    <a:pt x="292" y="1187"/>
                  </a:moveTo>
                  <a:lnTo>
                    <a:pt x="293" y="1188"/>
                  </a:lnTo>
                  <a:lnTo>
                    <a:pt x="295" y="1188"/>
                  </a:lnTo>
                  <a:lnTo>
                    <a:pt x="295" y="1190"/>
                  </a:lnTo>
                  <a:lnTo>
                    <a:pt x="293" y="1193"/>
                  </a:lnTo>
                  <a:lnTo>
                    <a:pt x="291" y="1189"/>
                  </a:lnTo>
                  <a:lnTo>
                    <a:pt x="292" y="1187"/>
                  </a:lnTo>
                  <a:close/>
                  <a:moveTo>
                    <a:pt x="286" y="1185"/>
                  </a:moveTo>
                  <a:lnTo>
                    <a:pt x="286" y="1189"/>
                  </a:lnTo>
                  <a:lnTo>
                    <a:pt x="283" y="1186"/>
                  </a:lnTo>
                  <a:lnTo>
                    <a:pt x="285" y="1186"/>
                  </a:lnTo>
                  <a:lnTo>
                    <a:pt x="286" y="1185"/>
                  </a:lnTo>
                  <a:close/>
                  <a:moveTo>
                    <a:pt x="32" y="1177"/>
                  </a:moveTo>
                  <a:lnTo>
                    <a:pt x="34" y="1177"/>
                  </a:lnTo>
                  <a:lnTo>
                    <a:pt x="37" y="1178"/>
                  </a:lnTo>
                  <a:lnTo>
                    <a:pt x="40" y="1179"/>
                  </a:lnTo>
                  <a:lnTo>
                    <a:pt x="40" y="1182"/>
                  </a:lnTo>
                  <a:lnTo>
                    <a:pt x="35" y="1180"/>
                  </a:lnTo>
                  <a:lnTo>
                    <a:pt x="32" y="1178"/>
                  </a:lnTo>
                  <a:lnTo>
                    <a:pt x="32" y="1177"/>
                  </a:lnTo>
                  <a:close/>
                  <a:moveTo>
                    <a:pt x="25" y="1168"/>
                  </a:moveTo>
                  <a:lnTo>
                    <a:pt x="25" y="1172"/>
                  </a:lnTo>
                  <a:lnTo>
                    <a:pt x="24" y="1174"/>
                  </a:lnTo>
                  <a:lnTo>
                    <a:pt x="22" y="1171"/>
                  </a:lnTo>
                  <a:lnTo>
                    <a:pt x="21" y="1168"/>
                  </a:lnTo>
                  <a:lnTo>
                    <a:pt x="25" y="1168"/>
                  </a:lnTo>
                  <a:close/>
                  <a:moveTo>
                    <a:pt x="51" y="1163"/>
                  </a:moveTo>
                  <a:lnTo>
                    <a:pt x="55" y="1164"/>
                  </a:lnTo>
                  <a:lnTo>
                    <a:pt x="54" y="1168"/>
                  </a:lnTo>
                  <a:lnTo>
                    <a:pt x="52" y="1169"/>
                  </a:lnTo>
                  <a:lnTo>
                    <a:pt x="50" y="1169"/>
                  </a:lnTo>
                  <a:lnTo>
                    <a:pt x="49" y="1165"/>
                  </a:lnTo>
                  <a:lnTo>
                    <a:pt x="51" y="1163"/>
                  </a:lnTo>
                  <a:close/>
                  <a:moveTo>
                    <a:pt x="13" y="1150"/>
                  </a:moveTo>
                  <a:lnTo>
                    <a:pt x="16" y="1154"/>
                  </a:lnTo>
                  <a:lnTo>
                    <a:pt x="16" y="1157"/>
                  </a:lnTo>
                  <a:lnTo>
                    <a:pt x="17" y="1160"/>
                  </a:lnTo>
                  <a:lnTo>
                    <a:pt x="17" y="1161"/>
                  </a:lnTo>
                  <a:lnTo>
                    <a:pt x="17" y="1165"/>
                  </a:lnTo>
                  <a:lnTo>
                    <a:pt x="17" y="1167"/>
                  </a:lnTo>
                  <a:lnTo>
                    <a:pt x="16" y="1172"/>
                  </a:lnTo>
                  <a:lnTo>
                    <a:pt x="11" y="1174"/>
                  </a:lnTo>
                  <a:lnTo>
                    <a:pt x="10" y="1170"/>
                  </a:lnTo>
                  <a:lnTo>
                    <a:pt x="10" y="1164"/>
                  </a:lnTo>
                  <a:lnTo>
                    <a:pt x="11" y="1161"/>
                  </a:lnTo>
                  <a:lnTo>
                    <a:pt x="14" y="1162"/>
                  </a:lnTo>
                  <a:lnTo>
                    <a:pt x="13" y="1158"/>
                  </a:lnTo>
                  <a:lnTo>
                    <a:pt x="12" y="1156"/>
                  </a:lnTo>
                  <a:lnTo>
                    <a:pt x="13" y="1153"/>
                  </a:lnTo>
                  <a:lnTo>
                    <a:pt x="13" y="1150"/>
                  </a:lnTo>
                  <a:close/>
                  <a:moveTo>
                    <a:pt x="15" y="1106"/>
                  </a:moveTo>
                  <a:lnTo>
                    <a:pt x="16" y="1110"/>
                  </a:lnTo>
                  <a:lnTo>
                    <a:pt x="17" y="1111"/>
                  </a:lnTo>
                  <a:lnTo>
                    <a:pt x="19" y="1113"/>
                  </a:lnTo>
                  <a:lnTo>
                    <a:pt x="21" y="1117"/>
                  </a:lnTo>
                  <a:lnTo>
                    <a:pt x="22" y="1121"/>
                  </a:lnTo>
                  <a:lnTo>
                    <a:pt x="21" y="1124"/>
                  </a:lnTo>
                  <a:lnTo>
                    <a:pt x="21" y="1120"/>
                  </a:lnTo>
                  <a:lnTo>
                    <a:pt x="17" y="1118"/>
                  </a:lnTo>
                  <a:lnTo>
                    <a:pt x="16" y="1121"/>
                  </a:lnTo>
                  <a:lnTo>
                    <a:pt x="14" y="1124"/>
                  </a:lnTo>
                  <a:lnTo>
                    <a:pt x="16" y="1124"/>
                  </a:lnTo>
                  <a:lnTo>
                    <a:pt x="15" y="1128"/>
                  </a:lnTo>
                  <a:lnTo>
                    <a:pt x="15" y="1131"/>
                  </a:lnTo>
                  <a:lnTo>
                    <a:pt x="13" y="1133"/>
                  </a:lnTo>
                  <a:lnTo>
                    <a:pt x="12" y="1131"/>
                  </a:lnTo>
                  <a:lnTo>
                    <a:pt x="11" y="1128"/>
                  </a:lnTo>
                  <a:lnTo>
                    <a:pt x="12" y="1124"/>
                  </a:lnTo>
                  <a:lnTo>
                    <a:pt x="14" y="1119"/>
                  </a:lnTo>
                  <a:lnTo>
                    <a:pt x="13" y="1115"/>
                  </a:lnTo>
                  <a:lnTo>
                    <a:pt x="12" y="1111"/>
                  </a:lnTo>
                  <a:lnTo>
                    <a:pt x="13" y="1107"/>
                  </a:lnTo>
                  <a:lnTo>
                    <a:pt x="15" y="1106"/>
                  </a:lnTo>
                  <a:close/>
                  <a:moveTo>
                    <a:pt x="21" y="1098"/>
                  </a:moveTo>
                  <a:lnTo>
                    <a:pt x="26" y="1100"/>
                  </a:lnTo>
                  <a:lnTo>
                    <a:pt x="30" y="1104"/>
                  </a:lnTo>
                  <a:lnTo>
                    <a:pt x="30" y="1107"/>
                  </a:lnTo>
                  <a:lnTo>
                    <a:pt x="31" y="1110"/>
                  </a:lnTo>
                  <a:lnTo>
                    <a:pt x="31" y="1112"/>
                  </a:lnTo>
                  <a:lnTo>
                    <a:pt x="31" y="1114"/>
                  </a:lnTo>
                  <a:lnTo>
                    <a:pt x="27" y="1118"/>
                  </a:lnTo>
                  <a:lnTo>
                    <a:pt x="24" y="1117"/>
                  </a:lnTo>
                  <a:lnTo>
                    <a:pt x="22" y="1115"/>
                  </a:lnTo>
                  <a:lnTo>
                    <a:pt x="21" y="1109"/>
                  </a:lnTo>
                  <a:lnTo>
                    <a:pt x="20" y="1106"/>
                  </a:lnTo>
                  <a:lnTo>
                    <a:pt x="21" y="1101"/>
                  </a:lnTo>
                  <a:lnTo>
                    <a:pt x="21" y="1098"/>
                  </a:lnTo>
                  <a:close/>
                  <a:moveTo>
                    <a:pt x="40" y="1089"/>
                  </a:moveTo>
                  <a:lnTo>
                    <a:pt x="40" y="1090"/>
                  </a:lnTo>
                  <a:lnTo>
                    <a:pt x="40" y="1095"/>
                  </a:lnTo>
                  <a:lnTo>
                    <a:pt x="37" y="1100"/>
                  </a:lnTo>
                  <a:lnTo>
                    <a:pt x="39" y="1104"/>
                  </a:lnTo>
                  <a:lnTo>
                    <a:pt x="36" y="1103"/>
                  </a:lnTo>
                  <a:lnTo>
                    <a:pt x="33" y="1105"/>
                  </a:lnTo>
                  <a:lnTo>
                    <a:pt x="32" y="1100"/>
                  </a:lnTo>
                  <a:lnTo>
                    <a:pt x="29" y="1100"/>
                  </a:lnTo>
                  <a:lnTo>
                    <a:pt x="25" y="1096"/>
                  </a:lnTo>
                  <a:lnTo>
                    <a:pt x="30" y="1095"/>
                  </a:lnTo>
                  <a:lnTo>
                    <a:pt x="30" y="1092"/>
                  </a:lnTo>
                  <a:lnTo>
                    <a:pt x="37" y="1090"/>
                  </a:lnTo>
                  <a:lnTo>
                    <a:pt x="40" y="1089"/>
                  </a:lnTo>
                  <a:close/>
                  <a:moveTo>
                    <a:pt x="19" y="1084"/>
                  </a:moveTo>
                  <a:lnTo>
                    <a:pt x="20" y="1084"/>
                  </a:lnTo>
                  <a:lnTo>
                    <a:pt x="21" y="1087"/>
                  </a:lnTo>
                  <a:lnTo>
                    <a:pt x="23" y="1092"/>
                  </a:lnTo>
                  <a:lnTo>
                    <a:pt x="21" y="1095"/>
                  </a:lnTo>
                  <a:lnTo>
                    <a:pt x="18" y="1094"/>
                  </a:lnTo>
                  <a:lnTo>
                    <a:pt x="17" y="1091"/>
                  </a:lnTo>
                  <a:lnTo>
                    <a:pt x="18" y="1088"/>
                  </a:lnTo>
                  <a:lnTo>
                    <a:pt x="19" y="1091"/>
                  </a:lnTo>
                  <a:lnTo>
                    <a:pt x="19" y="1087"/>
                  </a:lnTo>
                  <a:lnTo>
                    <a:pt x="19" y="1084"/>
                  </a:lnTo>
                  <a:close/>
                  <a:moveTo>
                    <a:pt x="9" y="1054"/>
                  </a:moveTo>
                  <a:lnTo>
                    <a:pt x="11" y="1058"/>
                  </a:lnTo>
                  <a:lnTo>
                    <a:pt x="14" y="1063"/>
                  </a:lnTo>
                  <a:lnTo>
                    <a:pt x="15" y="1065"/>
                  </a:lnTo>
                  <a:lnTo>
                    <a:pt x="14" y="1069"/>
                  </a:lnTo>
                  <a:lnTo>
                    <a:pt x="15" y="1072"/>
                  </a:lnTo>
                  <a:lnTo>
                    <a:pt x="15" y="1075"/>
                  </a:lnTo>
                  <a:lnTo>
                    <a:pt x="13" y="1077"/>
                  </a:lnTo>
                  <a:lnTo>
                    <a:pt x="12" y="1074"/>
                  </a:lnTo>
                  <a:lnTo>
                    <a:pt x="10" y="1074"/>
                  </a:lnTo>
                  <a:lnTo>
                    <a:pt x="8" y="1071"/>
                  </a:lnTo>
                  <a:lnTo>
                    <a:pt x="8" y="1068"/>
                  </a:lnTo>
                  <a:lnTo>
                    <a:pt x="10" y="1067"/>
                  </a:lnTo>
                  <a:lnTo>
                    <a:pt x="11" y="1065"/>
                  </a:lnTo>
                  <a:lnTo>
                    <a:pt x="9" y="1061"/>
                  </a:lnTo>
                  <a:lnTo>
                    <a:pt x="10" y="1058"/>
                  </a:lnTo>
                  <a:lnTo>
                    <a:pt x="9" y="1054"/>
                  </a:lnTo>
                  <a:close/>
                  <a:moveTo>
                    <a:pt x="11" y="1042"/>
                  </a:moveTo>
                  <a:lnTo>
                    <a:pt x="13" y="1046"/>
                  </a:lnTo>
                  <a:lnTo>
                    <a:pt x="19" y="1048"/>
                  </a:lnTo>
                  <a:lnTo>
                    <a:pt x="21" y="1051"/>
                  </a:lnTo>
                  <a:lnTo>
                    <a:pt x="21" y="1055"/>
                  </a:lnTo>
                  <a:lnTo>
                    <a:pt x="18" y="1058"/>
                  </a:lnTo>
                  <a:lnTo>
                    <a:pt x="17" y="1054"/>
                  </a:lnTo>
                  <a:lnTo>
                    <a:pt x="15" y="1049"/>
                  </a:lnTo>
                  <a:lnTo>
                    <a:pt x="11" y="1045"/>
                  </a:lnTo>
                  <a:lnTo>
                    <a:pt x="11" y="1042"/>
                  </a:lnTo>
                  <a:close/>
                  <a:moveTo>
                    <a:pt x="3" y="1034"/>
                  </a:moveTo>
                  <a:lnTo>
                    <a:pt x="5" y="1035"/>
                  </a:lnTo>
                  <a:lnTo>
                    <a:pt x="6" y="1039"/>
                  </a:lnTo>
                  <a:lnTo>
                    <a:pt x="3" y="1036"/>
                  </a:lnTo>
                  <a:lnTo>
                    <a:pt x="3" y="1034"/>
                  </a:lnTo>
                  <a:close/>
                  <a:moveTo>
                    <a:pt x="43" y="1032"/>
                  </a:moveTo>
                  <a:lnTo>
                    <a:pt x="45" y="1034"/>
                  </a:lnTo>
                  <a:lnTo>
                    <a:pt x="45" y="1039"/>
                  </a:lnTo>
                  <a:lnTo>
                    <a:pt x="44" y="1045"/>
                  </a:lnTo>
                  <a:lnTo>
                    <a:pt x="44" y="1051"/>
                  </a:lnTo>
                  <a:lnTo>
                    <a:pt x="44" y="1052"/>
                  </a:lnTo>
                  <a:lnTo>
                    <a:pt x="42" y="1052"/>
                  </a:lnTo>
                  <a:lnTo>
                    <a:pt x="37" y="1055"/>
                  </a:lnTo>
                  <a:lnTo>
                    <a:pt x="33" y="1052"/>
                  </a:lnTo>
                  <a:lnTo>
                    <a:pt x="31" y="1048"/>
                  </a:lnTo>
                  <a:lnTo>
                    <a:pt x="27" y="1044"/>
                  </a:lnTo>
                  <a:lnTo>
                    <a:pt x="31" y="1044"/>
                  </a:lnTo>
                  <a:lnTo>
                    <a:pt x="35" y="1041"/>
                  </a:lnTo>
                  <a:lnTo>
                    <a:pt x="37" y="1040"/>
                  </a:lnTo>
                  <a:lnTo>
                    <a:pt x="40" y="1038"/>
                  </a:lnTo>
                  <a:lnTo>
                    <a:pt x="41" y="1034"/>
                  </a:lnTo>
                  <a:lnTo>
                    <a:pt x="43" y="1032"/>
                  </a:lnTo>
                  <a:close/>
                  <a:moveTo>
                    <a:pt x="8" y="1006"/>
                  </a:moveTo>
                  <a:lnTo>
                    <a:pt x="7" y="1008"/>
                  </a:lnTo>
                  <a:lnTo>
                    <a:pt x="9" y="1008"/>
                  </a:lnTo>
                  <a:lnTo>
                    <a:pt x="11" y="1013"/>
                  </a:lnTo>
                  <a:lnTo>
                    <a:pt x="7" y="1011"/>
                  </a:lnTo>
                  <a:lnTo>
                    <a:pt x="6" y="1009"/>
                  </a:lnTo>
                  <a:lnTo>
                    <a:pt x="8" y="1006"/>
                  </a:lnTo>
                  <a:close/>
                  <a:moveTo>
                    <a:pt x="1" y="995"/>
                  </a:moveTo>
                  <a:lnTo>
                    <a:pt x="3" y="996"/>
                  </a:lnTo>
                  <a:lnTo>
                    <a:pt x="4" y="998"/>
                  </a:lnTo>
                  <a:lnTo>
                    <a:pt x="3" y="1002"/>
                  </a:lnTo>
                  <a:lnTo>
                    <a:pt x="3" y="999"/>
                  </a:lnTo>
                  <a:lnTo>
                    <a:pt x="0" y="997"/>
                  </a:lnTo>
                  <a:lnTo>
                    <a:pt x="1" y="995"/>
                  </a:lnTo>
                  <a:close/>
                  <a:moveTo>
                    <a:pt x="10" y="982"/>
                  </a:moveTo>
                  <a:lnTo>
                    <a:pt x="11" y="986"/>
                  </a:lnTo>
                  <a:lnTo>
                    <a:pt x="12" y="987"/>
                  </a:lnTo>
                  <a:lnTo>
                    <a:pt x="13" y="985"/>
                  </a:lnTo>
                  <a:lnTo>
                    <a:pt x="16" y="991"/>
                  </a:lnTo>
                  <a:lnTo>
                    <a:pt x="13" y="995"/>
                  </a:lnTo>
                  <a:lnTo>
                    <a:pt x="10" y="992"/>
                  </a:lnTo>
                  <a:lnTo>
                    <a:pt x="7" y="997"/>
                  </a:lnTo>
                  <a:lnTo>
                    <a:pt x="7" y="994"/>
                  </a:lnTo>
                  <a:lnTo>
                    <a:pt x="7" y="990"/>
                  </a:lnTo>
                  <a:lnTo>
                    <a:pt x="7" y="986"/>
                  </a:lnTo>
                  <a:lnTo>
                    <a:pt x="10" y="990"/>
                  </a:lnTo>
                  <a:lnTo>
                    <a:pt x="10" y="982"/>
                  </a:lnTo>
                  <a:close/>
                  <a:moveTo>
                    <a:pt x="13" y="937"/>
                  </a:moveTo>
                  <a:lnTo>
                    <a:pt x="16" y="938"/>
                  </a:lnTo>
                  <a:lnTo>
                    <a:pt x="16" y="939"/>
                  </a:lnTo>
                  <a:lnTo>
                    <a:pt x="14" y="940"/>
                  </a:lnTo>
                  <a:lnTo>
                    <a:pt x="13" y="937"/>
                  </a:lnTo>
                  <a:close/>
                  <a:moveTo>
                    <a:pt x="18" y="917"/>
                  </a:moveTo>
                  <a:lnTo>
                    <a:pt x="20" y="918"/>
                  </a:lnTo>
                  <a:lnTo>
                    <a:pt x="32" y="924"/>
                  </a:lnTo>
                  <a:lnTo>
                    <a:pt x="30" y="926"/>
                  </a:lnTo>
                  <a:lnTo>
                    <a:pt x="26" y="926"/>
                  </a:lnTo>
                  <a:lnTo>
                    <a:pt x="27" y="923"/>
                  </a:lnTo>
                  <a:lnTo>
                    <a:pt x="23" y="927"/>
                  </a:lnTo>
                  <a:lnTo>
                    <a:pt x="17" y="929"/>
                  </a:lnTo>
                  <a:lnTo>
                    <a:pt x="17" y="926"/>
                  </a:lnTo>
                  <a:lnTo>
                    <a:pt x="14" y="924"/>
                  </a:lnTo>
                  <a:lnTo>
                    <a:pt x="15" y="921"/>
                  </a:lnTo>
                  <a:lnTo>
                    <a:pt x="18" y="917"/>
                  </a:lnTo>
                  <a:close/>
                  <a:moveTo>
                    <a:pt x="22" y="906"/>
                  </a:moveTo>
                  <a:lnTo>
                    <a:pt x="25" y="908"/>
                  </a:lnTo>
                  <a:lnTo>
                    <a:pt x="29" y="906"/>
                  </a:lnTo>
                  <a:lnTo>
                    <a:pt x="30" y="910"/>
                  </a:lnTo>
                  <a:lnTo>
                    <a:pt x="29" y="912"/>
                  </a:lnTo>
                  <a:lnTo>
                    <a:pt x="26" y="915"/>
                  </a:lnTo>
                  <a:lnTo>
                    <a:pt x="24" y="914"/>
                  </a:lnTo>
                  <a:lnTo>
                    <a:pt x="25" y="911"/>
                  </a:lnTo>
                  <a:lnTo>
                    <a:pt x="22" y="909"/>
                  </a:lnTo>
                  <a:lnTo>
                    <a:pt x="22" y="906"/>
                  </a:lnTo>
                  <a:close/>
                  <a:moveTo>
                    <a:pt x="51" y="883"/>
                  </a:moveTo>
                  <a:lnTo>
                    <a:pt x="54" y="883"/>
                  </a:lnTo>
                  <a:lnTo>
                    <a:pt x="56" y="883"/>
                  </a:lnTo>
                  <a:lnTo>
                    <a:pt x="59" y="885"/>
                  </a:lnTo>
                  <a:lnTo>
                    <a:pt x="59" y="887"/>
                  </a:lnTo>
                  <a:lnTo>
                    <a:pt x="59" y="890"/>
                  </a:lnTo>
                  <a:lnTo>
                    <a:pt x="55" y="893"/>
                  </a:lnTo>
                  <a:lnTo>
                    <a:pt x="48" y="892"/>
                  </a:lnTo>
                  <a:lnTo>
                    <a:pt x="47" y="889"/>
                  </a:lnTo>
                  <a:lnTo>
                    <a:pt x="50" y="890"/>
                  </a:lnTo>
                  <a:lnTo>
                    <a:pt x="48" y="888"/>
                  </a:lnTo>
                  <a:lnTo>
                    <a:pt x="49" y="885"/>
                  </a:lnTo>
                  <a:lnTo>
                    <a:pt x="51" y="883"/>
                  </a:lnTo>
                  <a:close/>
                  <a:moveTo>
                    <a:pt x="57" y="877"/>
                  </a:moveTo>
                  <a:lnTo>
                    <a:pt x="57" y="877"/>
                  </a:lnTo>
                  <a:lnTo>
                    <a:pt x="57" y="880"/>
                  </a:lnTo>
                  <a:lnTo>
                    <a:pt x="55" y="881"/>
                  </a:lnTo>
                  <a:lnTo>
                    <a:pt x="57" y="877"/>
                  </a:lnTo>
                  <a:close/>
                  <a:moveTo>
                    <a:pt x="48" y="876"/>
                  </a:moveTo>
                  <a:lnTo>
                    <a:pt x="51" y="877"/>
                  </a:lnTo>
                  <a:lnTo>
                    <a:pt x="50" y="879"/>
                  </a:lnTo>
                  <a:lnTo>
                    <a:pt x="48" y="879"/>
                  </a:lnTo>
                  <a:lnTo>
                    <a:pt x="48" y="876"/>
                  </a:lnTo>
                  <a:close/>
                  <a:moveTo>
                    <a:pt x="108" y="875"/>
                  </a:moveTo>
                  <a:lnTo>
                    <a:pt x="107" y="878"/>
                  </a:lnTo>
                  <a:lnTo>
                    <a:pt x="108" y="882"/>
                  </a:lnTo>
                  <a:lnTo>
                    <a:pt x="112" y="887"/>
                  </a:lnTo>
                  <a:lnTo>
                    <a:pt x="112" y="890"/>
                  </a:lnTo>
                  <a:lnTo>
                    <a:pt x="112" y="894"/>
                  </a:lnTo>
                  <a:lnTo>
                    <a:pt x="109" y="900"/>
                  </a:lnTo>
                  <a:lnTo>
                    <a:pt x="110" y="904"/>
                  </a:lnTo>
                  <a:lnTo>
                    <a:pt x="113" y="905"/>
                  </a:lnTo>
                  <a:lnTo>
                    <a:pt x="116" y="904"/>
                  </a:lnTo>
                  <a:lnTo>
                    <a:pt x="120" y="904"/>
                  </a:lnTo>
                  <a:lnTo>
                    <a:pt x="118" y="901"/>
                  </a:lnTo>
                  <a:lnTo>
                    <a:pt x="113" y="904"/>
                  </a:lnTo>
                  <a:lnTo>
                    <a:pt x="111" y="900"/>
                  </a:lnTo>
                  <a:lnTo>
                    <a:pt x="113" y="898"/>
                  </a:lnTo>
                  <a:lnTo>
                    <a:pt x="114" y="895"/>
                  </a:lnTo>
                  <a:lnTo>
                    <a:pt x="114" y="889"/>
                  </a:lnTo>
                  <a:lnTo>
                    <a:pt x="117" y="888"/>
                  </a:lnTo>
                  <a:lnTo>
                    <a:pt x="121" y="891"/>
                  </a:lnTo>
                  <a:lnTo>
                    <a:pt x="126" y="888"/>
                  </a:lnTo>
                  <a:lnTo>
                    <a:pt x="128" y="890"/>
                  </a:lnTo>
                  <a:lnTo>
                    <a:pt x="127" y="888"/>
                  </a:lnTo>
                  <a:lnTo>
                    <a:pt x="119" y="887"/>
                  </a:lnTo>
                  <a:lnTo>
                    <a:pt x="113" y="885"/>
                  </a:lnTo>
                  <a:lnTo>
                    <a:pt x="111" y="883"/>
                  </a:lnTo>
                  <a:lnTo>
                    <a:pt x="109" y="879"/>
                  </a:lnTo>
                  <a:lnTo>
                    <a:pt x="108" y="875"/>
                  </a:lnTo>
                  <a:close/>
                  <a:moveTo>
                    <a:pt x="66" y="871"/>
                  </a:moveTo>
                  <a:lnTo>
                    <a:pt x="69" y="876"/>
                  </a:lnTo>
                  <a:lnTo>
                    <a:pt x="72" y="879"/>
                  </a:lnTo>
                  <a:lnTo>
                    <a:pt x="63" y="887"/>
                  </a:lnTo>
                  <a:lnTo>
                    <a:pt x="60" y="888"/>
                  </a:lnTo>
                  <a:lnTo>
                    <a:pt x="62" y="885"/>
                  </a:lnTo>
                  <a:lnTo>
                    <a:pt x="62" y="882"/>
                  </a:lnTo>
                  <a:lnTo>
                    <a:pt x="61" y="879"/>
                  </a:lnTo>
                  <a:lnTo>
                    <a:pt x="61" y="875"/>
                  </a:lnTo>
                  <a:lnTo>
                    <a:pt x="63" y="873"/>
                  </a:lnTo>
                  <a:lnTo>
                    <a:pt x="66" y="871"/>
                  </a:lnTo>
                  <a:close/>
                  <a:moveTo>
                    <a:pt x="78" y="871"/>
                  </a:moveTo>
                  <a:lnTo>
                    <a:pt x="79" y="871"/>
                  </a:lnTo>
                  <a:lnTo>
                    <a:pt x="80" y="873"/>
                  </a:lnTo>
                  <a:lnTo>
                    <a:pt x="76" y="875"/>
                  </a:lnTo>
                  <a:lnTo>
                    <a:pt x="73" y="874"/>
                  </a:lnTo>
                  <a:lnTo>
                    <a:pt x="70" y="871"/>
                  </a:lnTo>
                  <a:lnTo>
                    <a:pt x="78" y="871"/>
                  </a:lnTo>
                  <a:close/>
                  <a:moveTo>
                    <a:pt x="108" y="844"/>
                  </a:moveTo>
                  <a:lnTo>
                    <a:pt x="110" y="845"/>
                  </a:lnTo>
                  <a:lnTo>
                    <a:pt x="111" y="848"/>
                  </a:lnTo>
                  <a:lnTo>
                    <a:pt x="103" y="850"/>
                  </a:lnTo>
                  <a:lnTo>
                    <a:pt x="101" y="851"/>
                  </a:lnTo>
                  <a:lnTo>
                    <a:pt x="99" y="846"/>
                  </a:lnTo>
                  <a:lnTo>
                    <a:pt x="108" y="844"/>
                  </a:lnTo>
                  <a:close/>
                  <a:moveTo>
                    <a:pt x="107" y="833"/>
                  </a:moveTo>
                  <a:lnTo>
                    <a:pt x="109" y="834"/>
                  </a:lnTo>
                  <a:lnTo>
                    <a:pt x="112" y="834"/>
                  </a:lnTo>
                  <a:lnTo>
                    <a:pt x="112" y="836"/>
                  </a:lnTo>
                  <a:lnTo>
                    <a:pt x="111" y="840"/>
                  </a:lnTo>
                  <a:lnTo>
                    <a:pt x="108" y="839"/>
                  </a:lnTo>
                  <a:lnTo>
                    <a:pt x="106" y="838"/>
                  </a:lnTo>
                  <a:lnTo>
                    <a:pt x="105" y="835"/>
                  </a:lnTo>
                  <a:lnTo>
                    <a:pt x="107" y="833"/>
                  </a:lnTo>
                  <a:close/>
                  <a:moveTo>
                    <a:pt x="152" y="813"/>
                  </a:moveTo>
                  <a:lnTo>
                    <a:pt x="154" y="814"/>
                  </a:lnTo>
                  <a:lnTo>
                    <a:pt x="152" y="818"/>
                  </a:lnTo>
                  <a:lnTo>
                    <a:pt x="149" y="819"/>
                  </a:lnTo>
                  <a:lnTo>
                    <a:pt x="144" y="817"/>
                  </a:lnTo>
                  <a:lnTo>
                    <a:pt x="146" y="814"/>
                  </a:lnTo>
                  <a:lnTo>
                    <a:pt x="149" y="814"/>
                  </a:lnTo>
                  <a:lnTo>
                    <a:pt x="152" y="813"/>
                  </a:lnTo>
                  <a:close/>
                  <a:moveTo>
                    <a:pt x="141" y="811"/>
                  </a:moveTo>
                  <a:lnTo>
                    <a:pt x="143" y="811"/>
                  </a:lnTo>
                  <a:lnTo>
                    <a:pt x="143" y="814"/>
                  </a:lnTo>
                  <a:lnTo>
                    <a:pt x="143" y="817"/>
                  </a:lnTo>
                  <a:lnTo>
                    <a:pt x="144" y="820"/>
                  </a:lnTo>
                  <a:lnTo>
                    <a:pt x="142" y="822"/>
                  </a:lnTo>
                  <a:lnTo>
                    <a:pt x="137" y="826"/>
                  </a:lnTo>
                  <a:lnTo>
                    <a:pt x="132" y="823"/>
                  </a:lnTo>
                  <a:lnTo>
                    <a:pt x="132" y="820"/>
                  </a:lnTo>
                  <a:lnTo>
                    <a:pt x="133" y="816"/>
                  </a:lnTo>
                  <a:lnTo>
                    <a:pt x="136" y="815"/>
                  </a:lnTo>
                  <a:lnTo>
                    <a:pt x="139" y="820"/>
                  </a:lnTo>
                  <a:lnTo>
                    <a:pt x="139" y="817"/>
                  </a:lnTo>
                  <a:lnTo>
                    <a:pt x="141" y="814"/>
                  </a:lnTo>
                  <a:lnTo>
                    <a:pt x="141" y="811"/>
                  </a:lnTo>
                  <a:close/>
                  <a:moveTo>
                    <a:pt x="165" y="803"/>
                  </a:moveTo>
                  <a:lnTo>
                    <a:pt x="170" y="804"/>
                  </a:lnTo>
                  <a:lnTo>
                    <a:pt x="171" y="807"/>
                  </a:lnTo>
                  <a:lnTo>
                    <a:pt x="168" y="808"/>
                  </a:lnTo>
                  <a:lnTo>
                    <a:pt x="165" y="803"/>
                  </a:lnTo>
                  <a:close/>
                  <a:moveTo>
                    <a:pt x="163" y="800"/>
                  </a:moveTo>
                  <a:lnTo>
                    <a:pt x="165" y="803"/>
                  </a:lnTo>
                  <a:lnTo>
                    <a:pt x="165" y="806"/>
                  </a:lnTo>
                  <a:lnTo>
                    <a:pt x="166" y="808"/>
                  </a:lnTo>
                  <a:lnTo>
                    <a:pt x="159" y="809"/>
                  </a:lnTo>
                  <a:lnTo>
                    <a:pt x="155" y="806"/>
                  </a:lnTo>
                  <a:lnTo>
                    <a:pt x="158" y="804"/>
                  </a:lnTo>
                  <a:lnTo>
                    <a:pt x="160" y="801"/>
                  </a:lnTo>
                  <a:lnTo>
                    <a:pt x="163" y="800"/>
                  </a:lnTo>
                  <a:close/>
                  <a:moveTo>
                    <a:pt x="176" y="797"/>
                  </a:moveTo>
                  <a:lnTo>
                    <a:pt x="180" y="800"/>
                  </a:lnTo>
                  <a:lnTo>
                    <a:pt x="182" y="802"/>
                  </a:lnTo>
                  <a:lnTo>
                    <a:pt x="183" y="806"/>
                  </a:lnTo>
                  <a:lnTo>
                    <a:pt x="177" y="808"/>
                  </a:lnTo>
                  <a:lnTo>
                    <a:pt x="170" y="803"/>
                  </a:lnTo>
                  <a:lnTo>
                    <a:pt x="170" y="798"/>
                  </a:lnTo>
                  <a:lnTo>
                    <a:pt x="174" y="798"/>
                  </a:lnTo>
                  <a:lnTo>
                    <a:pt x="175" y="801"/>
                  </a:lnTo>
                  <a:lnTo>
                    <a:pt x="176" y="797"/>
                  </a:lnTo>
                  <a:close/>
                  <a:moveTo>
                    <a:pt x="162" y="778"/>
                  </a:moveTo>
                  <a:lnTo>
                    <a:pt x="164" y="782"/>
                  </a:lnTo>
                  <a:lnTo>
                    <a:pt x="165" y="789"/>
                  </a:lnTo>
                  <a:lnTo>
                    <a:pt x="163" y="791"/>
                  </a:lnTo>
                  <a:lnTo>
                    <a:pt x="160" y="792"/>
                  </a:lnTo>
                  <a:lnTo>
                    <a:pt x="156" y="791"/>
                  </a:lnTo>
                  <a:lnTo>
                    <a:pt x="158" y="791"/>
                  </a:lnTo>
                  <a:lnTo>
                    <a:pt x="151" y="788"/>
                  </a:lnTo>
                  <a:lnTo>
                    <a:pt x="150" y="785"/>
                  </a:lnTo>
                  <a:lnTo>
                    <a:pt x="152" y="781"/>
                  </a:lnTo>
                  <a:lnTo>
                    <a:pt x="155" y="781"/>
                  </a:lnTo>
                  <a:lnTo>
                    <a:pt x="158" y="778"/>
                  </a:lnTo>
                  <a:lnTo>
                    <a:pt x="162" y="778"/>
                  </a:lnTo>
                  <a:close/>
                  <a:moveTo>
                    <a:pt x="207" y="762"/>
                  </a:moveTo>
                  <a:lnTo>
                    <a:pt x="208" y="762"/>
                  </a:lnTo>
                  <a:lnTo>
                    <a:pt x="206" y="765"/>
                  </a:lnTo>
                  <a:lnTo>
                    <a:pt x="203" y="765"/>
                  </a:lnTo>
                  <a:lnTo>
                    <a:pt x="203" y="762"/>
                  </a:lnTo>
                  <a:lnTo>
                    <a:pt x="207" y="762"/>
                  </a:lnTo>
                  <a:close/>
                  <a:moveTo>
                    <a:pt x="200" y="762"/>
                  </a:moveTo>
                  <a:lnTo>
                    <a:pt x="200" y="765"/>
                  </a:lnTo>
                  <a:lnTo>
                    <a:pt x="201" y="768"/>
                  </a:lnTo>
                  <a:lnTo>
                    <a:pt x="204" y="766"/>
                  </a:lnTo>
                  <a:lnTo>
                    <a:pt x="207" y="769"/>
                  </a:lnTo>
                  <a:lnTo>
                    <a:pt x="209" y="770"/>
                  </a:lnTo>
                  <a:lnTo>
                    <a:pt x="206" y="773"/>
                  </a:lnTo>
                  <a:lnTo>
                    <a:pt x="196" y="777"/>
                  </a:lnTo>
                  <a:lnTo>
                    <a:pt x="190" y="777"/>
                  </a:lnTo>
                  <a:lnTo>
                    <a:pt x="187" y="779"/>
                  </a:lnTo>
                  <a:lnTo>
                    <a:pt x="184" y="779"/>
                  </a:lnTo>
                  <a:lnTo>
                    <a:pt x="181" y="782"/>
                  </a:lnTo>
                  <a:lnTo>
                    <a:pt x="177" y="782"/>
                  </a:lnTo>
                  <a:lnTo>
                    <a:pt x="174" y="780"/>
                  </a:lnTo>
                  <a:lnTo>
                    <a:pt x="171" y="777"/>
                  </a:lnTo>
                  <a:lnTo>
                    <a:pt x="177" y="770"/>
                  </a:lnTo>
                  <a:lnTo>
                    <a:pt x="186" y="769"/>
                  </a:lnTo>
                  <a:lnTo>
                    <a:pt x="189" y="770"/>
                  </a:lnTo>
                  <a:lnTo>
                    <a:pt x="184" y="768"/>
                  </a:lnTo>
                  <a:lnTo>
                    <a:pt x="184" y="765"/>
                  </a:lnTo>
                  <a:lnTo>
                    <a:pt x="193" y="763"/>
                  </a:lnTo>
                  <a:lnTo>
                    <a:pt x="196" y="763"/>
                  </a:lnTo>
                  <a:lnTo>
                    <a:pt x="200" y="762"/>
                  </a:lnTo>
                  <a:close/>
                  <a:moveTo>
                    <a:pt x="191" y="748"/>
                  </a:moveTo>
                  <a:lnTo>
                    <a:pt x="194" y="748"/>
                  </a:lnTo>
                  <a:lnTo>
                    <a:pt x="194" y="752"/>
                  </a:lnTo>
                  <a:lnTo>
                    <a:pt x="195" y="756"/>
                  </a:lnTo>
                  <a:lnTo>
                    <a:pt x="191" y="759"/>
                  </a:lnTo>
                  <a:lnTo>
                    <a:pt x="183" y="759"/>
                  </a:lnTo>
                  <a:lnTo>
                    <a:pt x="180" y="761"/>
                  </a:lnTo>
                  <a:lnTo>
                    <a:pt x="182" y="758"/>
                  </a:lnTo>
                  <a:lnTo>
                    <a:pt x="180" y="759"/>
                  </a:lnTo>
                  <a:lnTo>
                    <a:pt x="178" y="759"/>
                  </a:lnTo>
                  <a:lnTo>
                    <a:pt x="175" y="760"/>
                  </a:lnTo>
                  <a:lnTo>
                    <a:pt x="171" y="758"/>
                  </a:lnTo>
                  <a:lnTo>
                    <a:pt x="174" y="757"/>
                  </a:lnTo>
                  <a:lnTo>
                    <a:pt x="182" y="756"/>
                  </a:lnTo>
                  <a:lnTo>
                    <a:pt x="191" y="751"/>
                  </a:lnTo>
                  <a:lnTo>
                    <a:pt x="189" y="751"/>
                  </a:lnTo>
                  <a:lnTo>
                    <a:pt x="191" y="748"/>
                  </a:lnTo>
                  <a:close/>
                  <a:moveTo>
                    <a:pt x="237" y="727"/>
                  </a:moveTo>
                  <a:lnTo>
                    <a:pt x="240" y="728"/>
                  </a:lnTo>
                  <a:lnTo>
                    <a:pt x="239" y="731"/>
                  </a:lnTo>
                  <a:lnTo>
                    <a:pt x="237" y="727"/>
                  </a:lnTo>
                  <a:close/>
                  <a:moveTo>
                    <a:pt x="289" y="671"/>
                  </a:moveTo>
                  <a:lnTo>
                    <a:pt x="293" y="673"/>
                  </a:lnTo>
                  <a:lnTo>
                    <a:pt x="294" y="675"/>
                  </a:lnTo>
                  <a:lnTo>
                    <a:pt x="295" y="678"/>
                  </a:lnTo>
                  <a:lnTo>
                    <a:pt x="301" y="679"/>
                  </a:lnTo>
                  <a:lnTo>
                    <a:pt x="301" y="682"/>
                  </a:lnTo>
                  <a:lnTo>
                    <a:pt x="301" y="686"/>
                  </a:lnTo>
                  <a:lnTo>
                    <a:pt x="297" y="684"/>
                  </a:lnTo>
                  <a:lnTo>
                    <a:pt x="294" y="682"/>
                  </a:lnTo>
                  <a:lnTo>
                    <a:pt x="291" y="683"/>
                  </a:lnTo>
                  <a:lnTo>
                    <a:pt x="289" y="678"/>
                  </a:lnTo>
                  <a:lnTo>
                    <a:pt x="293" y="677"/>
                  </a:lnTo>
                  <a:lnTo>
                    <a:pt x="287" y="675"/>
                  </a:lnTo>
                  <a:lnTo>
                    <a:pt x="285" y="671"/>
                  </a:lnTo>
                  <a:lnTo>
                    <a:pt x="289" y="671"/>
                  </a:lnTo>
                  <a:close/>
                  <a:moveTo>
                    <a:pt x="298" y="671"/>
                  </a:moveTo>
                  <a:lnTo>
                    <a:pt x="300" y="672"/>
                  </a:lnTo>
                  <a:lnTo>
                    <a:pt x="301" y="674"/>
                  </a:lnTo>
                  <a:lnTo>
                    <a:pt x="303" y="677"/>
                  </a:lnTo>
                  <a:lnTo>
                    <a:pt x="299" y="678"/>
                  </a:lnTo>
                  <a:lnTo>
                    <a:pt x="298" y="674"/>
                  </a:lnTo>
                  <a:lnTo>
                    <a:pt x="298" y="671"/>
                  </a:lnTo>
                  <a:close/>
                  <a:moveTo>
                    <a:pt x="296" y="666"/>
                  </a:moveTo>
                  <a:lnTo>
                    <a:pt x="298" y="669"/>
                  </a:lnTo>
                  <a:lnTo>
                    <a:pt x="297" y="672"/>
                  </a:lnTo>
                  <a:lnTo>
                    <a:pt x="294" y="671"/>
                  </a:lnTo>
                  <a:lnTo>
                    <a:pt x="291" y="671"/>
                  </a:lnTo>
                  <a:lnTo>
                    <a:pt x="291" y="668"/>
                  </a:lnTo>
                  <a:lnTo>
                    <a:pt x="296" y="666"/>
                  </a:lnTo>
                  <a:close/>
                  <a:moveTo>
                    <a:pt x="287" y="641"/>
                  </a:moveTo>
                  <a:lnTo>
                    <a:pt x="290" y="643"/>
                  </a:lnTo>
                  <a:lnTo>
                    <a:pt x="291" y="645"/>
                  </a:lnTo>
                  <a:lnTo>
                    <a:pt x="294" y="646"/>
                  </a:lnTo>
                  <a:lnTo>
                    <a:pt x="292" y="650"/>
                  </a:lnTo>
                  <a:lnTo>
                    <a:pt x="289" y="652"/>
                  </a:lnTo>
                  <a:lnTo>
                    <a:pt x="287" y="649"/>
                  </a:lnTo>
                  <a:lnTo>
                    <a:pt x="284" y="646"/>
                  </a:lnTo>
                  <a:lnTo>
                    <a:pt x="281" y="649"/>
                  </a:lnTo>
                  <a:lnTo>
                    <a:pt x="279" y="651"/>
                  </a:lnTo>
                  <a:lnTo>
                    <a:pt x="287" y="641"/>
                  </a:lnTo>
                  <a:close/>
                  <a:moveTo>
                    <a:pt x="287" y="638"/>
                  </a:moveTo>
                  <a:lnTo>
                    <a:pt x="282" y="644"/>
                  </a:lnTo>
                  <a:lnTo>
                    <a:pt x="279" y="645"/>
                  </a:lnTo>
                  <a:lnTo>
                    <a:pt x="277" y="649"/>
                  </a:lnTo>
                  <a:lnTo>
                    <a:pt x="276" y="650"/>
                  </a:lnTo>
                  <a:lnTo>
                    <a:pt x="273" y="651"/>
                  </a:lnTo>
                  <a:lnTo>
                    <a:pt x="273" y="648"/>
                  </a:lnTo>
                  <a:lnTo>
                    <a:pt x="274" y="644"/>
                  </a:lnTo>
                  <a:lnTo>
                    <a:pt x="277" y="644"/>
                  </a:lnTo>
                  <a:lnTo>
                    <a:pt x="280" y="642"/>
                  </a:lnTo>
                  <a:lnTo>
                    <a:pt x="284" y="639"/>
                  </a:lnTo>
                  <a:lnTo>
                    <a:pt x="287" y="638"/>
                  </a:lnTo>
                  <a:close/>
                  <a:moveTo>
                    <a:pt x="309" y="625"/>
                  </a:moveTo>
                  <a:lnTo>
                    <a:pt x="312" y="625"/>
                  </a:lnTo>
                  <a:lnTo>
                    <a:pt x="313" y="626"/>
                  </a:lnTo>
                  <a:lnTo>
                    <a:pt x="311" y="629"/>
                  </a:lnTo>
                  <a:lnTo>
                    <a:pt x="309" y="632"/>
                  </a:lnTo>
                  <a:lnTo>
                    <a:pt x="305" y="632"/>
                  </a:lnTo>
                  <a:lnTo>
                    <a:pt x="304" y="628"/>
                  </a:lnTo>
                  <a:lnTo>
                    <a:pt x="306" y="626"/>
                  </a:lnTo>
                  <a:lnTo>
                    <a:pt x="309" y="625"/>
                  </a:lnTo>
                  <a:close/>
                  <a:moveTo>
                    <a:pt x="331" y="617"/>
                  </a:moveTo>
                  <a:lnTo>
                    <a:pt x="332" y="619"/>
                  </a:lnTo>
                  <a:lnTo>
                    <a:pt x="333" y="622"/>
                  </a:lnTo>
                  <a:lnTo>
                    <a:pt x="333" y="625"/>
                  </a:lnTo>
                  <a:lnTo>
                    <a:pt x="335" y="625"/>
                  </a:lnTo>
                  <a:lnTo>
                    <a:pt x="334" y="628"/>
                  </a:lnTo>
                  <a:lnTo>
                    <a:pt x="329" y="630"/>
                  </a:lnTo>
                  <a:lnTo>
                    <a:pt x="327" y="630"/>
                  </a:lnTo>
                  <a:lnTo>
                    <a:pt x="323" y="629"/>
                  </a:lnTo>
                  <a:lnTo>
                    <a:pt x="325" y="625"/>
                  </a:lnTo>
                  <a:lnTo>
                    <a:pt x="327" y="621"/>
                  </a:lnTo>
                  <a:lnTo>
                    <a:pt x="327" y="618"/>
                  </a:lnTo>
                  <a:lnTo>
                    <a:pt x="331" y="617"/>
                  </a:lnTo>
                  <a:close/>
                  <a:moveTo>
                    <a:pt x="332" y="583"/>
                  </a:moveTo>
                  <a:lnTo>
                    <a:pt x="334" y="587"/>
                  </a:lnTo>
                  <a:lnTo>
                    <a:pt x="337" y="588"/>
                  </a:lnTo>
                  <a:lnTo>
                    <a:pt x="337" y="589"/>
                  </a:lnTo>
                  <a:lnTo>
                    <a:pt x="339" y="592"/>
                  </a:lnTo>
                  <a:lnTo>
                    <a:pt x="339" y="595"/>
                  </a:lnTo>
                  <a:lnTo>
                    <a:pt x="341" y="598"/>
                  </a:lnTo>
                  <a:lnTo>
                    <a:pt x="340" y="601"/>
                  </a:lnTo>
                  <a:lnTo>
                    <a:pt x="336" y="605"/>
                  </a:lnTo>
                  <a:lnTo>
                    <a:pt x="332" y="606"/>
                  </a:lnTo>
                  <a:lnTo>
                    <a:pt x="332" y="609"/>
                  </a:lnTo>
                  <a:lnTo>
                    <a:pt x="330" y="612"/>
                  </a:lnTo>
                  <a:lnTo>
                    <a:pt x="326" y="616"/>
                  </a:lnTo>
                  <a:lnTo>
                    <a:pt x="326" y="612"/>
                  </a:lnTo>
                  <a:lnTo>
                    <a:pt x="327" y="608"/>
                  </a:lnTo>
                  <a:lnTo>
                    <a:pt x="327" y="604"/>
                  </a:lnTo>
                  <a:lnTo>
                    <a:pt x="330" y="601"/>
                  </a:lnTo>
                  <a:lnTo>
                    <a:pt x="330" y="597"/>
                  </a:lnTo>
                  <a:lnTo>
                    <a:pt x="333" y="594"/>
                  </a:lnTo>
                  <a:lnTo>
                    <a:pt x="335" y="593"/>
                  </a:lnTo>
                  <a:lnTo>
                    <a:pt x="332" y="592"/>
                  </a:lnTo>
                  <a:lnTo>
                    <a:pt x="330" y="592"/>
                  </a:lnTo>
                  <a:lnTo>
                    <a:pt x="331" y="589"/>
                  </a:lnTo>
                  <a:lnTo>
                    <a:pt x="331" y="586"/>
                  </a:lnTo>
                  <a:lnTo>
                    <a:pt x="332" y="583"/>
                  </a:lnTo>
                  <a:close/>
                  <a:moveTo>
                    <a:pt x="316" y="570"/>
                  </a:moveTo>
                  <a:lnTo>
                    <a:pt x="320" y="571"/>
                  </a:lnTo>
                  <a:lnTo>
                    <a:pt x="321" y="571"/>
                  </a:lnTo>
                  <a:lnTo>
                    <a:pt x="321" y="573"/>
                  </a:lnTo>
                  <a:lnTo>
                    <a:pt x="321" y="576"/>
                  </a:lnTo>
                  <a:lnTo>
                    <a:pt x="319" y="581"/>
                  </a:lnTo>
                  <a:lnTo>
                    <a:pt x="315" y="581"/>
                  </a:lnTo>
                  <a:lnTo>
                    <a:pt x="312" y="580"/>
                  </a:lnTo>
                  <a:lnTo>
                    <a:pt x="312" y="577"/>
                  </a:lnTo>
                  <a:lnTo>
                    <a:pt x="313" y="572"/>
                  </a:lnTo>
                  <a:lnTo>
                    <a:pt x="316" y="570"/>
                  </a:lnTo>
                  <a:close/>
                  <a:moveTo>
                    <a:pt x="353" y="540"/>
                  </a:moveTo>
                  <a:lnTo>
                    <a:pt x="353" y="542"/>
                  </a:lnTo>
                  <a:lnTo>
                    <a:pt x="348" y="545"/>
                  </a:lnTo>
                  <a:lnTo>
                    <a:pt x="346" y="547"/>
                  </a:lnTo>
                  <a:lnTo>
                    <a:pt x="340" y="554"/>
                  </a:lnTo>
                  <a:lnTo>
                    <a:pt x="337" y="555"/>
                  </a:lnTo>
                  <a:lnTo>
                    <a:pt x="335" y="553"/>
                  </a:lnTo>
                  <a:lnTo>
                    <a:pt x="337" y="549"/>
                  </a:lnTo>
                  <a:lnTo>
                    <a:pt x="338" y="545"/>
                  </a:lnTo>
                  <a:lnTo>
                    <a:pt x="343" y="541"/>
                  </a:lnTo>
                  <a:lnTo>
                    <a:pt x="344" y="544"/>
                  </a:lnTo>
                  <a:lnTo>
                    <a:pt x="347" y="543"/>
                  </a:lnTo>
                  <a:lnTo>
                    <a:pt x="351" y="540"/>
                  </a:lnTo>
                  <a:lnTo>
                    <a:pt x="353" y="540"/>
                  </a:lnTo>
                  <a:close/>
                  <a:moveTo>
                    <a:pt x="341" y="522"/>
                  </a:moveTo>
                  <a:lnTo>
                    <a:pt x="343" y="525"/>
                  </a:lnTo>
                  <a:lnTo>
                    <a:pt x="343" y="526"/>
                  </a:lnTo>
                  <a:lnTo>
                    <a:pt x="342" y="529"/>
                  </a:lnTo>
                  <a:lnTo>
                    <a:pt x="345" y="534"/>
                  </a:lnTo>
                  <a:lnTo>
                    <a:pt x="341" y="537"/>
                  </a:lnTo>
                  <a:lnTo>
                    <a:pt x="332" y="542"/>
                  </a:lnTo>
                  <a:lnTo>
                    <a:pt x="333" y="539"/>
                  </a:lnTo>
                  <a:lnTo>
                    <a:pt x="336" y="535"/>
                  </a:lnTo>
                  <a:lnTo>
                    <a:pt x="334" y="536"/>
                  </a:lnTo>
                  <a:lnTo>
                    <a:pt x="335" y="533"/>
                  </a:lnTo>
                  <a:lnTo>
                    <a:pt x="340" y="530"/>
                  </a:lnTo>
                  <a:lnTo>
                    <a:pt x="339" y="527"/>
                  </a:lnTo>
                  <a:lnTo>
                    <a:pt x="341" y="522"/>
                  </a:lnTo>
                  <a:close/>
                  <a:moveTo>
                    <a:pt x="350" y="514"/>
                  </a:moveTo>
                  <a:lnTo>
                    <a:pt x="352" y="515"/>
                  </a:lnTo>
                  <a:lnTo>
                    <a:pt x="353" y="519"/>
                  </a:lnTo>
                  <a:lnTo>
                    <a:pt x="352" y="521"/>
                  </a:lnTo>
                  <a:lnTo>
                    <a:pt x="348" y="522"/>
                  </a:lnTo>
                  <a:lnTo>
                    <a:pt x="348" y="517"/>
                  </a:lnTo>
                  <a:lnTo>
                    <a:pt x="350" y="514"/>
                  </a:lnTo>
                  <a:close/>
                  <a:moveTo>
                    <a:pt x="352" y="499"/>
                  </a:moveTo>
                  <a:lnTo>
                    <a:pt x="355" y="499"/>
                  </a:lnTo>
                  <a:lnTo>
                    <a:pt x="355" y="501"/>
                  </a:lnTo>
                  <a:lnTo>
                    <a:pt x="354" y="505"/>
                  </a:lnTo>
                  <a:lnTo>
                    <a:pt x="351" y="507"/>
                  </a:lnTo>
                  <a:lnTo>
                    <a:pt x="351" y="505"/>
                  </a:lnTo>
                  <a:lnTo>
                    <a:pt x="350" y="501"/>
                  </a:lnTo>
                  <a:lnTo>
                    <a:pt x="352" y="499"/>
                  </a:lnTo>
                  <a:close/>
                  <a:moveTo>
                    <a:pt x="398" y="432"/>
                  </a:moveTo>
                  <a:lnTo>
                    <a:pt x="399" y="436"/>
                  </a:lnTo>
                  <a:lnTo>
                    <a:pt x="398" y="439"/>
                  </a:lnTo>
                  <a:lnTo>
                    <a:pt x="399" y="443"/>
                  </a:lnTo>
                  <a:lnTo>
                    <a:pt x="399" y="446"/>
                  </a:lnTo>
                  <a:lnTo>
                    <a:pt x="395" y="441"/>
                  </a:lnTo>
                  <a:lnTo>
                    <a:pt x="391" y="440"/>
                  </a:lnTo>
                  <a:lnTo>
                    <a:pt x="393" y="434"/>
                  </a:lnTo>
                  <a:lnTo>
                    <a:pt x="396" y="436"/>
                  </a:lnTo>
                  <a:lnTo>
                    <a:pt x="398" y="432"/>
                  </a:lnTo>
                  <a:close/>
                  <a:moveTo>
                    <a:pt x="402" y="406"/>
                  </a:moveTo>
                  <a:lnTo>
                    <a:pt x="403" y="407"/>
                  </a:lnTo>
                  <a:lnTo>
                    <a:pt x="402" y="410"/>
                  </a:lnTo>
                  <a:lnTo>
                    <a:pt x="399" y="411"/>
                  </a:lnTo>
                  <a:lnTo>
                    <a:pt x="399" y="409"/>
                  </a:lnTo>
                  <a:lnTo>
                    <a:pt x="402" y="406"/>
                  </a:lnTo>
                  <a:close/>
                  <a:moveTo>
                    <a:pt x="424" y="352"/>
                  </a:moveTo>
                  <a:lnTo>
                    <a:pt x="424" y="354"/>
                  </a:lnTo>
                  <a:lnTo>
                    <a:pt x="426" y="356"/>
                  </a:lnTo>
                  <a:lnTo>
                    <a:pt x="430" y="357"/>
                  </a:lnTo>
                  <a:lnTo>
                    <a:pt x="430" y="359"/>
                  </a:lnTo>
                  <a:lnTo>
                    <a:pt x="427" y="360"/>
                  </a:lnTo>
                  <a:lnTo>
                    <a:pt x="422" y="360"/>
                  </a:lnTo>
                  <a:lnTo>
                    <a:pt x="420" y="357"/>
                  </a:lnTo>
                  <a:lnTo>
                    <a:pt x="423" y="354"/>
                  </a:lnTo>
                  <a:lnTo>
                    <a:pt x="424" y="352"/>
                  </a:lnTo>
                  <a:close/>
                  <a:moveTo>
                    <a:pt x="428" y="349"/>
                  </a:moveTo>
                  <a:lnTo>
                    <a:pt x="431" y="354"/>
                  </a:lnTo>
                  <a:lnTo>
                    <a:pt x="430" y="354"/>
                  </a:lnTo>
                  <a:lnTo>
                    <a:pt x="427" y="355"/>
                  </a:lnTo>
                  <a:lnTo>
                    <a:pt x="426" y="352"/>
                  </a:lnTo>
                  <a:lnTo>
                    <a:pt x="428" y="349"/>
                  </a:lnTo>
                  <a:close/>
                  <a:moveTo>
                    <a:pt x="351" y="347"/>
                  </a:moveTo>
                  <a:lnTo>
                    <a:pt x="355" y="348"/>
                  </a:lnTo>
                  <a:lnTo>
                    <a:pt x="353" y="351"/>
                  </a:lnTo>
                  <a:lnTo>
                    <a:pt x="353" y="351"/>
                  </a:lnTo>
                  <a:lnTo>
                    <a:pt x="354" y="351"/>
                  </a:lnTo>
                  <a:lnTo>
                    <a:pt x="354" y="356"/>
                  </a:lnTo>
                  <a:lnTo>
                    <a:pt x="354" y="359"/>
                  </a:lnTo>
                  <a:lnTo>
                    <a:pt x="352" y="362"/>
                  </a:lnTo>
                  <a:lnTo>
                    <a:pt x="350" y="359"/>
                  </a:lnTo>
                  <a:lnTo>
                    <a:pt x="349" y="362"/>
                  </a:lnTo>
                  <a:lnTo>
                    <a:pt x="351" y="366"/>
                  </a:lnTo>
                  <a:lnTo>
                    <a:pt x="350" y="368"/>
                  </a:lnTo>
                  <a:lnTo>
                    <a:pt x="347" y="370"/>
                  </a:lnTo>
                  <a:lnTo>
                    <a:pt x="346" y="372"/>
                  </a:lnTo>
                  <a:lnTo>
                    <a:pt x="343" y="375"/>
                  </a:lnTo>
                  <a:lnTo>
                    <a:pt x="344" y="371"/>
                  </a:lnTo>
                  <a:lnTo>
                    <a:pt x="345" y="368"/>
                  </a:lnTo>
                  <a:lnTo>
                    <a:pt x="346" y="364"/>
                  </a:lnTo>
                  <a:lnTo>
                    <a:pt x="346" y="361"/>
                  </a:lnTo>
                  <a:lnTo>
                    <a:pt x="349" y="353"/>
                  </a:lnTo>
                  <a:lnTo>
                    <a:pt x="351" y="350"/>
                  </a:lnTo>
                  <a:lnTo>
                    <a:pt x="351" y="347"/>
                  </a:lnTo>
                  <a:close/>
                  <a:moveTo>
                    <a:pt x="450" y="347"/>
                  </a:moveTo>
                  <a:lnTo>
                    <a:pt x="452" y="348"/>
                  </a:lnTo>
                  <a:lnTo>
                    <a:pt x="451" y="351"/>
                  </a:lnTo>
                  <a:lnTo>
                    <a:pt x="448" y="351"/>
                  </a:lnTo>
                  <a:lnTo>
                    <a:pt x="446" y="349"/>
                  </a:lnTo>
                  <a:lnTo>
                    <a:pt x="442" y="352"/>
                  </a:lnTo>
                  <a:lnTo>
                    <a:pt x="439" y="352"/>
                  </a:lnTo>
                  <a:lnTo>
                    <a:pt x="439" y="349"/>
                  </a:lnTo>
                  <a:lnTo>
                    <a:pt x="450" y="347"/>
                  </a:lnTo>
                  <a:close/>
                  <a:moveTo>
                    <a:pt x="361" y="342"/>
                  </a:moveTo>
                  <a:lnTo>
                    <a:pt x="363" y="342"/>
                  </a:lnTo>
                  <a:lnTo>
                    <a:pt x="364" y="348"/>
                  </a:lnTo>
                  <a:lnTo>
                    <a:pt x="363" y="350"/>
                  </a:lnTo>
                  <a:lnTo>
                    <a:pt x="363" y="354"/>
                  </a:lnTo>
                  <a:lnTo>
                    <a:pt x="359" y="356"/>
                  </a:lnTo>
                  <a:lnTo>
                    <a:pt x="357" y="353"/>
                  </a:lnTo>
                  <a:lnTo>
                    <a:pt x="358" y="347"/>
                  </a:lnTo>
                  <a:lnTo>
                    <a:pt x="360" y="350"/>
                  </a:lnTo>
                  <a:lnTo>
                    <a:pt x="360" y="346"/>
                  </a:lnTo>
                  <a:lnTo>
                    <a:pt x="359" y="344"/>
                  </a:lnTo>
                  <a:lnTo>
                    <a:pt x="361" y="342"/>
                  </a:lnTo>
                  <a:close/>
                  <a:moveTo>
                    <a:pt x="371" y="329"/>
                  </a:moveTo>
                  <a:lnTo>
                    <a:pt x="373" y="331"/>
                  </a:lnTo>
                  <a:lnTo>
                    <a:pt x="375" y="330"/>
                  </a:lnTo>
                  <a:lnTo>
                    <a:pt x="379" y="331"/>
                  </a:lnTo>
                  <a:lnTo>
                    <a:pt x="382" y="333"/>
                  </a:lnTo>
                  <a:lnTo>
                    <a:pt x="384" y="332"/>
                  </a:lnTo>
                  <a:lnTo>
                    <a:pt x="388" y="333"/>
                  </a:lnTo>
                  <a:lnTo>
                    <a:pt x="386" y="336"/>
                  </a:lnTo>
                  <a:lnTo>
                    <a:pt x="382" y="338"/>
                  </a:lnTo>
                  <a:lnTo>
                    <a:pt x="379" y="339"/>
                  </a:lnTo>
                  <a:lnTo>
                    <a:pt x="376" y="340"/>
                  </a:lnTo>
                  <a:lnTo>
                    <a:pt x="378" y="345"/>
                  </a:lnTo>
                  <a:lnTo>
                    <a:pt x="376" y="346"/>
                  </a:lnTo>
                  <a:lnTo>
                    <a:pt x="374" y="347"/>
                  </a:lnTo>
                  <a:lnTo>
                    <a:pt x="371" y="347"/>
                  </a:lnTo>
                  <a:lnTo>
                    <a:pt x="370" y="344"/>
                  </a:lnTo>
                  <a:lnTo>
                    <a:pt x="368" y="347"/>
                  </a:lnTo>
                  <a:lnTo>
                    <a:pt x="368" y="350"/>
                  </a:lnTo>
                  <a:lnTo>
                    <a:pt x="365" y="349"/>
                  </a:lnTo>
                  <a:lnTo>
                    <a:pt x="366" y="346"/>
                  </a:lnTo>
                  <a:lnTo>
                    <a:pt x="369" y="341"/>
                  </a:lnTo>
                  <a:lnTo>
                    <a:pt x="367" y="343"/>
                  </a:lnTo>
                  <a:lnTo>
                    <a:pt x="366" y="340"/>
                  </a:lnTo>
                  <a:lnTo>
                    <a:pt x="367" y="337"/>
                  </a:lnTo>
                  <a:lnTo>
                    <a:pt x="371" y="336"/>
                  </a:lnTo>
                  <a:lnTo>
                    <a:pt x="366" y="334"/>
                  </a:lnTo>
                  <a:lnTo>
                    <a:pt x="371" y="329"/>
                  </a:lnTo>
                  <a:close/>
                  <a:moveTo>
                    <a:pt x="423" y="310"/>
                  </a:moveTo>
                  <a:lnTo>
                    <a:pt x="423" y="312"/>
                  </a:lnTo>
                  <a:lnTo>
                    <a:pt x="419" y="319"/>
                  </a:lnTo>
                  <a:lnTo>
                    <a:pt x="416" y="320"/>
                  </a:lnTo>
                  <a:lnTo>
                    <a:pt x="410" y="329"/>
                  </a:lnTo>
                  <a:lnTo>
                    <a:pt x="409" y="326"/>
                  </a:lnTo>
                  <a:lnTo>
                    <a:pt x="409" y="322"/>
                  </a:lnTo>
                  <a:lnTo>
                    <a:pt x="408" y="325"/>
                  </a:lnTo>
                  <a:lnTo>
                    <a:pt x="407" y="328"/>
                  </a:lnTo>
                  <a:lnTo>
                    <a:pt x="407" y="331"/>
                  </a:lnTo>
                  <a:lnTo>
                    <a:pt x="404" y="333"/>
                  </a:lnTo>
                  <a:lnTo>
                    <a:pt x="399" y="336"/>
                  </a:lnTo>
                  <a:lnTo>
                    <a:pt x="396" y="337"/>
                  </a:lnTo>
                  <a:lnTo>
                    <a:pt x="392" y="340"/>
                  </a:lnTo>
                  <a:lnTo>
                    <a:pt x="392" y="337"/>
                  </a:lnTo>
                  <a:lnTo>
                    <a:pt x="392" y="334"/>
                  </a:lnTo>
                  <a:lnTo>
                    <a:pt x="395" y="333"/>
                  </a:lnTo>
                  <a:lnTo>
                    <a:pt x="393" y="331"/>
                  </a:lnTo>
                  <a:lnTo>
                    <a:pt x="395" y="330"/>
                  </a:lnTo>
                  <a:lnTo>
                    <a:pt x="394" y="327"/>
                  </a:lnTo>
                  <a:lnTo>
                    <a:pt x="395" y="324"/>
                  </a:lnTo>
                  <a:lnTo>
                    <a:pt x="398" y="327"/>
                  </a:lnTo>
                  <a:lnTo>
                    <a:pt x="400" y="326"/>
                  </a:lnTo>
                  <a:lnTo>
                    <a:pt x="400" y="322"/>
                  </a:lnTo>
                  <a:lnTo>
                    <a:pt x="397" y="320"/>
                  </a:lnTo>
                  <a:lnTo>
                    <a:pt x="400" y="318"/>
                  </a:lnTo>
                  <a:lnTo>
                    <a:pt x="403" y="320"/>
                  </a:lnTo>
                  <a:lnTo>
                    <a:pt x="402" y="316"/>
                  </a:lnTo>
                  <a:lnTo>
                    <a:pt x="405" y="314"/>
                  </a:lnTo>
                  <a:lnTo>
                    <a:pt x="407" y="317"/>
                  </a:lnTo>
                  <a:lnTo>
                    <a:pt x="408" y="314"/>
                  </a:lnTo>
                  <a:lnTo>
                    <a:pt x="411" y="314"/>
                  </a:lnTo>
                  <a:lnTo>
                    <a:pt x="412" y="317"/>
                  </a:lnTo>
                  <a:lnTo>
                    <a:pt x="409" y="320"/>
                  </a:lnTo>
                  <a:lnTo>
                    <a:pt x="412" y="319"/>
                  </a:lnTo>
                  <a:lnTo>
                    <a:pt x="413" y="314"/>
                  </a:lnTo>
                  <a:lnTo>
                    <a:pt x="418" y="313"/>
                  </a:lnTo>
                  <a:lnTo>
                    <a:pt x="421" y="311"/>
                  </a:lnTo>
                  <a:lnTo>
                    <a:pt x="423" y="310"/>
                  </a:lnTo>
                  <a:close/>
                  <a:moveTo>
                    <a:pt x="462" y="299"/>
                  </a:moveTo>
                  <a:lnTo>
                    <a:pt x="466" y="302"/>
                  </a:lnTo>
                  <a:lnTo>
                    <a:pt x="466" y="307"/>
                  </a:lnTo>
                  <a:lnTo>
                    <a:pt x="466" y="309"/>
                  </a:lnTo>
                  <a:lnTo>
                    <a:pt x="460" y="311"/>
                  </a:lnTo>
                  <a:lnTo>
                    <a:pt x="457" y="314"/>
                  </a:lnTo>
                  <a:lnTo>
                    <a:pt x="457" y="310"/>
                  </a:lnTo>
                  <a:lnTo>
                    <a:pt x="456" y="306"/>
                  </a:lnTo>
                  <a:lnTo>
                    <a:pt x="457" y="303"/>
                  </a:lnTo>
                  <a:lnTo>
                    <a:pt x="458" y="300"/>
                  </a:lnTo>
                  <a:lnTo>
                    <a:pt x="462" y="299"/>
                  </a:lnTo>
                  <a:close/>
                  <a:moveTo>
                    <a:pt x="482" y="268"/>
                  </a:moveTo>
                  <a:lnTo>
                    <a:pt x="484" y="271"/>
                  </a:lnTo>
                  <a:lnTo>
                    <a:pt x="487" y="274"/>
                  </a:lnTo>
                  <a:lnTo>
                    <a:pt x="487" y="276"/>
                  </a:lnTo>
                  <a:lnTo>
                    <a:pt x="478" y="280"/>
                  </a:lnTo>
                  <a:lnTo>
                    <a:pt x="478" y="277"/>
                  </a:lnTo>
                  <a:lnTo>
                    <a:pt x="479" y="274"/>
                  </a:lnTo>
                  <a:lnTo>
                    <a:pt x="482" y="268"/>
                  </a:lnTo>
                  <a:close/>
                  <a:moveTo>
                    <a:pt x="412" y="267"/>
                  </a:moveTo>
                  <a:lnTo>
                    <a:pt x="413" y="272"/>
                  </a:lnTo>
                  <a:lnTo>
                    <a:pt x="411" y="272"/>
                  </a:lnTo>
                  <a:lnTo>
                    <a:pt x="409" y="268"/>
                  </a:lnTo>
                  <a:lnTo>
                    <a:pt x="412" y="267"/>
                  </a:lnTo>
                  <a:close/>
                  <a:moveTo>
                    <a:pt x="492" y="261"/>
                  </a:moveTo>
                  <a:lnTo>
                    <a:pt x="495" y="263"/>
                  </a:lnTo>
                  <a:lnTo>
                    <a:pt x="494" y="268"/>
                  </a:lnTo>
                  <a:lnTo>
                    <a:pt x="493" y="271"/>
                  </a:lnTo>
                  <a:lnTo>
                    <a:pt x="490" y="272"/>
                  </a:lnTo>
                  <a:lnTo>
                    <a:pt x="488" y="268"/>
                  </a:lnTo>
                  <a:lnTo>
                    <a:pt x="486" y="264"/>
                  </a:lnTo>
                  <a:lnTo>
                    <a:pt x="485" y="261"/>
                  </a:lnTo>
                  <a:lnTo>
                    <a:pt x="488" y="264"/>
                  </a:lnTo>
                  <a:lnTo>
                    <a:pt x="490" y="266"/>
                  </a:lnTo>
                  <a:lnTo>
                    <a:pt x="492" y="266"/>
                  </a:lnTo>
                  <a:lnTo>
                    <a:pt x="489" y="264"/>
                  </a:lnTo>
                  <a:lnTo>
                    <a:pt x="489" y="262"/>
                  </a:lnTo>
                  <a:lnTo>
                    <a:pt x="492" y="261"/>
                  </a:lnTo>
                  <a:close/>
                  <a:moveTo>
                    <a:pt x="442" y="261"/>
                  </a:moveTo>
                  <a:lnTo>
                    <a:pt x="444" y="261"/>
                  </a:lnTo>
                  <a:lnTo>
                    <a:pt x="444" y="265"/>
                  </a:lnTo>
                  <a:lnTo>
                    <a:pt x="445" y="268"/>
                  </a:lnTo>
                  <a:lnTo>
                    <a:pt x="444" y="274"/>
                  </a:lnTo>
                  <a:lnTo>
                    <a:pt x="444" y="278"/>
                  </a:lnTo>
                  <a:lnTo>
                    <a:pt x="443" y="280"/>
                  </a:lnTo>
                  <a:lnTo>
                    <a:pt x="445" y="279"/>
                  </a:lnTo>
                  <a:lnTo>
                    <a:pt x="446" y="277"/>
                  </a:lnTo>
                  <a:lnTo>
                    <a:pt x="448" y="281"/>
                  </a:lnTo>
                  <a:lnTo>
                    <a:pt x="448" y="284"/>
                  </a:lnTo>
                  <a:lnTo>
                    <a:pt x="446" y="287"/>
                  </a:lnTo>
                  <a:lnTo>
                    <a:pt x="445" y="289"/>
                  </a:lnTo>
                  <a:lnTo>
                    <a:pt x="443" y="291"/>
                  </a:lnTo>
                  <a:lnTo>
                    <a:pt x="442" y="294"/>
                  </a:lnTo>
                  <a:lnTo>
                    <a:pt x="443" y="298"/>
                  </a:lnTo>
                  <a:lnTo>
                    <a:pt x="442" y="301"/>
                  </a:lnTo>
                  <a:lnTo>
                    <a:pt x="444" y="296"/>
                  </a:lnTo>
                  <a:lnTo>
                    <a:pt x="444" y="292"/>
                  </a:lnTo>
                  <a:lnTo>
                    <a:pt x="447" y="289"/>
                  </a:lnTo>
                  <a:lnTo>
                    <a:pt x="450" y="287"/>
                  </a:lnTo>
                  <a:lnTo>
                    <a:pt x="451" y="290"/>
                  </a:lnTo>
                  <a:lnTo>
                    <a:pt x="452" y="287"/>
                  </a:lnTo>
                  <a:lnTo>
                    <a:pt x="450" y="284"/>
                  </a:lnTo>
                  <a:lnTo>
                    <a:pt x="451" y="281"/>
                  </a:lnTo>
                  <a:lnTo>
                    <a:pt x="456" y="281"/>
                  </a:lnTo>
                  <a:lnTo>
                    <a:pt x="455" y="278"/>
                  </a:lnTo>
                  <a:lnTo>
                    <a:pt x="451" y="274"/>
                  </a:lnTo>
                  <a:lnTo>
                    <a:pt x="454" y="270"/>
                  </a:lnTo>
                  <a:lnTo>
                    <a:pt x="456" y="271"/>
                  </a:lnTo>
                  <a:lnTo>
                    <a:pt x="456" y="267"/>
                  </a:lnTo>
                  <a:lnTo>
                    <a:pt x="458" y="268"/>
                  </a:lnTo>
                  <a:lnTo>
                    <a:pt x="461" y="270"/>
                  </a:lnTo>
                  <a:lnTo>
                    <a:pt x="464" y="273"/>
                  </a:lnTo>
                  <a:lnTo>
                    <a:pt x="467" y="272"/>
                  </a:lnTo>
                  <a:lnTo>
                    <a:pt x="466" y="275"/>
                  </a:lnTo>
                  <a:lnTo>
                    <a:pt x="467" y="278"/>
                  </a:lnTo>
                  <a:lnTo>
                    <a:pt x="468" y="281"/>
                  </a:lnTo>
                  <a:lnTo>
                    <a:pt x="468" y="285"/>
                  </a:lnTo>
                  <a:lnTo>
                    <a:pt x="469" y="289"/>
                  </a:lnTo>
                  <a:lnTo>
                    <a:pt x="468" y="291"/>
                  </a:lnTo>
                  <a:lnTo>
                    <a:pt x="468" y="294"/>
                  </a:lnTo>
                  <a:lnTo>
                    <a:pt x="468" y="297"/>
                  </a:lnTo>
                  <a:lnTo>
                    <a:pt x="466" y="296"/>
                  </a:lnTo>
                  <a:lnTo>
                    <a:pt x="462" y="296"/>
                  </a:lnTo>
                  <a:lnTo>
                    <a:pt x="458" y="298"/>
                  </a:lnTo>
                  <a:lnTo>
                    <a:pt x="456" y="300"/>
                  </a:lnTo>
                  <a:lnTo>
                    <a:pt x="453" y="304"/>
                  </a:lnTo>
                  <a:lnTo>
                    <a:pt x="452" y="309"/>
                  </a:lnTo>
                  <a:lnTo>
                    <a:pt x="451" y="314"/>
                  </a:lnTo>
                  <a:lnTo>
                    <a:pt x="449" y="316"/>
                  </a:lnTo>
                  <a:lnTo>
                    <a:pt x="447" y="313"/>
                  </a:lnTo>
                  <a:lnTo>
                    <a:pt x="447" y="311"/>
                  </a:lnTo>
                  <a:lnTo>
                    <a:pt x="447" y="307"/>
                  </a:lnTo>
                  <a:lnTo>
                    <a:pt x="447" y="304"/>
                  </a:lnTo>
                  <a:lnTo>
                    <a:pt x="447" y="308"/>
                  </a:lnTo>
                  <a:lnTo>
                    <a:pt x="446" y="311"/>
                  </a:lnTo>
                  <a:lnTo>
                    <a:pt x="442" y="315"/>
                  </a:lnTo>
                  <a:lnTo>
                    <a:pt x="442" y="319"/>
                  </a:lnTo>
                  <a:lnTo>
                    <a:pt x="440" y="322"/>
                  </a:lnTo>
                  <a:lnTo>
                    <a:pt x="437" y="320"/>
                  </a:lnTo>
                  <a:lnTo>
                    <a:pt x="431" y="321"/>
                  </a:lnTo>
                  <a:lnTo>
                    <a:pt x="431" y="316"/>
                  </a:lnTo>
                  <a:lnTo>
                    <a:pt x="434" y="314"/>
                  </a:lnTo>
                  <a:lnTo>
                    <a:pt x="437" y="309"/>
                  </a:lnTo>
                  <a:lnTo>
                    <a:pt x="436" y="304"/>
                  </a:lnTo>
                  <a:lnTo>
                    <a:pt x="436" y="308"/>
                  </a:lnTo>
                  <a:lnTo>
                    <a:pt x="432" y="313"/>
                  </a:lnTo>
                  <a:lnTo>
                    <a:pt x="428" y="315"/>
                  </a:lnTo>
                  <a:lnTo>
                    <a:pt x="425" y="318"/>
                  </a:lnTo>
                  <a:lnTo>
                    <a:pt x="426" y="321"/>
                  </a:lnTo>
                  <a:lnTo>
                    <a:pt x="423" y="323"/>
                  </a:lnTo>
                  <a:lnTo>
                    <a:pt x="421" y="327"/>
                  </a:lnTo>
                  <a:lnTo>
                    <a:pt x="419" y="329"/>
                  </a:lnTo>
                  <a:lnTo>
                    <a:pt x="419" y="326"/>
                  </a:lnTo>
                  <a:lnTo>
                    <a:pt x="419" y="324"/>
                  </a:lnTo>
                  <a:lnTo>
                    <a:pt x="421" y="318"/>
                  </a:lnTo>
                  <a:lnTo>
                    <a:pt x="424" y="312"/>
                  </a:lnTo>
                  <a:lnTo>
                    <a:pt x="426" y="310"/>
                  </a:lnTo>
                  <a:lnTo>
                    <a:pt x="429" y="309"/>
                  </a:lnTo>
                  <a:lnTo>
                    <a:pt x="426" y="309"/>
                  </a:lnTo>
                  <a:lnTo>
                    <a:pt x="428" y="307"/>
                  </a:lnTo>
                  <a:lnTo>
                    <a:pt x="423" y="303"/>
                  </a:lnTo>
                  <a:lnTo>
                    <a:pt x="424" y="300"/>
                  </a:lnTo>
                  <a:lnTo>
                    <a:pt x="427" y="300"/>
                  </a:lnTo>
                  <a:lnTo>
                    <a:pt x="430" y="297"/>
                  </a:lnTo>
                  <a:lnTo>
                    <a:pt x="435" y="293"/>
                  </a:lnTo>
                  <a:lnTo>
                    <a:pt x="437" y="294"/>
                  </a:lnTo>
                  <a:lnTo>
                    <a:pt x="433" y="292"/>
                  </a:lnTo>
                  <a:lnTo>
                    <a:pt x="431" y="289"/>
                  </a:lnTo>
                  <a:lnTo>
                    <a:pt x="430" y="286"/>
                  </a:lnTo>
                  <a:lnTo>
                    <a:pt x="434" y="283"/>
                  </a:lnTo>
                  <a:lnTo>
                    <a:pt x="437" y="284"/>
                  </a:lnTo>
                  <a:lnTo>
                    <a:pt x="439" y="285"/>
                  </a:lnTo>
                  <a:lnTo>
                    <a:pt x="437" y="282"/>
                  </a:lnTo>
                  <a:lnTo>
                    <a:pt x="432" y="282"/>
                  </a:lnTo>
                  <a:lnTo>
                    <a:pt x="430" y="278"/>
                  </a:lnTo>
                  <a:lnTo>
                    <a:pt x="433" y="275"/>
                  </a:lnTo>
                  <a:lnTo>
                    <a:pt x="433" y="270"/>
                  </a:lnTo>
                  <a:lnTo>
                    <a:pt x="435" y="269"/>
                  </a:lnTo>
                  <a:lnTo>
                    <a:pt x="434" y="266"/>
                  </a:lnTo>
                  <a:lnTo>
                    <a:pt x="435" y="263"/>
                  </a:lnTo>
                  <a:lnTo>
                    <a:pt x="440" y="262"/>
                  </a:lnTo>
                  <a:lnTo>
                    <a:pt x="442" y="261"/>
                  </a:lnTo>
                  <a:close/>
                  <a:moveTo>
                    <a:pt x="416" y="259"/>
                  </a:moveTo>
                  <a:lnTo>
                    <a:pt x="419" y="261"/>
                  </a:lnTo>
                  <a:lnTo>
                    <a:pt x="420" y="265"/>
                  </a:lnTo>
                  <a:lnTo>
                    <a:pt x="420" y="266"/>
                  </a:lnTo>
                  <a:lnTo>
                    <a:pt x="422" y="267"/>
                  </a:lnTo>
                  <a:lnTo>
                    <a:pt x="424" y="272"/>
                  </a:lnTo>
                  <a:lnTo>
                    <a:pt x="423" y="276"/>
                  </a:lnTo>
                  <a:lnTo>
                    <a:pt x="426" y="272"/>
                  </a:lnTo>
                  <a:lnTo>
                    <a:pt x="427" y="276"/>
                  </a:lnTo>
                  <a:lnTo>
                    <a:pt x="424" y="281"/>
                  </a:lnTo>
                  <a:lnTo>
                    <a:pt x="427" y="282"/>
                  </a:lnTo>
                  <a:lnTo>
                    <a:pt x="429" y="287"/>
                  </a:lnTo>
                  <a:lnTo>
                    <a:pt x="427" y="291"/>
                  </a:lnTo>
                  <a:lnTo>
                    <a:pt x="418" y="298"/>
                  </a:lnTo>
                  <a:lnTo>
                    <a:pt x="412" y="298"/>
                  </a:lnTo>
                  <a:lnTo>
                    <a:pt x="409" y="296"/>
                  </a:lnTo>
                  <a:lnTo>
                    <a:pt x="410" y="293"/>
                  </a:lnTo>
                  <a:lnTo>
                    <a:pt x="414" y="291"/>
                  </a:lnTo>
                  <a:lnTo>
                    <a:pt x="417" y="290"/>
                  </a:lnTo>
                  <a:lnTo>
                    <a:pt x="418" y="288"/>
                  </a:lnTo>
                  <a:lnTo>
                    <a:pt x="420" y="285"/>
                  </a:lnTo>
                  <a:lnTo>
                    <a:pt x="420" y="282"/>
                  </a:lnTo>
                  <a:lnTo>
                    <a:pt x="416" y="281"/>
                  </a:lnTo>
                  <a:lnTo>
                    <a:pt x="416" y="286"/>
                  </a:lnTo>
                  <a:lnTo>
                    <a:pt x="412" y="289"/>
                  </a:lnTo>
                  <a:lnTo>
                    <a:pt x="409" y="290"/>
                  </a:lnTo>
                  <a:lnTo>
                    <a:pt x="409" y="287"/>
                  </a:lnTo>
                  <a:lnTo>
                    <a:pt x="408" y="290"/>
                  </a:lnTo>
                  <a:lnTo>
                    <a:pt x="404" y="288"/>
                  </a:lnTo>
                  <a:lnTo>
                    <a:pt x="404" y="291"/>
                  </a:lnTo>
                  <a:lnTo>
                    <a:pt x="403" y="293"/>
                  </a:lnTo>
                  <a:lnTo>
                    <a:pt x="401" y="295"/>
                  </a:lnTo>
                  <a:lnTo>
                    <a:pt x="397" y="297"/>
                  </a:lnTo>
                  <a:lnTo>
                    <a:pt x="396" y="293"/>
                  </a:lnTo>
                  <a:lnTo>
                    <a:pt x="394" y="289"/>
                  </a:lnTo>
                  <a:lnTo>
                    <a:pt x="397" y="286"/>
                  </a:lnTo>
                  <a:lnTo>
                    <a:pt x="400" y="285"/>
                  </a:lnTo>
                  <a:lnTo>
                    <a:pt x="396" y="284"/>
                  </a:lnTo>
                  <a:lnTo>
                    <a:pt x="397" y="280"/>
                  </a:lnTo>
                  <a:lnTo>
                    <a:pt x="400" y="282"/>
                  </a:lnTo>
                  <a:lnTo>
                    <a:pt x="401" y="285"/>
                  </a:lnTo>
                  <a:lnTo>
                    <a:pt x="401" y="282"/>
                  </a:lnTo>
                  <a:lnTo>
                    <a:pt x="403" y="280"/>
                  </a:lnTo>
                  <a:lnTo>
                    <a:pt x="403" y="276"/>
                  </a:lnTo>
                  <a:lnTo>
                    <a:pt x="404" y="282"/>
                  </a:lnTo>
                  <a:lnTo>
                    <a:pt x="408" y="280"/>
                  </a:lnTo>
                  <a:lnTo>
                    <a:pt x="411" y="280"/>
                  </a:lnTo>
                  <a:lnTo>
                    <a:pt x="411" y="282"/>
                  </a:lnTo>
                  <a:lnTo>
                    <a:pt x="413" y="278"/>
                  </a:lnTo>
                  <a:lnTo>
                    <a:pt x="411" y="274"/>
                  </a:lnTo>
                  <a:lnTo>
                    <a:pt x="414" y="275"/>
                  </a:lnTo>
                  <a:lnTo>
                    <a:pt x="415" y="278"/>
                  </a:lnTo>
                  <a:lnTo>
                    <a:pt x="416" y="273"/>
                  </a:lnTo>
                  <a:lnTo>
                    <a:pt x="419" y="276"/>
                  </a:lnTo>
                  <a:lnTo>
                    <a:pt x="418" y="273"/>
                  </a:lnTo>
                  <a:lnTo>
                    <a:pt x="416" y="268"/>
                  </a:lnTo>
                  <a:lnTo>
                    <a:pt x="414" y="264"/>
                  </a:lnTo>
                  <a:lnTo>
                    <a:pt x="416" y="259"/>
                  </a:lnTo>
                  <a:close/>
                  <a:moveTo>
                    <a:pt x="457" y="257"/>
                  </a:moveTo>
                  <a:lnTo>
                    <a:pt x="461" y="259"/>
                  </a:lnTo>
                  <a:lnTo>
                    <a:pt x="462" y="260"/>
                  </a:lnTo>
                  <a:lnTo>
                    <a:pt x="467" y="259"/>
                  </a:lnTo>
                  <a:lnTo>
                    <a:pt x="468" y="262"/>
                  </a:lnTo>
                  <a:lnTo>
                    <a:pt x="468" y="265"/>
                  </a:lnTo>
                  <a:lnTo>
                    <a:pt x="464" y="266"/>
                  </a:lnTo>
                  <a:lnTo>
                    <a:pt x="461" y="265"/>
                  </a:lnTo>
                  <a:lnTo>
                    <a:pt x="459" y="263"/>
                  </a:lnTo>
                  <a:lnTo>
                    <a:pt x="457" y="257"/>
                  </a:lnTo>
                  <a:close/>
                  <a:moveTo>
                    <a:pt x="498" y="244"/>
                  </a:moveTo>
                  <a:lnTo>
                    <a:pt x="498" y="247"/>
                  </a:lnTo>
                  <a:lnTo>
                    <a:pt x="496" y="250"/>
                  </a:lnTo>
                  <a:lnTo>
                    <a:pt x="495" y="253"/>
                  </a:lnTo>
                  <a:lnTo>
                    <a:pt x="494" y="254"/>
                  </a:lnTo>
                  <a:lnTo>
                    <a:pt x="493" y="254"/>
                  </a:lnTo>
                  <a:lnTo>
                    <a:pt x="492" y="251"/>
                  </a:lnTo>
                  <a:lnTo>
                    <a:pt x="493" y="247"/>
                  </a:lnTo>
                  <a:lnTo>
                    <a:pt x="495" y="245"/>
                  </a:lnTo>
                  <a:lnTo>
                    <a:pt x="498" y="244"/>
                  </a:lnTo>
                  <a:close/>
                  <a:moveTo>
                    <a:pt x="447" y="228"/>
                  </a:moveTo>
                  <a:lnTo>
                    <a:pt x="449" y="234"/>
                  </a:lnTo>
                  <a:lnTo>
                    <a:pt x="448" y="238"/>
                  </a:lnTo>
                  <a:lnTo>
                    <a:pt x="448" y="242"/>
                  </a:lnTo>
                  <a:lnTo>
                    <a:pt x="446" y="245"/>
                  </a:lnTo>
                  <a:lnTo>
                    <a:pt x="445" y="248"/>
                  </a:lnTo>
                  <a:lnTo>
                    <a:pt x="442" y="252"/>
                  </a:lnTo>
                  <a:lnTo>
                    <a:pt x="441" y="255"/>
                  </a:lnTo>
                  <a:lnTo>
                    <a:pt x="440" y="256"/>
                  </a:lnTo>
                  <a:lnTo>
                    <a:pt x="438" y="258"/>
                  </a:lnTo>
                  <a:lnTo>
                    <a:pt x="434" y="260"/>
                  </a:lnTo>
                  <a:lnTo>
                    <a:pt x="431" y="257"/>
                  </a:lnTo>
                  <a:lnTo>
                    <a:pt x="432" y="261"/>
                  </a:lnTo>
                  <a:lnTo>
                    <a:pt x="431" y="267"/>
                  </a:lnTo>
                  <a:lnTo>
                    <a:pt x="430" y="270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28" y="261"/>
                  </a:lnTo>
                  <a:lnTo>
                    <a:pt x="428" y="258"/>
                  </a:lnTo>
                  <a:lnTo>
                    <a:pt x="430" y="254"/>
                  </a:lnTo>
                  <a:lnTo>
                    <a:pt x="431" y="249"/>
                  </a:lnTo>
                  <a:lnTo>
                    <a:pt x="434" y="246"/>
                  </a:lnTo>
                  <a:lnTo>
                    <a:pt x="437" y="245"/>
                  </a:lnTo>
                  <a:lnTo>
                    <a:pt x="439" y="238"/>
                  </a:lnTo>
                  <a:lnTo>
                    <a:pt x="440" y="234"/>
                  </a:lnTo>
                  <a:lnTo>
                    <a:pt x="443" y="231"/>
                  </a:lnTo>
                  <a:lnTo>
                    <a:pt x="447" y="228"/>
                  </a:lnTo>
                  <a:close/>
                  <a:moveTo>
                    <a:pt x="501" y="197"/>
                  </a:moveTo>
                  <a:lnTo>
                    <a:pt x="504" y="202"/>
                  </a:lnTo>
                  <a:lnTo>
                    <a:pt x="503" y="204"/>
                  </a:lnTo>
                  <a:lnTo>
                    <a:pt x="503" y="208"/>
                  </a:lnTo>
                  <a:lnTo>
                    <a:pt x="505" y="204"/>
                  </a:lnTo>
                  <a:lnTo>
                    <a:pt x="510" y="205"/>
                  </a:lnTo>
                  <a:lnTo>
                    <a:pt x="508" y="209"/>
                  </a:lnTo>
                  <a:lnTo>
                    <a:pt x="509" y="212"/>
                  </a:lnTo>
                  <a:lnTo>
                    <a:pt x="510" y="210"/>
                  </a:lnTo>
                  <a:lnTo>
                    <a:pt x="512" y="214"/>
                  </a:lnTo>
                  <a:lnTo>
                    <a:pt x="513" y="217"/>
                  </a:lnTo>
                  <a:lnTo>
                    <a:pt x="510" y="218"/>
                  </a:lnTo>
                  <a:lnTo>
                    <a:pt x="507" y="221"/>
                  </a:lnTo>
                  <a:lnTo>
                    <a:pt x="508" y="224"/>
                  </a:lnTo>
                  <a:lnTo>
                    <a:pt x="509" y="228"/>
                  </a:lnTo>
                  <a:lnTo>
                    <a:pt x="511" y="232"/>
                  </a:lnTo>
                  <a:lnTo>
                    <a:pt x="506" y="235"/>
                  </a:lnTo>
                  <a:lnTo>
                    <a:pt x="502" y="235"/>
                  </a:lnTo>
                  <a:lnTo>
                    <a:pt x="499" y="238"/>
                  </a:lnTo>
                  <a:lnTo>
                    <a:pt x="496" y="238"/>
                  </a:lnTo>
                  <a:lnTo>
                    <a:pt x="496" y="233"/>
                  </a:lnTo>
                  <a:lnTo>
                    <a:pt x="493" y="236"/>
                  </a:lnTo>
                  <a:lnTo>
                    <a:pt x="492" y="239"/>
                  </a:lnTo>
                  <a:lnTo>
                    <a:pt x="487" y="244"/>
                  </a:lnTo>
                  <a:lnTo>
                    <a:pt x="486" y="246"/>
                  </a:lnTo>
                  <a:lnTo>
                    <a:pt x="486" y="249"/>
                  </a:lnTo>
                  <a:lnTo>
                    <a:pt x="485" y="253"/>
                  </a:lnTo>
                  <a:lnTo>
                    <a:pt x="482" y="251"/>
                  </a:lnTo>
                  <a:lnTo>
                    <a:pt x="485" y="247"/>
                  </a:lnTo>
                  <a:lnTo>
                    <a:pt x="474" y="250"/>
                  </a:lnTo>
                  <a:lnTo>
                    <a:pt x="473" y="245"/>
                  </a:lnTo>
                  <a:lnTo>
                    <a:pt x="476" y="245"/>
                  </a:lnTo>
                  <a:lnTo>
                    <a:pt x="479" y="242"/>
                  </a:lnTo>
                  <a:lnTo>
                    <a:pt x="482" y="241"/>
                  </a:lnTo>
                  <a:lnTo>
                    <a:pt x="484" y="236"/>
                  </a:lnTo>
                  <a:lnTo>
                    <a:pt x="478" y="236"/>
                  </a:lnTo>
                  <a:lnTo>
                    <a:pt x="475" y="236"/>
                  </a:lnTo>
                  <a:lnTo>
                    <a:pt x="477" y="232"/>
                  </a:lnTo>
                  <a:lnTo>
                    <a:pt x="481" y="232"/>
                  </a:lnTo>
                  <a:lnTo>
                    <a:pt x="483" y="230"/>
                  </a:lnTo>
                  <a:lnTo>
                    <a:pt x="479" y="229"/>
                  </a:lnTo>
                  <a:lnTo>
                    <a:pt x="475" y="227"/>
                  </a:lnTo>
                  <a:lnTo>
                    <a:pt x="482" y="225"/>
                  </a:lnTo>
                  <a:lnTo>
                    <a:pt x="480" y="220"/>
                  </a:lnTo>
                  <a:lnTo>
                    <a:pt x="476" y="221"/>
                  </a:lnTo>
                  <a:lnTo>
                    <a:pt x="473" y="221"/>
                  </a:lnTo>
                  <a:lnTo>
                    <a:pt x="476" y="218"/>
                  </a:lnTo>
                  <a:lnTo>
                    <a:pt x="479" y="218"/>
                  </a:lnTo>
                  <a:lnTo>
                    <a:pt x="486" y="217"/>
                  </a:lnTo>
                  <a:lnTo>
                    <a:pt x="489" y="219"/>
                  </a:lnTo>
                  <a:lnTo>
                    <a:pt x="488" y="217"/>
                  </a:lnTo>
                  <a:lnTo>
                    <a:pt x="491" y="214"/>
                  </a:lnTo>
                  <a:lnTo>
                    <a:pt x="487" y="212"/>
                  </a:lnTo>
                  <a:lnTo>
                    <a:pt x="484" y="211"/>
                  </a:lnTo>
                  <a:lnTo>
                    <a:pt x="482" y="207"/>
                  </a:lnTo>
                  <a:lnTo>
                    <a:pt x="484" y="209"/>
                  </a:lnTo>
                  <a:lnTo>
                    <a:pt x="488" y="209"/>
                  </a:lnTo>
                  <a:lnTo>
                    <a:pt x="486" y="205"/>
                  </a:lnTo>
                  <a:lnTo>
                    <a:pt x="489" y="205"/>
                  </a:lnTo>
                  <a:lnTo>
                    <a:pt x="492" y="207"/>
                  </a:lnTo>
                  <a:lnTo>
                    <a:pt x="495" y="209"/>
                  </a:lnTo>
                  <a:lnTo>
                    <a:pt x="494" y="204"/>
                  </a:lnTo>
                  <a:lnTo>
                    <a:pt x="491" y="203"/>
                  </a:lnTo>
                  <a:lnTo>
                    <a:pt x="490" y="200"/>
                  </a:lnTo>
                  <a:lnTo>
                    <a:pt x="491" y="197"/>
                  </a:lnTo>
                  <a:lnTo>
                    <a:pt x="496" y="204"/>
                  </a:lnTo>
                  <a:lnTo>
                    <a:pt x="498" y="204"/>
                  </a:lnTo>
                  <a:lnTo>
                    <a:pt x="497" y="201"/>
                  </a:lnTo>
                  <a:lnTo>
                    <a:pt x="496" y="198"/>
                  </a:lnTo>
                  <a:lnTo>
                    <a:pt x="499" y="201"/>
                  </a:lnTo>
                  <a:lnTo>
                    <a:pt x="500" y="201"/>
                  </a:lnTo>
                  <a:lnTo>
                    <a:pt x="501" y="197"/>
                  </a:lnTo>
                  <a:close/>
                  <a:moveTo>
                    <a:pt x="525" y="166"/>
                  </a:moveTo>
                  <a:lnTo>
                    <a:pt x="528" y="167"/>
                  </a:lnTo>
                  <a:lnTo>
                    <a:pt x="531" y="166"/>
                  </a:lnTo>
                  <a:lnTo>
                    <a:pt x="531" y="170"/>
                  </a:lnTo>
                  <a:lnTo>
                    <a:pt x="537" y="170"/>
                  </a:lnTo>
                  <a:lnTo>
                    <a:pt x="539" y="173"/>
                  </a:lnTo>
                  <a:lnTo>
                    <a:pt x="540" y="176"/>
                  </a:lnTo>
                  <a:lnTo>
                    <a:pt x="538" y="179"/>
                  </a:lnTo>
                  <a:lnTo>
                    <a:pt x="535" y="183"/>
                  </a:lnTo>
                  <a:lnTo>
                    <a:pt x="533" y="184"/>
                  </a:lnTo>
                  <a:lnTo>
                    <a:pt x="531" y="188"/>
                  </a:lnTo>
                  <a:lnTo>
                    <a:pt x="534" y="193"/>
                  </a:lnTo>
                  <a:lnTo>
                    <a:pt x="531" y="196"/>
                  </a:lnTo>
                  <a:lnTo>
                    <a:pt x="527" y="195"/>
                  </a:lnTo>
                  <a:lnTo>
                    <a:pt x="523" y="197"/>
                  </a:lnTo>
                  <a:lnTo>
                    <a:pt x="516" y="201"/>
                  </a:lnTo>
                  <a:lnTo>
                    <a:pt x="514" y="201"/>
                  </a:lnTo>
                  <a:lnTo>
                    <a:pt x="512" y="198"/>
                  </a:lnTo>
                  <a:lnTo>
                    <a:pt x="509" y="198"/>
                  </a:lnTo>
                  <a:lnTo>
                    <a:pt x="508" y="194"/>
                  </a:lnTo>
                  <a:lnTo>
                    <a:pt x="511" y="192"/>
                  </a:lnTo>
                  <a:lnTo>
                    <a:pt x="514" y="192"/>
                  </a:lnTo>
                  <a:lnTo>
                    <a:pt x="517" y="193"/>
                  </a:lnTo>
                  <a:lnTo>
                    <a:pt x="512" y="185"/>
                  </a:lnTo>
                  <a:lnTo>
                    <a:pt x="516" y="184"/>
                  </a:lnTo>
                  <a:lnTo>
                    <a:pt x="521" y="184"/>
                  </a:lnTo>
                  <a:lnTo>
                    <a:pt x="526" y="185"/>
                  </a:lnTo>
                  <a:lnTo>
                    <a:pt x="518" y="183"/>
                  </a:lnTo>
                  <a:lnTo>
                    <a:pt x="516" y="179"/>
                  </a:lnTo>
                  <a:lnTo>
                    <a:pt x="517" y="176"/>
                  </a:lnTo>
                  <a:lnTo>
                    <a:pt x="520" y="177"/>
                  </a:lnTo>
                  <a:lnTo>
                    <a:pt x="521" y="180"/>
                  </a:lnTo>
                  <a:lnTo>
                    <a:pt x="522" y="175"/>
                  </a:lnTo>
                  <a:lnTo>
                    <a:pt x="525" y="174"/>
                  </a:lnTo>
                  <a:lnTo>
                    <a:pt x="526" y="179"/>
                  </a:lnTo>
                  <a:lnTo>
                    <a:pt x="527" y="183"/>
                  </a:lnTo>
                  <a:lnTo>
                    <a:pt x="529" y="185"/>
                  </a:lnTo>
                  <a:lnTo>
                    <a:pt x="529" y="182"/>
                  </a:lnTo>
                  <a:lnTo>
                    <a:pt x="529" y="179"/>
                  </a:lnTo>
                  <a:lnTo>
                    <a:pt x="530" y="176"/>
                  </a:lnTo>
                  <a:lnTo>
                    <a:pt x="526" y="171"/>
                  </a:lnTo>
                  <a:lnTo>
                    <a:pt x="525" y="166"/>
                  </a:lnTo>
                  <a:close/>
                  <a:moveTo>
                    <a:pt x="591" y="155"/>
                  </a:moveTo>
                  <a:lnTo>
                    <a:pt x="591" y="157"/>
                  </a:lnTo>
                  <a:lnTo>
                    <a:pt x="592" y="161"/>
                  </a:lnTo>
                  <a:lnTo>
                    <a:pt x="591" y="164"/>
                  </a:lnTo>
                  <a:lnTo>
                    <a:pt x="589" y="165"/>
                  </a:lnTo>
                  <a:lnTo>
                    <a:pt x="586" y="162"/>
                  </a:lnTo>
                  <a:lnTo>
                    <a:pt x="586" y="159"/>
                  </a:lnTo>
                  <a:lnTo>
                    <a:pt x="587" y="156"/>
                  </a:lnTo>
                  <a:lnTo>
                    <a:pt x="591" y="155"/>
                  </a:lnTo>
                  <a:close/>
                  <a:moveTo>
                    <a:pt x="559" y="151"/>
                  </a:moveTo>
                  <a:lnTo>
                    <a:pt x="562" y="153"/>
                  </a:lnTo>
                  <a:lnTo>
                    <a:pt x="561" y="158"/>
                  </a:lnTo>
                  <a:lnTo>
                    <a:pt x="560" y="161"/>
                  </a:lnTo>
                  <a:lnTo>
                    <a:pt x="560" y="163"/>
                  </a:lnTo>
                  <a:lnTo>
                    <a:pt x="558" y="164"/>
                  </a:lnTo>
                  <a:lnTo>
                    <a:pt x="553" y="167"/>
                  </a:lnTo>
                  <a:lnTo>
                    <a:pt x="553" y="162"/>
                  </a:lnTo>
                  <a:lnTo>
                    <a:pt x="553" y="159"/>
                  </a:lnTo>
                  <a:lnTo>
                    <a:pt x="557" y="155"/>
                  </a:lnTo>
                  <a:lnTo>
                    <a:pt x="559" y="151"/>
                  </a:lnTo>
                  <a:close/>
                  <a:moveTo>
                    <a:pt x="524" y="145"/>
                  </a:moveTo>
                  <a:lnTo>
                    <a:pt x="527" y="149"/>
                  </a:lnTo>
                  <a:lnTo>
                    <a:pt x="529" y="145"/>
                  </a:lnTo>
                  <a:lnTo>
                    <a:pt x="532" y="147"/>
                  </a:lnTo>
                  <a:lnTo>
                    <a:pt x="531" y="150"/>
                  </a:lnTo>
                  <a:lnTo>
                    <a:pt x="528" y="151"/>
                  </a:lnTo>
                  <a:lnTo>
                    <a:pt x="525" y="156"/>
                  </a:lnTo>
                  <a:lnTo>
                    <a:pt x="523" y="153"/>
                  </a:lnTo>
                  <a:lnTo>
                    <a:pt x="523" y="150"/>
                  </a:lnTo>
                  <a:lnTo>
                    <a:pt x="524" y="145"/>
                  </a:lnTo>
                  <a:close/>
                  <a:moveTo>
                    <a:pt x="540" y="144"/>
                  </a:moveTo>
                  <a:lnTo>
                    <a:pt x="541" y="147"/>
                  </a:lnTo>
                  <a:lnTo>
                    <a:pt x="543" y="146"/>
                  </a:lnTo>
                  <a:lnTo>
                    <a:pt x="544" y="149"/>
                  </a:lnTo>
                  <a:lnTo>
                    <a:pt x="545" y="151"/>
                  </a:lnTo>
                  <a:lnTo>
                    <a:pt x="548" y="149"/>
                  </a:lnTo>
                  <a:lnTo>
                    <a:pt x="551" y="147"/>
                  </a:lnTo>
                  <a:lnTo>
                    <a:pt x="553" y="151"/>
                  </a:lnTo>
                  <a:lnTo>
                    <a:pt x="555" y="150"/>
                  </a:lnTo>
                  <a:lnTo>
                    <a:pt x="557" y="153"/>
                  </a:lnTo>
                  <a:lnTo>
                    <a:pt x="553" y="156"/>
                  </a:lnTo>
                  <a:lnTo>
                    <a:pt x="553" y="159"/>
                  </a:lnTo>
                  <a:lnTo>
                    <a:pt x="552" y="162"/>
                  </a:lnTo>
                  <a:lnTo>
                    <a:pt x="550" y="167"/>
                  </a:lnTo>
                  <a:lnTo>
                    <a:pt x="548" y="171"/>
                  </a:lnTo>
                  <a:lnTo>
                    <a:pt x="542" y="174"/>
                  </a:lnTo>
                  <a:lnTo>
                    <a:pt x="539" y="170"/>
                  </a:lnTo>
                  <a:lnTo>
                    <a:pt x="530" y="164"/>
                  </a:lnTo>
                  <a:lnTo>
                    <a:pt x="528" y="163"/>
                  </a:lnTo>
                  <a:lnTo>
                    <a:pt x="526" y="160"/>
                  </a:lnTo>
                  <a:lnTo>
                    <a:pt x="530" y="160"/>
                  </a:lnTo>
                  <a:lnTo>
                    <a:pt x="530" y="157"/>
                  </a:lnTo>
                  <a:lnTo>
                    <a:pt x="529" y="155"/>
                  </a:lnTo>
                  <a:lnTo>
                    <a:pt x="530" y="153"/>
                  </a:lnTo>
                  <a:lnTo>
                    <a:pt x="533" y="152"/>
                  </a:lnTo>
                  <a:lnTo>
                    <a:pt x="537" y="152"/>
                  </a:lnTo>
                  <a:lnTo>
                    <a:pt x="537" y="149"/>
                  </a:lnTo>
                  <a:lnTo>
                    <a:pt x="535" y="147"/>
                  </a:lnTo>
                  <a:lnTo>
                    <a:pt x="540" y="144"/>
                  </a:lnTo>
                  <a:close/>
                  <a:moveTo>
                    <a:pt x="594" y="142"/>
                  </a:moveTo>
                  <a:lnTo>
                    <a:pt x="596" y="144"/>
                  </a:lnTo>
                  <a:lnTo>
                    <a:pt x="601" y="144"/>
                  </a:lnTo>
                  <a:lnTo>
                    <a:pt x="598" y="147"/>
                  </a:lnTo>
                  <a:lnTo>
                    <a:pt x="597" y="150"/>
                  </a:lnTo>
                  <a:lnTo>
                    <a:pt x="594" y="151"/>
                  </a:lnTo>
                  <a:lnTo>
                    <a:pt x="591" y="147"/>
                  </a:lnTo>
                  <a:lnTo>
                    <a:pt x="591" y="144"/>
                  </a:lnTo>
                  <a:lnTo>
                    <a:pt x="594" y="142"/>
                  </a:lnTo>
                  <a:close/>
                  <a:moveTo>
                    <a:pt x="597" y="140"/>
                  </a:moveTo>
                  <a:lnTo>
                    <a:pt x="598" y="142"/>
                  </a:lnTo>
                  <a:lnTo>
                    <a:pt x="596" y="143"/>
                  </a:lnTo>
                  <a:lnTo>
                    <a:pt x="597" y="140"/>
                  </a:lnTo>
                  <a:close/>
                  <a:moveTo>
                    <a:pt x="547" y="138"/>
                  </a:moveTo>
                  <a:lnTo>
                    <a:pt x="551" y="141"/>
                  </a:lnTo>
                  <a:lnTo>
                    <a:pt x="551" y="143"/>
                  </a:lnTo>
                  <a:lnTo>
                    <a:pt x="549" y="144"/>
                  </a:lnTo>
                  <a:lnTo>
                    <a:pt x="547" y="143"/>
                  </a:lnTo>
                  <a:lnTo>
                    <a:pt x="544" y="139"/>
                  </a:lnTo>
                  <a:lnTo>
                    <a:pt x="547" y="138"/>
                  </a:lnTo>
                  <a:close/>
                  <a:moveTo>
                    <a:pt x="590" y="132"/>
                  </a:moveTo>
                  <a:lnTo>
                    <a:pt x="594" y="136"/>
                  </a:lnTo>
                  <a:lnTo>
                    <a:pt x="594" y="138"/>
                  </a:lnTo>
                  <a:lnTo>
                    <a:pt x="591" y="139"/>
                  </a:lnTo>
                  <a:lnTo>
                    <a:pt x="590" y="135"/>
                  </a:lnTo>
                  <a:lnTo>
                    <a:pt x="590" y="132"/>
                  </a:lnTo>
                  <a:close/>
                  <a:moveTo>
                    <a:pt x="537" y="130"/>
                  </a:moveTo>
                  <a:lnTo>
                    <a:pt x="538" y="130"/>
                  </a:lnTo>
                  <a:lnTo>
                    <a:pt x="539" y="133"/>
                  </a:lnTo>
                  <a:lnTo>
                    <a:pt x="540" y="136"/>
                  </a:lnTo>
                  <a:lnTo>
                    <a:pt x="540" y="139"/>
                  </a:lnTo>
                  <a:lnTo>
                    <a:pt x="539" y="143"/>
                  </a:lnTo>
                  <a:lnTo>
                    <a:pt x="537" y="143"/>
                  </a:lnTo>
                  <a:lnTo>
                    <a:pt x="533" y="141"/>
                  </a:lnTo>
                  <a:lnTo>
                    <a:pt x="533" y="139"/>
                  </a:lnTo>
                  <a:lnTo>
                    <a:pt x="537" y="136"/>
                  </a:lnTo>
                  <a:lnTo>
                    <a:pt x="534" y="133"/>
                  </a:lnTo>
                  <a:lnTo>
                    <a:pt x="537" y="130"/>
                  </a:lnTo>
                  <a:close/>
                  <a:moveTo>
                    <a:pt x="552" y="125"/>
                  </a:moveTo>
                  <a:lnTo>
                    <a:pt x="553" y="128"/>
                  </a:lnTo>
                  <a:lnTo>
                    <a:pt x="554" y="129"/>
                  </a:lnTo>
                  <a:lnTo>
                    <a:pt x="556" y="131"/>
                  </a:lnTo>
                  <a:lnTo>
                    <a:pt x="558" y="135"/>
                  </a:lnTo>
                  <a:lnTo>
                    <a:pt x="559" y="131"/>
                  </a:lnTo>
                  <a:lnTo>
                    <a:pt x="562" y="133"/>
                  </a:lnTo>
                  <a:lnTo>
                    <a:pt x="562" y="135"/>
                  </a:lnTo>
                  <a:lnTo>
                    <a:pt x="568" y="139"/>
                  </a:lnTo>
                  <a:lnTo>
                    <a:pt x="566" y="144"/>
                  </a:lnTo>
                  <a:lnTo>
                    <a:pt x="560" y="145"/>
                  </a:lnTo>
                  <a:lnTo>
                    <a:pt x="557" y="140"/>
                  </a:lnTo>
                  <a:lnTo>
                    <a:pt x="555" y="135"/>
                  </a:lnTo>
                  <a:lnTo>
                    <a:pt x="549" y="131"/>
                  </a:lnTo>
                  <a:lnTo>
                    <a:pt x="550" y="128"/>
                  </a:lnTo>
                  <a:lnTo>
                    <a:pt x="552" y="125"/>
                  </a:lnTo>
                  <a:close/>
                  <a:moveTo>
                    <a:pt x="586" y="125"/>
                  </a:moveTo>
                  <a:lnTo>
                    <a:pt x="589" y="127"/>
                  </a:lnTo>
                  <a:lnTo>
                    <a:pt x="589" y="131"/>
                  </a:lnTo>
                  <a:lnTo>
                    <a:pt x="589" y="133"/>
                  </a:lnTo>
                  <a:lnTo>
                    <a:pt x="589" y="136"/>
                  </a:lnTo>
                  <a:lnTo>
                    <a:pt x="590" y="139"/>
                  </a:lnTo>
                  <a:lnTo>
                    <a:pt x="588" y="140"/>
                  </a:lnTo>
                  <a:lnTo>
                    <a:pt x="585" y="143"/>
                  </a:lnTo>
                  <a:lnTo>
                    <a:pt x="584" y="139"/>
                  </a:lnTo>
                  <a:lnTo>
                    <a:pt x="582" y="140"/>
                  </a:lnTo>
                  <a:lnTo>
                    <a:pt x="579" y="142"/>
                  </a:lnTo>
                  <a:lnTo>
                    <a:pt x="577" y="139"/>
                  </a:lnTo>
                  <a:lnTo>
                    <a:pt x="577" y="134"/>
                  </a:lnTo>
                  <a:lnTo>
                    <a:pt x="578" y="131"/>
                  </a:lnTo>
                  <a:lnTo>
                    <a:pt x="580" y="129"/>
                  </a:lnTo>
                  <a:lnTo>
                    <a:pt x="581" y="126"/>
                  </a:lnTo>
                  <a:lnTo>
                    <a:pt x="586" y="125"/>
                  </a:lnTo>
                  <a:close/>
                  <a:moveTo>
                    <a:pt x="615" y="107"/>
                  </a:moveTo>
                  <a:lnTo>
                    <a:pt x="618" y="109"/>
                  </a:lnTo>
                  <a:lnTo>
                    <a:pt x="618" y="112"/>
                  </a:lnTo>
                  <a:lnTo>
                    <a:pt x="618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5" y="114"/>
                  </a:lnTo>
                  <a:lnTo>
                    <a:pt x="615" y="110"/>
                  </a:lnTo>
                  <a:lnTo>
                    <a:pt x="615" y="107"/>
                  </a:lnTo>
                  <a:close/>
                  <a:moveTo>
                    <a:pt x="647" y="99"/>
                  </a:moveTo>
                  <a:lnTo>
                    <a:pt x="649" y="102"/>
                  </a:lnTo>
                  <a:lnTo>
                    <a:pt x="650" y="105"/>
                  </a:lnTo>
                  <a:lnTo>
                    <a:pt x="654" y="105"/>
                  </a:lnTo>
                  <a:lnTo>
                    <a:pt x="656" y="108"/>
                  </a:lnTo>
                  <a:lnTo>
                    <a:pt x="657" y="110"/>
                  </a:lnTo>
                  <a:lnTo>
                    <a:pt x="649" y="112"/>
                  </a:lnTo>
                  <a:lnTo>
                    <a:pt x="639" y="111"/>
                  </a:lnTo>
                  <a:lnTo>
                    <a:pt x="637" y="108"/>
                  </a:lnTo>
                  <a:lnTo>
                    <a:pt x="637" y="105"/>
                  </a:lnTo>
                  <a:lnTo>
                    <a:pt x="640" y="108"/>
                  </a:lnTo>
                  <a:lnTo>
                    <a:pt x="639" y="104"/>
                  </a:lnTo>
                  <a:lnTo>
                    <a:pt x="642" y="102"/>
                  </a:lnTo>
                  <a:lnTo>
                    <a:pt x="644" y="99"/>
                  </a:lnTo>
                  <a:lnTo>
                    <a:pt x="645" y="101"/>
                  </a:lnTo>
                  <a:lnTo>
                    <a:pt x="646" y="104"/>
                  </a:lnTo>
                  <a:lnTo>
                    <a:pt x="647" y="99"/>
                  </a:lnTo>
                  <a:close/>
                  <a:moveTo>
                    <a:pt x="883" y="88"/>
                  </a:moveTo>
                  <a:lnTo>
                    <a:pt x="885" y="91"/>
                  </a:lnTo>
                  <a:lnTo>
                    <a:pt x="887" y="94"/>
                  </a:lnTo>
                  <a:lnTo>
                    <a:pt x="889" y="93"/>
                  </a:lnTo>
                  <a:lnTo>
                    <a:pt x="889" y="96"/>
                  </a:lnTo>
                  <a:lnTo>
                    <a:pt x="886" y="97"/>
                  </a:lnTo>
                  <a:lnTo>
                    <a:pt x="884" y="101"/>
                  </a:lnTo>
                  <a:lnTo>
                    <a:pt x="882" y="104"/>
                  </a:lnTo>
                  <a:lnTo>
                    <a:pt x="879" y="104"/>
                  </a:lnTo>
                  <a:lnTo>
                    <a:pt x="880" y="97"/>
                  </a:lnTo>
                  <a:lnTo>
                    <a:pt x="879" y="93"/>
                  </a:lnTo>
                  <a:lnTo>
                    <a:pt x="879" y="89"/>
                  </a:lnTo>
                  <a:lnTo>
                    <a:pt x="883" y="88"/>
                  </a:lnTo>
                  <a:close/>
                  <a:moveTo>
                    <a:pt x="667" y="74"/>
                  </a:moveTo>
                  <a:lnTo>
                    <a:pt x="669" y="77"/>
                  </a:lnTo>
                  <a:lnTo>
                    <a:pt x="669" y="81"/>
                  </a:lnTo>
                  <a:lnTo>
                    <a:pt x="671" y="83"/>
                  </a:lnTo>
                  <a:lnTo>
                    <a:pt x="673" y="87"/>
                  </a:lnTo>
                  <a:lnTo>
                    <a:pt x="673" y="90"/>
                  </a:lnTo>
                  <a:lnTo>
                    <a:pt x="672" y="92"/>
                  </a:lnTo>
                  <a:lnTo>
                    <a:pt x="668" y="99"/>
                  </a:lnTo>
                  <a:lnTo>
                    <a:pt x="665" y="101"/>
                  </a:lnTo>
                  <a:lnTo>
                    <a:pt x="663" y="107"/>
                  </a:lnTo>
                  <a:lnTo>
                    <a:pt x="660" y="108"/>
                  </a:lnTo>
                  <a:lnTo>
                    <a:pt x="658" y="104"/>
                  </a:lnTo>
                  <a:lnTo>
                    <a:pt x="659" y="101"/>
                  </a:lnTo>
                  <a:lnTo>
                    <a:pt x="659" y="96"/>
                  </a:lnTo>
                  <a:lnTo>
                    <a:pt x="657" y="101"/>
                  </a:lnTo>
                  <a:lnTo>
                    <a:pt x="655" y="102"/>
                  </a:lnTo>
                  <a:lnTo>
                    <a:pt x="650" y="98"/>
                  </a:lnTo>
                  <a:lnTo>
                    <a:pt x="650" y="94"/>
                  </a:lnTo>
                  <a:lnTo>
                    <a:pt x="652" y="90"/>
                  </a:lnTo>
                  <a:lnTo>
                    <a:pt x="656" y="86"/>
                  </a:lnTo>
                  <a:lnTo>
                    <a:pt x="659" y="85"/>
                  </a:lnTo>
                  <a:lnTo>
                    <a:pt x="659" y="83"/>
                  </a:lnTo>
                  <a:lnTo>
                    <a:pt x="660" y="86"/>
                  </a:lnTo>
                  <a:lnTo>
                    <a:pt x="661" y="89"/>
                  </a:lnTo>
                  <a:lnTo>
                    <a:pt x="661" y="85"/>
                  </a:lnTo>
                  <a:lnTo>
                    <a:pt x="661" y="82"/>
                  </a:lnTo>
                  <a:lnTo>
                    <a:pt x="664" y="83"/>
                  </a:lnTo>
                  <a:lnTo>
                    <a:pt x="664" y="80"/>
                  </a:lnTo>
                  <a:lnTo>
                    <a:pt x="667" y="81"/>
                  </a:lnTo>
                  <a:lnTo>
                    <a:pt x="664" y="78"/>
                  </a:lnTo>
                  <a:lnTo>
                    <a:pt x="662" y="76"/>
                  </a:lnTo>
                  <a:lnTo>
                    <a:pt x="665" y="75"/>
                  </a:lnTo>
                  <a:lnTo>
                    <a:pt x="667" y="74"/>
                  </a:lnTo>
                  <a:close/>
                  <a:moveTo>
                    <a:pt x="672" y="61"/>
                  </a:moveTo>
                  <a:lnTo>
                    <a:pt x="674" y="63"/>
                  </a:lnTo>
                  <a:lnTo>
                    <a:pt x="673" y="65"/>
                  </a:lnTo>
                  <a:lnTo>
                    <a:pt x="674" y="64"/>
                  </a:lnTo>
                  <a:lnTo>
                    <a:pt x="677" y="64"/>
                  </a:lnTo>
                  <a:lnTo>
                    <a:pt x="680" y="65"/>
                  </a:lnTo>
                  <a:lnTo>
                    <a:pt x="683" y="69"/>
                  </a:lnTo>
                  <a:lnTo>
                    <a:pt x="685" y="71"/>
                  </a:lnTo>
                  <a:lnTo>
                    <a:pt x="685" y="74"/>
                  </a:lnTo>
                  <a:lnTo>
                    <a:pt x="683" y="76"/>
                  </a:lnTo>
                  <a:lnTo>
                    <a:pt x="680" y="80"/>
                  </a:lnTo>
                  <a:lnTo>
                    <a:pt x="677" y="82"/>
                  </a:lnTo>
                  <a:lnTo>
                    <a:pt x="673" y="79"/>
                  </a:lnTo>
                  <a:lnTo>
                    <a:pt x="672" y="76"/>
                  </a:lnTo>
                  <a:lnTo>
                    <a:pt x="671" y="73"/>
                  </a:lnTo>
                  <a:lnTo>
                    <a:pt x="670" y="70"/>
                  </a:lnTo>
                  <a:lnTo>
                    <a:pt x="668" y="68"/>
                  </a:lnTo>
                  <a:lnTo>
                    <a:pt x="668" y="64"/>
                  </a:lnTo>
                  <a:lnTo>
                    <a:pt x="672" y="61"/>
                  </a:lnTo>
                  <a:close/>
                  <a:moveTo>
                    <a:pt x="655" y="55"/>
                  </a:moveTo>
                  <a:lnTo>
                    <a:pt x="658" y="55"/>
                  </a:lnTo>
                  <a:lnTo>
                    <a:pt x="659" y="56"/>
                  </a:lnTo>
                  <a:lnTo>
                    <a:pt x="661" y="59"/>
                  </a:lnTo>
                  <a:lnTo>
                    <a:pt x="661" y="61"/>
                  </a:lnTo>
                  <a:lnTo>
                    <a:pt x="658" y="63"/>
                  </a:lnTo>
                  <a:lnTo>
                    <a:pt x="658" y="67"/>
                  </a:lnTo>
                  <a:lnTo>
                    <a:pt x="654" y="70"/>
                  </a:lnTo>
                  <a:lnTo>
                    <a:pt x="655" y="73"/>
                  </a:lnTo>
                  <a:lnTo>
                    <a:pt x="654" y="76"/>
                  </a:lnTo>
                  <a:lnTo>
                    <a:pt x="653" y="80"/>
                  </a:lnTo>
                  <a:lnTo>
                    <a:pt x="651" y="79"/>
                  </a:lnTo>
                  <a:lnTo>
                    <a:pt x="651" y="82"/>
                  </a:lnTo>
                  <a:lnTo>
                    <a:pt x="648" y="82"/>
                  </a:lnTo>
                  <a:lnTo>
                    <a:pt x="649" y="84"/>
                  </a:lnTo>
                  <a:lnTo>
                    <a:pt x="647" y="85"/>
                  </a:lnTo>
                  <a:lnTo>
                    <a:pt x="642" y="84"/>
                  </a:lnTo>
                  <a:lnTo>
                    <a:pt x="641" y="87"/>
                  </a:lnTo>
                  <a:lnTo>
                    <a:pt x="637" y="88"/>
                  </a:lnTo>
                  <a:lnTo>
                    <a:pt x="635" y="91"/>
                  </a:lnTo>
                  <a:lnTo>
                    <a:pt x="631" y="92"/>
                  </a:lnTo>
                  <a:lnTo>
                    <a:pt x="630" y="89"/>
                  </a:lnTo>
                  <a:lnTo>
                    <a:pt x="629" y="93"/>
                  </a:lnTo>
                  <a:lnTo>
                    <a:pt x="626" y="95"/>
                  </a:lnTo>
                  <a:lnTo>
                    <a:pt x="626" y="92"/>
                  </a:lnTo>
                  <a:lnTo>
                    <a:pt x="627" y="89"/>
                  </a:lnTo>
                  <a:lnTo>
                    <a:pt x="629" y="83"/>
                  </a:lnTo>
                  <a:lnTo>
                    <a:pt x="623" y="84"/>
                  </a:lnTo>
                  <a:lnTo>
                    <a:pt x="620" y="82"/>
                  </a:lnTo>
                  <a:lnTo>
                    <a:pt x="618" y="79"/>
                  </a:lnTo>
                  <a:lnTo>
                    <a:pt x="625" y="81"/>
                  </a:lnTo>
                  <a:lnTo>
                    <a:pt x="626" y="77"/>
                  </a:lnTo>
                  <a:lnTo>
                    <a:pt x="629" y="78"/>
                  </a:lnTo>
                  <a:lnTo>
                    <a:pt x="632" y="80"/>
                  </a:lnTo>
                  <a:lnTo>
                    <a:pt x="630" y="76"/>
                  </a:lnTo>
                  <a:lnTo>
                    <a:pt x="630" y="73"/>
                  </a:lnTo>
                  <a:lnTo>
                    <a:pt x="633" y="75"/>
                  </a:lnTo>
                  <a:lnTo>
                    <a:pt x="634" y="72"/>
                  </a:lnTo>
                  <a:lnTo>
                    <a:pt x="638" y="73"/>
                  </a:lnTo>
                  <a:lnTo>
                    <a:pt x="637" y="76"/>
                  </a:lnTo>
                  <a:lnTo>
                    <a:pt x="640" y="76"/>
                  </a:lnTo>
                  <a:lnTo>
                    <a:pt x="641" y="79"/>
                  </a:lnTo>
                  <a:lnTo>
                    <a:pt x="642" y="76"/>
                  </a:lnTo>
                  <a:lnTo>
                    <a:pt x="644" y="76"/>
                  </a:lnTo>
                  <a:lnTo>
                    <a:pt x="642" y="71"/>
                  </a:lnTo>
                  <a:lnTo>
                    <a:pt x="641" y="66"/>
                  </a:lnTo>
                  <a:lnTo>
                    <a:pt x="645" y="68"/>
                  </a:lnTo>
                  <a:lnTo>
                    <a:pt x="645" y="71"/>
                  </a:lnTo>
                  <a:lnTo>
                    <a:pt x="649" y="73"/>
                  </a:lnTo>
                  <a:lnTo>
                    <a:pt x="649" y="70"/>
                  </a:lnTo>
                  <a:lnTo>
                    <a:pt x="653" y="67"/>
                  </a:lnTo>
                  <a:lnTo>
                    <a:pt x="651" y="64"/>
                  </a:lnTo>
                  <a:lnTo>
                    <a:pt x="648" y="62"/>
                  </a:lnTo>
                  <a:lnTo>
                    <a:pt x="651" y="61"/>
                  </a:lnTo>
                  <a:lnTo>
                    <a:pt x="651" y="58"/>
                  </a:lnTo>
                  <a:lnTo>
                    <a:pt x="654" y="61"/>
                  </a:lnTo>
                  <a:lnTo>
                    <a:pt x="657" y="61"/>
                  </a:lnTo>
                  <a:lnTo>
                    <a:pt x="656" y="58"/>
                  </a:lnTo>
                  <a:lnTo>
                    <a:pt x="655" y="55"/>
                  </a:lnTo>
                  <a:close/>
                  <a:moveTo>
                    <a:pt x="675" y="35"/>
                  </a:moveTo>
                  <a:lnTo>
                    <a:pt x="674" y="36"/>
                  </a:lnTo>
                  <a:lnTo>
                    <a:pt x="676" y="37"/>
                  </a:lnTo>
                  <a:lnTo>
                    <a:pt x="678" y="36"/>
                  </a:lnTo>
                  <a:lnTo>
                    <a:pt x="676" y="37"/>
                  </a:lnTo>
                  <a:lnTo>
                    <a:pt x="675" y="40"/>
                  </a:lnTo>
                  <a:lnTo>
                    <a:pt x="679" y="39"/>
                  </a:lnTo>
                  <a:lnTo>
                    <a:pt x="679" y="42"/>
                  </a:lnTo>
                  <a:lnTo>
                    <a:pt x="677" y="44"/>
                  </a:lnTo>
                  <a:lnTo>
                    <a:pt x="674" y="44"/>
                  </a:lnTo>
                  <a:lnTo>
                    <a:pt x="671" y="42"/>
                  </a:lnTo>
                  <a:lnTo>
                    <a:pt x="673" y="40"/>
                  </a:lnTo>
                  <a:lnTo>
                    <a:pt x="671" y="40"/>
                  </a:lnTo>
                  <a:lnTo>
                    <a:pt x="671" y="37"/>
                  </a:lnTo>
                  <a:lnTo>
                    <a:pt x="675" y="35"/>
                  </a:lnTo>
                  <a:close/>
                  <a:moveTo>
                    <a:pt x="696" y="23"/>
                  </a:moveTo>
                  <a:lnTo>
                    <a:pt x="695" y="25"/>
                  </a:lnTo>
                  <a:lnTo>
                    <a:pt x="696" y="29"/>
                  </a:lnTo>
                  <a:lnTo>
                    <a:pt x="692" y="28"/>
                  </a:lnTo>
                  <a:lnTo>
                    <a:pt x="691" y="25"/>
                  </a:lnTo>
                  <a:lnTo>
                    <a:pt x="694" y="26"/>
                  </a:lnTo>
                  <a:lnTo>
                    <a:pt x="692" y="23"/>
                  </a:lnTo>
                  <a:lnTo>
                    <a:pt x="695" y="23"/>
                  </a:lnTo>
                  <a:lnTo>
                    <a:pt x="696" y="23"/>
                  </a:lnTo>
                  <a:close/>
                  <a:moveTo>
                    <a:pt x="723" y="11"/>
                  </a:moveTo>
                  <a:lnTo>
                    <a:pt x="724" y="15"/>
                  </a:lnTo>
                  <a:lnTo>
                    <a:pt x="726" y="14"/>
                  </a:lnTo>
                  <a:lnTo>
                    <a:pt x="728" y="14"/>
                  </a:lnTo>
                  <a:lnTo>
                    <a:pt x="732" y="15"/>
                  </a:lnTo>
                  <a:lnTo>
                    <a:pt x="729" y="19"/>
                  </a:lnTo>
                  <a:lnTo>
                    <a:pt x="731" y="23"/>
                  </a:lnTo>
                  <a:lnTo>
                    <a:pt x="735" y="22"/>
                  </a:lnTo>
                  <a:lnTo>
                    <a:pt x="735" y="19"/>
                  </a:lnTo>
                  <a:lnTo>
                    <a:pt x="739" y="21"/>
                  </a:lnTo>
                  <a:lnTo>
                    <a:pt x="736" y="23"/>
                  </a:lnTo>
                  <a:lnTo>
                    <a:pt x="732" y="25"/>
                  </a:lnTo>
                  <a:lnTo>
                    <a:pt x="728" y="28"/>
                  </a:lnTo>
                  <a:lnTo>
                    <a:pt x="724" y="30"/>
                  </a:lnTo>
                  <a:lnTo>
                    <a:pt x="721" y="34"/>
                  </a:lnTo>
                  <a:lnTo>
                    <a:pt x="719" y="30"/>
                  </a:lnTo>
                  <a:lnTo>
                    <a:pt x="716" y="29"/>
                  </a:lnTo>
                  <a:lnTo>
                    <a:pt x="719" y="26"/>
                  </a:lnTo>
                  <a:lnTo>
                    <a:pt x="716" y="24"/>
                  </a:lnTo>
                  <a:lnTo>
                    <a:pt x="713" y="27"/>
                  </a:lnTo>
                  <a:lnTo>
                    <a:pt x="711" y="25"/>
                  </a:lnTo>
                  <a:lnTo>
                    <a:pt x="712" y="22"/>
                  </a:lnTo>
                  <a:lnTo>
                    <a:pt x="713" y="20"/>
                  </a:lnTo>
                  <a:lnTo>
                    <a:pt x="716" y="20"/>
                  </a:lnTo>
                  <a:lnTo>
                    <a:pt x="718" y="19"/>
                  </a:lnTo>
                  <a:lnTo>
                    <a:pt x="723" y="20"/>
                  </a:lnTo>
                  <a:lnTo>
                    <a:pt x="721" y="17"/>
                  </a:lnTo>
                  <a:lnTo>
                    <a:pt x="716" y="14"/>
                  </a:lnTo>
                  <a:lnTo>
                    <a:pt x="719" y="11"/>
                  </a:lnTo>
                  <a:lnTo>
                    <a:pt x="719" y="11"/>
                  </a:lnTo>
                  <a:lnTo>
                    <a:pt x="723" y="11"/>
                  </a:lnTo>
                  <a:close/>
                  <a:moveTo>
                    <a:pt x="797" y="0"/>
                  </a:moveTo>
                  <a:lnTo>
                    <a:pt x="799" y="3"/>
                  </a:lnTo>
                  <a:lnTo>
                    <a:pt x="798" y="7"/>
                  </a:lnTo>
                  <a:lnTo>
                    <a:pt x="802" y="5"/>
                  </a:lnTo>
                  <a:lnTo>
                    <a:pt x="807" y="4"/>
                  </a:lnTo>
                  <a:lnTo>
                    <a:pt x="810" y="9"/>
                  </a:lnTo>
                  <a:lnTo>
                    <a:pt x="810" y="12"/>
                  </a:lnTo>
                  <a:lnTo>
                    <a:pt x="809" y="15"/>
                  </a:lnTo>
                  <a:lnTo>
                    <a:pt x="806" y="15"/>
                  </a:lnTo>
                  <a:lnTo>
                    <a:pt x="807" y="19"/>
                  </a:lnTo>
                  <a:lnTo>
                    <a:pt x="804" y="21"/>
                  </a:lnTo>
                  <a:lnTo>
                    <a:pt x="806" y="22"/>
                  </a:lnTo>
                  <a:lnTo>
                    <a:pt x="805" y="25"/>
                  </a:lnTo>
                  <a:lnTo>
                    <a:pt x="802" y="26"/>
                  </a:lnTo>
                  <a:lnTo>
                    <a:pt x="799" y="26"/>
                  </a:lnTo>
                  <a:lnTo>
                    <a:pt x="793" y="28"/>
                  </a:lnTo>
                  <a:lnTo>
                    <a:pt x="793" y="34"/>
                  </a:lnTo>
                  <a:lnTo>
                    <a:pt x="795" y="30"/>
                  </a:lnTo>
                  <a:lnTo>
                    <a:pt x="799" y="30"/>
                  </a:lnTo>
                  <a:lnTo>
                    <a:pt x="802" y="30"/>
                  </a:lnTo>
                  <a:lnTo>
                    <a:pt x="803" y="35"/>
                  </a:lnTo>
                  <a:lnTo>
                    <a:pt x="799" y="37"/>
                  </a:lnTo>
                  <a:lnTo>
                    <a:pt x="798" y="39"/>
                  </a:lnTo>
                  <a:lnTo>
                    <a:pt x="796" y="43"/>
                  </a:lnTo>
                  <a:lnTo>
                    <a:pt x="793" y="46"/>
                  </a:lnTo>
                  <a:lnTo>
                    <a:pt x="797" y="45"/>
                  </a:lnTo>
                  <a:lnTo>
                    <a:pt x="806" y="36"/>
                  </a:lnTo>
                  <a:lnTo>
                    <a:pt x="808" y="31"/>
                  </a:lnTo>
                  <a:lnTo>
                    <a:pt x="810" y="37"/>
                  </a:lnTo>
                  <a:lnTo>
                    <a:pt x="810" y="41"/>
                  </a:lnTo>
                  <a:lnTo>
                    <a:pt x="808" y="44"/>
                  </a:lnTo>
                  <a:lnTo>
                    <a:pt x="806" y="48"/>
                  </a:lnTo>
                  <a:lnTo>
                    <a:pt x="805" y="51"/>
                  </a:lnTo>
                  <a:lnTo>
                    <a:pt x="802" y="54"/>
                  </a:lnTo>
                  <a:lnTo>
                    <a:pt x="803" y="57"/>
                  </a:lnTo>
                  <a:lnTo>
                    <a:pt x="804" y="60"/>
                  </a:lnTo>
                  <a:lnTo>
                    <a:pt x="804" y="56"/>
                  </a:lnTo>
                  <a:lnTo>
                    <a:pt x="805" y="54"/>
                  </a:lnTo>
                  <a:lnTo>
                    <a:pt x="805" y="56"/>
                  </a:lnTo>
                  <a:lnTo>
                    <a:pt x="808" y="53"/>
                  </a:lnTo>
                  <a:lnTo>
                    <a:pt x="811" y="51"/>
                  </a:lnTo>
                  <a:lnTo>
                    <a:pt x="809" y="54"/>
                  </a:lnTo>
                  <a:lnTo>
                    <a:pt x="809" y="58"/>
                  </a:lnTo>
                  <a:lnTo>
                    <a:pt x="810" y="56"/>
                  </a:lnTo>
                  <a:lnTo>
                    <a:pt x="812" y="54"/>
                  </a:lnTo>
                  <a:lnTo>
                    <a:pt x="813" y="50"/>
                  </a:lnTo>
                  <a:lnTo>
                    <a:pt x="815" y="49"/>
                  </a:lnTo>
                  <a:lnTo>
                    <a:pt x="815" y="52"/>
                  </a:lnTo>
                  <a:lnTo>
                    <a:pt x="814" y="58"/>
                  </a:lnTo>
                  <a:lnTo>
                    <a:pt x="814" y="61"/>
                  </a:lnTo>
                  <a:lnTo>
                    <a:pt x="815" y="65"/>
                  </a:lnTo>
                  <a:lnTo>
                    <a:pt x="816" y="68"/>
                  </a:lnTo>
                  <a:lnTo>
                    <a:pt x="816" y="71"/>
                  </a:lnTo>
                  <a:lnTo>
                    <a:pt x="817" y="74"/>
                  </a:lnTo>
                  <a:lnTo>
                    <a:pt x="820" y="80"/>
                  </a:lnTo>
                  <a:lnTo>
                    <a:pt x="820" y="82"/>
                  </a:lnTo>
                  <a:lnTo>
                    <a:pt x="820" y="85"/>
                  </a:lnTo>
                  <a:lnTo>
                    <a:pt x="820" y="88"/>
                  </a:lnTo>
                  <a:lnTo>
                    <a:pt x="822" y="85"/>
                  </a:lnTo>
                  <a:lnTo>
                    <a:pt x="822" y="82"/>
                  </a:lnTo>
                  <a:lnTo>
                    <a:pt x="821" y="79"/>
                  </a:lnTo>
                  <a:lnTo>
                    <a:pt x="819" y="76"/>
                  </a:lnTo>
                  <a:lnTo>
                    <a:pt x="819" y="74"/>
                  </a:lnTo>
                  <a:lnTo>
                    <a:pt x="817" y="70"/>
                  </a:lnTo>
                  <a:lnTo>
                    <a:pt x="817" y="66"/>
                  </a:lnTo>
                  <a:lnTo>
                    <a:pt x="816" y="63"/>
                  </a:lnTo>
                  <a:lnTo>
                    <a:pt x="816" y="60"/>
                  </a:lnTo>
                  <a:lnTo>
                    <a:pt x="816" y="57"/>
                  </a:lnTo>
                  <a:lnTo>
                    <a:pt x="817" y="53"/>
                  </a:lnTo>
                  <a:lnTo>
                    <a:pt x="818" y="51"/>
                  </a:lnTo>
                  <a:lnTo>
                    <a:pt x="821" y="53"/>
                  </a:lnTo>
                  <a:lnTo>
                    <a:pt x="821" y="51"/>
                  </a:lnTo>
                  <a:lnTo>
                    <a:pt x="822" y="48"/>
                  </a:lnTo>
                  <a:lnTo>
                    <a:pt x="820" y="48"/>
                  </a:lnTo>
                  <a:lnTo>
                    <a:pt x="817" y="46"/>
                  </a:lnTo>
                  <a:lnTo>
                    <a:pt x="817" y="38"/>
                  </a:lnTo>
                  <a:lnTo>
                    <a:pt x="816" y="35"/>
                  </a:lnTo>
                  <a:lnTo>
                    <a:pt x="817" y="33"/>
                  </a:lnTo>
                  <a:lnTo>
                    <a:pt x="819" y="33"/>
                  </a:lnTo>
                  <a:lnTo>
                    <a:pt x="816" y="28"/>
                  </a:lnTo>
                  <a:lnTo>
                    <a:pt x="816" y="26"/>
                  </a:lnTo>
                  <a:lnTo>
                    <a:pt x="817" y="22"/>
                  </a:lnTo>
                  <a:lnTo>
                    <a:pt x="817" y="18"/>
                  </a:lnTo>
                  <a:lnTo>
                    <a:pt x="819" y="14"/>
                  </a:lnTo>
                  <a:lnTo>
                    <a:pt x="828" y="10"/>
                  </a:lnTo>
                  <a:lnTo>
                    <a:pt x="833" y="11"/>
                  </a:lnTo>
                  <a:lnTo>
                    <a:pt x="836" y="14"/>
                  </a:lnTo>
                  <a:lnTo>
                    <a:pt x="840" y="15"/>
                  </a:lnTo>
                  <a:lnTo>
                    <a:pt x="839" y="20"/>
                  </a:lnTo>
                  <a:lnTo>
                    <a:pt x="842" y="20"/>
                  </a:lnTo>
                  <a:lnTo>
                    <a:pt x="840" y="22"/>
                  </a:lnTo>
                  <a:lnTo>
                    <a:pt x="840" y="25"/>
                  </a:lnTo>
                  <a:lnTo>
                    <a:pt x="842" y="28"/>
                  </a:lnTo>
                  <a:lnTo>
                    <a:pt x="842" y="24"/>
                  </a:lnTo>
                  <a:lnTo>
                    <a:pt x="846" y="21"/>
                  </a:lnTo>
                  <a:lnTo>
                    <a:pt x="850" y="16"/>
                  </a:lnTo>
                  <a:lnTo>
                    <a:pt x="854" y="21"/>
                  </a:lnTo>
                  <a:lnTo>
                    <a:pt x="854" y="26"/>
                  </a:lnTo>
                  <a:lnTo>
                    <a:pt x="857" y="25"/>
                  </a:lnTo>
                  <a:lnTo>
                    <a:pt x="858" y="22"/>
                  </a:lnTo>
                  <a:lnTo>
                    <a:pt x="859" y="18"/>
                  </a:lnTo>
                  <a:lnTo>
                    <a:pt x="862" y="16"/>
                  </a:lnTo>
                  <a:lnTo>
                    <a:pt x="867" y="17"/>
                  </a:lnTo>
                  <a:lnTo>
                    <a:pt x="866" y="20"/>
                  </a:lnTo>
                  <a:lnTo>
                    <a:pt x="870" y="21"/>
                  </a:lnTo>
                  <a:lnTo>
                    <a:pt x="873" y="23"/>
                  </a:lnTo>
                  <a:lnTo>
                    <a:pt x="872" y="27"/>
                  </a:lnTo>
                  <a:lnTo>
                    <a:pt x="869" y="29"/>
                  </a:lnTo>
                  <a:lnTo>
                    <a:pt x="866" y="31"/>
                  </a:lnTo>
                  <a:lnTo>
                    <a:pt x="871" y="31"/>
                  </a:lnTo>
                  <a:lnTo>
                    <a:pt x="878" y="26"/>
                  </a:lnTo>
                  <a:lnTo>
                    <a:pt x="882" y="26"/>
                  </a:lnTo>
                  <a:lnTo>
                    <a:pt x="889" y="31"/>
                  </a:lnTo>
                  <a:lnTo>
                    <a:pt x="892" y="36"/>
                  </a:lnTo>
                  <a:lnTo>
                    <a:pt x="895" y="30"/>
                  </a:lnTo>
                  <a:lnTo>
                    <a:pt x="899" y="34"/>
                  </a:lnTo>
                  <a:lnTo>
                    <a:pt x="903" y="38"/>
                  </a:lnTo>
                  <a:lnTo>
                    <a:pt x="903" y="40"/>
                  </a:lnTo>
                  <a:lnTo>
                    <a:pt x="904" y="43"/>
                  </a:lnTo>
                  <a:lnTo>
                    <a:pt x="902" y="48"/>
                  </a:lnTo>
                  <a:lnTo>
                    <a:pt x="890" y="53"/>
                  </a:lnTo>
                  <a:lnTo>
                    <a:pt x="890" y="56"/>
                  </a:lnTo>
                  <a:lnTo>
                    <a:pt x="887" y="59"/>
                  </a:lnTo>
                  <a:lnTo>
                    <a:pt x="887" y="61"/>
                  </a:lnTo>
                  <a:lnTo>
                    <a:pt x="888" y="65"/>
                  </a:lnTo>
                  <a:lnTo>
                    <a:pt x="883" y="70"/>
                  </a:lnTo>
                  <a:lnTo>
                    <a:pt x="854" y="76"/>
                  </a:lnTo>
                  <a:lnTo>
                    <a:pt x="835" y="76"/>
                  </a:lnTo>
                  <a:lnTo>
                    <a:pt x="839" y="76"/>
                  </a:lnTo>
                  <a:lnTo>
                    <a:pt x="838" y="79"/>
                  </a:lnTo>
                  <a:lnTo>
                    <a:pt x="840" y="82"/>
                  </a:lnTo>
                  <a:lnTo>
                    <a:pt x="843" y="81"/>
                  </a:lnTo>
                  <a:lnTo>
                    <a:pt x="846" y="83"/>
                  </a:lnTo>
                  <a:lnTo>
                    <a:pt x="849" y="84"/>
                  </a:lnTo>
                  <a:lnTo>
                    <a:pt x="853" y="82"/>
                  </a:lnTo>
                  <a:lnTo>
                    <a:pt x="854" y="86"/>
                  </a:lnTo>
                  <a:lnTo>
                    <a:pt x="861" y="84"/>
                  </a:lnTo>
                  <a:lnTo>
                    <a:pt x="873" y="85"/>
                  </a:lnTo>
                  <a:lnTo>
                    <a:pt x="870" y="89"/>
                  </a:lnTo>
                  <a:lnTo>
                    <a:pt x="868" y="92"/>
                  </a:lnTo>
                  <a:lnTo>
                    <a:pt x="867" y="96"/>
                  </a:lnTo>
                  <a:lnTo>
                    <a:pt x="869" y="92"/>
                  </a:lnTo>
                  <a:lnTo>
                    <a:pt x="872" y="92"/>
                  </a:lnTo>
                  <a:lnTo>
                    <a:pt x="875" y="90"/>
                  </a:lnTo>
                  <a:lnTo>
                    <a:pt x="877" y="93"/>
                  </a:lnTo>
                  <a:lnTo>
                    <a:pt x="879" y="96"/>
                  </a:lnTo>
                  <a:lnTo>
                    <a:pt x="879" y="99"/>
                  </a:lnTo>
                  <a:lnTo>
                    <a:pt x="877" y="104"/>
                  </a:lnTo>
                  <a:lnTo>
                    <a:pt x="877" y="106"/>
                  </a:lnTo>
                  <a:lnTo>
                    <a:pt x="876" y="109"/>
                  </a:lnTo>
                  <a:lnTo>
                    <a:pt x="875" y="113"/>
                  </a:lnTo>
                  <a:lnTo>
                    <a:pt x="879" y="107"/>
                  </a:lnTo>
                  <a:lnTo>
                    <a:pt x="883" y="104"/>
                  </a:lnTo>
                  <a:lnTo>
                    <a:pt x="886" y="104"/>
                  </a:lnTo>
                  <a:lnTo>
                    <a:pt x="888" y="101"/>
                  </a:lnTo>
                  <a:lnTo>
                    <a:pt x="889" y="103"/>
                  </a:lnTo>
                  <a:lnTo>
                    <a:pt x="888" y="106"/>
                  </a:lnTo>
                  <a:lnTo>
                    <a:pt x="891" y="103"/>
                  </a:lnTo>
                  <a:lnTo>
                    <a:pt x="893" y="105"/>
                  </a:lnTo>
                  <a:lnTo>
                    <a:pt x="896" y="106"/>
                  </a:lnTo>
                  <a:lnTo>
                    <a:pt x="892" y="102"/>
                  </a:lnTo>
                  <a:lnTo>
                    <a:pt x="894" y="98"/>
                  </a:lnTo>
                  <a:lnTo>
                    <a:pt x="893" y="96"/>
                  </a:lnTo>
                  <a:lnTo>
                    <a:pt x="891" y="93"/>
                  </a:lnTo>
                  <a:lnTo>
                    <a:pt x="890" y="89"/>
                  </a:lnTo>
                  <a:lnTo>
                    <a:pt x="893" y="87"/>
                  </a:lnTo>
                  <a:lnTo>
                    <a:pt x="894" y="90"/>
                  </a:lnTo>
                  <a:lnTo>
                    <a:pt x="897" y="89"/>
                  </a:lnTo>
                  <a:lnTo>
                    <a:pt x="900" y="92"/>
                  </a:lnTo>
                  <a:lnTo>
                    <a:pt x="901" y="95"/>
                  </a:lnTo>
                  <a:lnTo>
                    <a:pt x="903" y="99"/>
                  </a:lnTo>
                  <a:lnTo>
                    <a:pt x="904" y="103"/>
                  </a:lnTo>
                  <a:lnTo>
                    <a:pt x="902" y="106"/>
                  </a:lnTo>
                  <a:lnTo>
                    <a:pt x="905" y="105"/>
                  </a:lnTo>
                  <a:lnTo>
                    <a:pt x="904" y="101"/>
                  </a:lnTo>
                  <a:lnTo>
                    <a:pt x="904" y="97"/>
                  </a:lnTo>
                  <a:lnTo>
                    <a:pt x="902" y="94"/>
                  </a:lnTo>
                  <a:lnTo>
                    <a:pt x="902" y="92"/>
                  </a:lnTo>
                  <a:lnTo>
                    <a:pt x="909" y="90"/>
                  </a:lnTo>
                  <a:lnTo>
                    <a:pt x="910" y="93"/>
                  </a:lnTo>
                  <a:lnTo>
                    <a:pt x="913" y="90"/>
                  </a:lnTo>
                  <a:lnTo>
                    <a:pt x="915" y="92"/>
                  </a:lnTo>
                  <a:lnTo>
                    <a:pt x="917" y="94"/>
                  </a:lnTo>
                  <a:lnTo>
                    <a:pt x="918" y="97"/>
                  </a:lnTo>
                  <a:lnTo>
                    <a:pt x="920" y="99"/>
                  </a:lnTo>
                  <a:lnTo>
                    <a:pt x="923" y="107"/>
                  </a:lnTo>
                  <a:lnTo>
                    <a:pt x="923" y="112"/>
                  </a:lnTo>
                  <a:lnTo>
                    <a:pt x="920" y="115"/>
                  </a:lnTo>
                  <a:lnTo>
                    <a:pt x="912" y="116"/>
                  </a:lnTo>
                  <a:lnTo>
                    <a:pt x="902" y="111"/>
                  </a:lnTo>
                  <a:lnTo>
                    <a:pt x="900" y="110"/>
                  </a:lnTo>
                  <a:lnTo>
                    <a:pt x="896" y="111"/>
                  </a:lnTo>
                  <a:lnTo>
                    <a:pt x="900" y="113"/>
                  </a:lnTo>
                  <a:lnTo>
                    <a:pt x="902" y="117"/>
                  </a:lnTo>
                  <a:lnTo>
                    <a:pt x="903" y="120"/>
                  </a:lnTo>
                  <a:lnTo>
                    <a:pt x="902" y="125"/>
                  </a:lnTo>
                  <a:lnTo>
                    <a:pt x="902" y="128"/>
                  </a:lnTo>
                  <a:lnTo>
                    <a:pt x="900" y="133"/>
                  </a:lnTo>
                  <a:lnTo>
                    <a:pt x="899" y="136"/>
                  </a:lnTo>
                  <a:lnTo>
                    <a:pt x="892" y="139"/>
                  </a:lnTo>
                  <a:lnTo>
                    <a:pt x="890" y="142"/>
                  </a:lnTo>
                  <a:lnTo>
                    <a:pt x="884" y="146"/>
                  </a:lnTo>
                  <a:lnTo>
                    <a:pt x="881" y="150"/>
                  </a:lnTo>
                  <a:lnTo>
                    <a:pt x="882" y="154"/>
                  </a:lnTo>
                  <a:lnTo>
                    <a:pt x="883" y="157"/>
                  </a:lnTo>
                  <a:lnTo>
                    <a:pt x="882" y="160"/>
                  </a:lnTo>
                  <a:lnTo>
                    <a:pt x="883" y="163"/>
                  </a:lnTo>
                  <a:lnTo>
                    <a:pt x="883" y="166"/>
                  </a:lnTo>
                  <a:lnTo>
                    <a:pt x="882" y="170"/>
                  </a:lnTo>
                  <a:lnTo>
                    <a:pt x="881" y="173"/>
                  </a:lnTo>
                  <a:lnTo>
                    <a:pt x="878" y="175"/>
                  </a:lnTo>
                  <a:lnTo>
                    <a:pt x="871" y="172"/>
                  </a:lnTo>
                  <a:lnTo>
                    <a:pt x="869" y="163"/>
                  </a:lnTo>
                  <a:lnTo>
                    <a:pt x="868" y="159"/>
                  </a:lnTo>
                  <a:lnTo>
                    <a:pt x="875" y="142"/>
                  </a:lnTo>
                  <a:lnTo>
                    <a:pt x="876" y="133"/>
                  </a:lnTo>
                  <a:lnTo>
                    <a:pt x="869" y="124"/>
                  </a:lnTo>
                  <a:lnTo>
                    <a:pt x="865" y="118"/>
                  </a:lnTo>
                  <a:lnTo>
                    <a:pt x="841" y="113"/>
                  </a:lnTo>
                  <a:lnTo>
                    <a:pt x="838" y="112"/>
                  </a:lnTo>
                  <a:lnTo>
                    <a:pt x="836" y="107"/>
                  </a:lnTo>
                  <a:lnTo>
                    <a:pt x="829" y="106"/>
                  </a:lnTo>
                  <a:lnTo>
                    <a:pt x="818" y="96"/>
                  </a:lnTo>
                  <a:lnTo>
                    <a:pt x="815" y="93"/>
                  </a:lnTo>
                  <a:lnTo>
                    <a:pt x="813" y="91"/>
                  </a:lnTo>
                  <a:lnTo>
                    <a:pt x="807" y="94"/>
                  </a:lnTo>
                  <a:lnTo>
                    <a:pt x="805" y="97"/>
                  </a:lnTo>
                  <a:lnTo>
                    <a:pt x="802" y="102"/>
                  </a:lnTo>
                  <a:lnTo>
                    <a:pt x="801" y="105"/>
                  </a:lnTo>
                  <a:lnTo>
                    <a:pt x="800" y="110"/>
                  </a:lnTo>
                  <a:lnTo>
                    <a:pt x="794" y="114"/>
                  </a:lnTo>
                  <a:lnTo>
                    <a:pt x="790" y="113"/>
                  </a:lnTo>
                  <a:lnTo>
                    <a:pt x="787" y="113"/>
                  </a:lnTo>
                  <a:lnTo>
                    <a:pt x="783" y="114"/>
                  </a:lnTo>
                  <a:lnTo>
                    <a:pt x="781" y="114"/>
                  </a:lnTo>
                  <a:lnTo>
                    <a:pt x="776" y="116"/>
                  </a:lnTo>
                  <a:lnTo>
                    <a:pt x="775" y="119"/>
                  </a:lnTo>
                  <a:lnTo>
                    <a:pt x="774" y="122"/>
                  </a:lnTo>
                  <a:lnTo>
                    <a:pt x="774" y="125"/>
                  </a:lnTo>
                  <a:lnTo>
                    <a:pt x="772" y="129"/>
                  </a:lnTo>
                  <a:lnTo>
                    <a:pt x="772" y="133"/>
                  </a:lnTo>
                  <a:lnTo>
                    <a:pt x="771" y="136"/>
                  </a:lnTo>
                  <a:lnTo>
                    <a:pt x="766" y="140"/>
                  </a:lnTo>
                  <a:lnTo>
                    <a:pt x="765" y="143"/>
                  </a:lnTo>
                  <a:lnTo>
                    <a:pt x="765" y="146"/>
                  </a:lnTo>
                  <a:lnTo>
                    <a:pt x="767" y="148"/>
                  </a:lnTo>
                  <a:lnTo>
                    <a:pt x="767" y="152"/>
                  </a:lnTo>
                  <a:lnTo>
                    <a:pt x="765" y="156"/>
                  </a:lnTo>
                  <a:lnTo>
                    <a:pt x="766" y="159"/>
                  </a:lnTo>
                  <a:lnTo>
                    <a:pt x="767" y="163"/>
                  </a:lnTo>
                  <a:lnTo>
                    <a:pt x="766" y="166"/>
                  </a:lnTo>
                  <a:lnTo>
                    <a:pt x="768" y="171"/>
                  </a:lnTo>
                  <a:lnTo>
                    <a:pt x="767" y="177"/>
                  </a:lnTo>
                  <a:lnTo>
                    <a:pt x="767" y="186"/>
                  </a:lnTo>
                  <a:lnTo>
                    <a:pt x="769" y="191"/>
                  </a:lnTo>
                  <a:lnTo>
                    <a:pt x="770" y="193"/>
                  </a:lnTo>
                  <a:lnTo>
                    <a:pt x="771" y="198"/>
                  </a:lnTo>
                  <a:lnTo>
                    <a:pt x="772" y="201"/>
                  </a:lnTo>
                  <a:lnTo>
                    <a:pt x="774" y="204"/>
                  </a:lnTo>
                  <a:lnTo>
                    <a:pt x="773" y="207"/>
                  </a:lnTo>
                  <a:lnTo>
                    <a:pt x="773" y="210"/>
                  </a:lnTo>
                  <a:lnTo>
                    <a:pt x="773" y="214"/>
                  </a:lnTo>
                  <a:lnTo>
                    <a:pt x="772" y="216"/>
                  </a:lnTo>
                  <a:lnTo>
                    <a:pt x="767" y="217"/>
                  </a:lnTo>
                  <a:lnTo>
                    <a:pt x="764" y="219"/>
                  </a:lnTo>
                  <a:lnTo>
                    <a:pt x="759" y="226"/>
                  </a:lnTo>
                  <a:lnTo>
                    <a:pt x="759" y="229"/>
                  </a:lnTo>
                  <a:lnTo>
                    <a:pt x="759" y="233"/>
                  </a:lnTo>
                  <a:lnTo>
                    <a:pt x="760" y="238"/>
                  </a:lnTo>
                  <a:lnTo>
                    <a:pt x="761" y="242"/>
                  </a:lnTo>
                  <a:lnTo>
                    <a:pt x="757" y="246"/>
                  </a:lnTo>
                  <a:lnTo>
                    <a:pt x="755" y="251"/>
                  </a:lnTo>
                  <a:lnTo>
                    <a:pt x="751" y="249"/>
                  </a:lnTo>
                  <a:lnTo>
                    <a:pt x="747" y="246"/>
                  </a:lnTo>
                  <a:lnTo>
                    <a:pt x="744" y="244"/>
                  </a:lnTo>
                  <a:lnTo>
                    <a:pt x="737" y="243"/>
                  </a:lnTo>
                  <a:lnTo>
                    <a:pt x="732" y="242"/>
                  </a:lnTo>
                  <a:lnTo>
                    <a:pt x="726" y="240"/>
                  </a:lnTo>
                  <a:lnTo>
                    <a:pt x="724" y="238"/>
                  </a:lnTo>
                  <a:lnTo>
                    <a:pt x="716" y="235"/>
                  </a:lnTo>
                  <a:lnTo>
                    <a:pt x="714" y="235"/>
                  </a:lnTo>
                  <a:lnTo>
                    <a:pt x="712" y="242"/>
                  </a:lnTo>
                  <a:lnTo>
                    <a:pt x="712" y="246"/>
                  </a:lnTo>
                  <a:lnTo>
                    <a:pt x="709" y="248"/>
                  </a:lnTo>
                  <a:lnTo>
                    <a:pt x="704" y="250"/>
                  </a:lnTo>
                  <a:lnTo>
                    <a:pt x="696" y="258"/>
                  </a:lnTo>
                  <a:lnTo>
                    <a:pt x="692" y="254"/>
                  </a:lnTo>
                  <a:lnTo>
                    <a:pt x="689" y="253"/>
                  </a:lnTo>
                  <a:lnTo>
                    <a:pt x="683" y="255"/>
                  </a:lnTo>
                  <a:lnTo>
                    <a:pt x="673" y="252"/>
                  </a:lnTo>
                  <a:lnTo>
                    <a:pt x="668" y="255"/>
                  </a:lnTo>
                  <a:lnTo>
                    <a:pt x="664" y="245"/>
                  </a:lnTo>
                  <a:lnTo>
                    <a:pt x="660" y="242"/>
                  </a:lnTo>
                  <a:lnTo>
                    <a:pt x="657" y="238"/>
                  </a:lnTo>
                  <a:lnTo>
                    <a:pt x="655" y="234"/>
                  </a:lnTo>
                  <a:lnTo>
                    <a:pt x="649" y="229"/>
                  </a:lnTo>
                  <a:lnTo>
                    <a:pt x="633" y="209"/>
                  </a:lnTo>
                  <a:lnTo>
                    <a:pt x="621" y="208"/>
                  </a:lnTo>
                  <a:lnTo>
                    <a:pt x="615" y="214"/>
                  </a:lnTo>
                  <a:lnTo>
                    <a:pt x="614" y="219"/>
                  </a:lnTo>
                  <a:lnTo>
                    <a:pt x="619" y="227"/>
                  </a:lnTo>
                  <a:lnTo>
                    <a:pt x="618" y="231"/>
                  </a:lnTo>
                  <a:lnTo>
                    <a:pt x="604" y="228"/>
                  </a:lnTo>
                  <a:lnTo>
                    <a:pt x="601" y="235"/>
                  </a:lnTo>
                  <a:lnTo>
                    <a:pt x="584" y="239"/>
                  </a:lnTo>
                  <a:lnTo>
                    <a:pt x="594" y="248"/>
                  </a:lnTo>
                  <a:lnTo>
                    <a:pt x="596" y="258"/>
                  </a:lnTo>
                  <a:lnTo>
                    <a:pt x="596" y="261"/>
                  </a:lnTo>
                  <a:lnTo>
                    <a:pt x="594" y="272"/>
                  </a:lnTo>
                  <a:lnTo>
                    <a:pt x="592" y="277"/>
                  </a:lnTo>
                  <a:lnTo>
                    <a:pt x="587" y="284"/>
                  </a:lnTo>
                  <a:lnTo>
                    <a:pt x="597" y="288"/>
                  </a:lnTo>
                  <a:lnTo>
                    <a:pt x="591" y="299"/>
                  </a:lnTo>
                  <a:lnTo>
                    <a:pt x="589" y="301"/>
                  </a:lnTo>
                  <a:lnTo>
                    <a:pt x="572" y="296"/>
                  </a:lnTo>
                  <a:lnTo>
                    <a:pt x="556" y="291"/>
                  </a:lnTo>
                  <a:lnTo>
                    <a:pt x="545" y="294"/>
                  </a:lnTo>
                  <a:lnTo>
                    <a:pt x="537" y="288"/>
                  </a:lnTo>
                  <a:lnTo>
                    <a:pt x="525" y="292"/>
                  </a:lnTo>
                  <a:lnTo>
                    <a:pt x="525" y="302"/>
                  </a:lnTo>
                  <a:lnTo>
                    <a:pt x="526" y="306"/>
                  </a:lnTo>
                  <a:lnTo>
                    <a:pt x="530" y="324"/>
                  </a:lnTo>
                  <a:lnTo>
                    <a:pt x="530" y="327"/>
                  </a:lnTo>
                  <a:lnTo>
                    <a:pt x="525" y="341"/>
                  </a:lnTo>
                  <a:lnTo>
                    <a:pt x="523" y="345"/>
                  </a:lnTo>
                  <a:lnTo>
                    <a:pt x="501" y="335"/>
                  </a:lnTo>
                  <a:lnTo>
                    <a:pt x="498" y="342"/>
                  </a:lnTo>
                  <a:lnTo>
                    <a:pt x="485" y="355"/>
                  </a:lnTo>
                  <a:lnTo>
                    <a:pt x="484" y="358"/>
                  </a:lnTo>
                  <a:lnTo>
                    <a:pt x="481" y="381"/>
                  </a:lnTo>
                  <a:lnTo>
                    <a:pt x="477" y="389"/>
                  </a:lnTo>
                  <a:lnTo>
                    <a:pt x="476" y="391"/>
                  </a:lnTo>
                  <a:lnTo>
                    <a:pt x="468" y="395"/>
                  </a:lnTo>
                  <a:lnTo>
                    <a:pt x="466" y="403"/>
                  </a:lnTo>
                  <a:lnTo>
                    <a:pt x="479" y="422"/>
                  </a:lnTo>
                  <a:lnTo>
                    <a:pt x="480" y="435"/>
                  </a:lnTo>
                  <a:lnTo>
                    <a:pt x="478" y="438"/>
                  </a:lnTo>
                  <a:lnTo>
                    <a:pt x="470" y="448"/>
                  </a:lnTo>
                  <a:lnTo>
                    <a:pt x="467" y="453"/>
                  </a:lnTo>
                  <a:lnTo>
                    <a:pt x="455" y="480"/>
                  </a:lnTo>
                  <a:lnTo>
                    <a:pt x="447" y="491"/>
                  </a:lnTo>
                  <a:lnTo>
                    <a:pt x="450" y="504"/>
                  </a:lnTo>
                  <a:lnTo>
                    <a:pt x="451" y="507"/>
                  </a:lnTo>
                  <a:lnTo>
                    <a:pt x="451" y="511"/>
                  </a:lnTo>
                  <a:lnTo>
                    <a:pt x="436" y="523"/>
                  </a:lnTo>
                  <a:lnTo>
                    <a:pt x="417" y="527"/>
                  </a:lnTo>
                  <a:lnTo>
                    <a:pt x="423" y="553"/>
                  </a:lnTo>
                  <a:lnTo>
                    <a:pt x="423" y="556"/>
                  </a:lnTo>
                  <a:lnTo>
                    <a:pt x="421" y="564"/>
                  </a:lnTo>
                  <a:lnTo>
                    <a:pt x="420" y="589"/>
                  </a:lnTo>
                  <a:lnTo>
                    <a:pt x="420" y="593"/>
                  </a:lnTo>
                  <a:lnTo>
                    <a:pt x="421" y="598"/>
                  </a:lnTo>
                  <a:lnTo>
                    <a:pt x="421" y="602"/>
                  </a:lnTo>
                  <a:lnTo>
                    <a:pt x="420" y="605"/>
                  </a:lnTo>
                  <a:lnTo>
                    <a:pt x="417" y="608"/>
                  </a:lnTo>
                  <a:lnTo>
                    <a:pt x="416" y="612"/>
                  </a:lnTo>
                  <a:lnTo>
                    <a:pt x="415" y="620"/>
                  </a:lnTo>
                  <a:lnTo>
                    <a:pt x="415" y="624"/>
                  </a:lnTo>
                  <a:lnTo>
                    <a:pt x="410" y="633"/>
                  </a:lnTo>
                  <a:lnTo>
                    <a:pt x="391" y="672"/>
                  </a:lnTo>
                  <a:lnTo>
                    <a:pt x="403" y="680"/>
                  </a:lnTo>
                  <a:lnTo>
                    <a:pt x="408" y="681"/>
                  </a:lnTo>
                  <a:lnTo>
                    <a:pt x="414" y="706"/>
                  </a:lnTo>
                  <a:lnTo>
                    <a:pt x="414" y="709"/>
                  </a:lnTo>
                  <a:lnTo>
                    <a:pt x="408" y="724"/>
                  </a:lnTo>
                  <a:lnTo>
                    <a:pt x="376" y="719"/>
                  </a:lnTo>
                  <a:lnTo>
                    <a:pt x="366" y="723"/>
                  </a:lnTo>
                  <a:lnTo>
                    <a:pt x="357" y="729"/>
                  </a:lnTo>
                  <a:lnTo>
                    <a:pt x="354" y="732"/>
                  </a:lnTo>
                  <a:lnTo>
                    <a:pt x="347" y="746"/>
                  </a:lnTo>
                  <a:lnTo>
                    <a:pt x="339" y="760"/>
                  </a:lnTo>
                  <a:lnTo>
                    <a:pt x="334" y="766"/>
                  </a:lnTo>
                  <a:lnTo>
                    <a:pt x="337" y="775"/>
                  </a:lnTo>
                  <a:lnTo>
                    <a:pt x="336" y="779"/>
                  </a:lnTo>
                  <a:lnTo>
                    <a:pt x="328" y="795"/>
                  </a:lnTo>
                  <a:lnTo>
                    <a:pt x="338" y="822"/>
                  </a:lnTo>
                  <a:lnTo>
                    <a:pt x="334" y="829"/>
                  </a:lnTo>
                  <a:lnTo>
                    <a:pt x="334" y="832"/>
                  </a:lnTo>
                  <a:lnTo>
                    <a:pt x="336" y="846"/>
                  </a:lnTo>
                  <a:lnTo>
                    <a:pt x="336" y="851"/>
                  </a:lnTo>
                  <a:lnTo>
                    <a:pt x="335" y="856"/>
                  </a:lnTo>
                  <a:lnTo>
                    <a:pt x="334" y="861"/>
                  </a:lnTo>
                  <a:lnTo>
                    <a:pt x="343" y="884"/>
                  </a:lnTo>
                  <a:lnTo>
                    <a:pt x="345" y="888"/>
                  </a:lnTo>
                  <a:lnTo>
                    <a:pt x="345" y="893"/>
                  </a:lnTo>
                  <a:lnTo>
                    <a:pt x="340" y="941"/>
                  </a:lnTo>
                  <a:lnTo>
                    <a:pt x="346" y="947"/>
                  </a:lnTo>
                  <a:lnTo>
                    <a:pt x="351" y="953"/>
                  </a:lnTo>
                  <a:lnTo>
                    <a:pt x="354" y="955"/>
                  </a:lnTo>
                  <a:lnTo>
                    <a:pt x="357" y="955"/>
                  </a:lnTo>
                  <a:lnTo>
                    <a:pt x="360" y="956"/>
                  </a:lnTo>
                  <a:lnTo>
                    <a:pt x="373" y="972"/>
                  </a:lnTo>
                  <a:lnTo>
                    <a:pt x="372" y="983"/>
                  </a:lnTo>
                  <a:lnTo>
                    <a:pt x="371" y="985"/>
                  </a:lnTo>
                  <a:lnTo>
                    <a:pt x="368" y="993"/>
                  </a:lnTo>
                  <a:lnTo>
                    <a:pt x="366" y="1002"/>
                  </a:lnTo>
                  <a:lnTo>
                    <a:pt x="360" y="1003"/>
                  </a:lnTo>
                  <a:lnTo>
                    <a:pt x="357" y="1003"/>
                  </a:lnTo>
                  <a:lnTo>
                    <a:pt x="347" y="1007"/>
                  </a:lnTo>
                  <a:lnTo>
                    <a:pt x="346" y="1010"/>
                  </a:lnTo>
                  <a:lnTo>
                    <a:pt x="348" y="1014"/>
                  </a:lnTo>
                  <a:lnTo>
                    <a:pt x="349" y="1017"/>
                  </a:lnTo>
                  <a:lnTo>
                    <a:pt x="350" y="1024"/>
                  </a:lnTo>
                  <a:lnTo>
                    <a:pt x="351" y="1027"/>
                  </a:lnTo>
                  <a:lnTo>
                    <a:pt x="352" y="1031"/>
                  </a:lnTo>
                  <a:lnTo>
                    <a:pt x="358" y="1039"/>
                  </a:lnTo>
                  <a:lnTo>
                    <a:pt x="363" y="1052"/>
                  </a:lnTo>
                  <a:lnTo>
                    <a:pt x="364" y="1055"/>
                  </a:lnTo>
                  <a:lnTo>
                    <a:pt x="364" y="1059"/>
                  </a:lnTo>
                  <a:lnTo>
                    <a:pt x="364" y="1062"/>
                  </a:lnTo>
                  <a:lnTo>
                    <a:pt x="363" y="1066"/>
                  </a:lnTo>
                  <a:lnTo>
                    <a:pt x="360" y="1071"/>
                  </a:lnTo>
                  <a:lnTo>
                    <a:pt x="359" y="1073"/>
                  </a:lnTo>
                  <a:lnTo>
                    <a:pt x="359" y="1077"/>
                  </a:lnTo>
                  <a:lnTo>
                    <a:pt x="361" y="1082"/>
                  </a:lnTo>
                  <a:lnTo>
                    <a:pt x="361" y="1086"/>
                  </a:lnTo>
                  <a:lnTo>
                    <a:pt x="361" y="1090"/>
                  </a:lnTo>
                  <a:lnTo>
                    <a:pt x="360" y="1093"/>
                  </a:lnTo>
                  <a:lnTo>
                    <a:pt x="358" y="1096"/>
                  </a:lnTo>
                  <a:lnTo>
                    <a:pt x="351" y="1105"/>
                  </a:lnTo>
                  <a:lnTo>
                    <a:pt x="344" y="1110"/>
                  </a:lnTo>
                  <a:lnTo>
                    <a:pt x="335" y="1110"/>
                  </a:lnTo>
                  <a:lnTo>
                    <a:pt x="333" y="1111"/>
                  </a:lnTo>
                  <a:lnTo>
                    <a:pt x="331" y="1116"/>
                  </a:lnTo>
                  <a:lnTo>
                    <a:pt x="333" y="1120"/>
                  </a:lnTo>
                  <a:lnTo>
                    <a:pt x="334" y="1123"/>
                  </a:lnTo>
                  <a:lnTo>
                    <a:pt x="333" y="1127"/>
                  </a:lnTo>
                  <a:lnTo>
                    <a:pt x="331" y="1133"/>
                  </a:lnTo>
                  <a:lnTo>
                    <a:pt x="324" y="1137"/>
                  </a:lnTo>
                  <a:lnTo>
                    <a:pt x="323" y="1141"/>
                  </a:lnTo>
                  <a:lnTo>
                    <a:pt x="329" y="1161"/>
                  </a:lnTo>
                  <a:lnTo>
                    <a:pt x="330" y="1167"/>
                  </a:lnTo>
                  <a:lnTo>
                    <a:pt x="331" y="1171"/>
                  </a:lnTo>
                  <a:lnTo>
                    <a:pt x="329" y="1174"/>
                  </a:lnTo>
                  <a:lnTo>
                    <a:pt x="328" y="1182"/>
                  </a:lnTo>
                  <a:lnTo>
                    <a:pt x="328" y="1186"/>
                  </a:lnTo>
                  <a:lnTo>
                    <a:pt x="326" y="1193"/>
                  </a:lnTo>
                  <a:lnTo>
                    <a:pt x="326" y="1198"/>
                  </a:lnTo>
                  <a:lnTo>
                    <a:pt x="324" y="1203"/>
                  </a:lnTo>
                  <a:lnTo>
                    <a:pt x="322" y="1205"/>
                  </a:lnTo>
                  <a:lnTo>
                    <a:pt x="319" y="1206"/>
                  </a:lnTo>
                  <a:lnTo>
                    <a:pt x="315" y="1206"/>
                  </a:lnTo>
                  <a:lnTo>
                    <a:pt x="313" y="1199"/>
                  </a:lnTo>
                  <a:lnTo>
                    <a:pt x="312" y="1197"/>
                  </a:lnTo>
                  <a:lnTo>
                    <a:pt x="311" y="1191"/>
                  </a:lnTo>
                  <a:lnTo>
                    <a:pt x="310" y="1188"/>
                  </a:lnTo>
                  <a:lnTo>
                    <a:pt x="309" y="1186"/>
                  </a:lnTo>
                  <a:lnTo>
                    <a:pt x="306" y="1184"/>
                  </a:lnTo>
                  <a:lnTo>
                    <a:pt x="302" y="1185"/>
                  </a:lnTo>
                  <a:lnTo>
                    <a:pt x="299" y="1183"/>
                  </a:lnTo>
                  <a:lnTo>
                    <a:pt x="300" y="1178"/>
                  </a:lnTo>
                  <a:lnTo>
                    <a:pt x="298" y="1181"/>
                  </a:lnTo>
                  <a:lnTo>
                    <a:pt x="293" y="1183"/>
                  </a:lnTo>
                  <a:lnTo>
                    <a:pt x="292" y="1181"/>
                  </a:lnTo>
                  <a:lnTo>
                    <a:pt x="289" y="1178"/>
                  </a:lnTo>
                  <a:lnTo>
                    <a:pt x="289" y="1182"/>
                  </a:lnTo>
                  <a:lnTo>
                    <a:pt x="286" y="1179"/>
                  </a:lnTo>
                  <a:lnTo>
                    <a:pt x="283" y="1180"/>
                  </a:lnTo>
                  <a:lnTo>
                    <a:pt x="281" y="1178"/>
                  </a:lnTo>
                  <a:lnTo>
                    <a:pt x="280" y="1174"/>
                  </a:lnTo>
                  <a:lnTo>
                    <a:pt x="279" y="1171"/>
                  </a:lnTo>
                  <a:lnTo>
                    <a:pt x="281" y="1167"/>
                  </a:lnTo>
                  <a:lnTo>
                    <a:pt x="276" y="1166"/>
                  </a:lnTo>
                  <a:lnTo>
                    <a:pt x="275" y="1162"/>
                  </a:lnTo>
                  <a:lnTo>
                    <a:pt x="275" y="1160"/>
                  </a:lnTo>
                  <a:lnTo>
                    <a:pt x="272" y="1156"/>
                  </a:lnTo>
                  <a:lnTo>
                    <a:pt x="273" y="1151"/>
                  </a:lnTo>
                  <a:lnTo>
                    <a:pt x="274" y="1155"/>
                  </a:lnTo>
                  <a:lnTo>
                    <a:pt x="276" y="1151"/>
                  </a:lnTo>
                  <a:lnTo>
                    <a:pt x="274" y="1147"/>
                  </a:lnTo>
                  <a:lnTo>
                    <a:pt x="274" y="1143"/>
                  </a:lnTo>
                  <a:lnTo>
                    <a:pt x="274" y="1139"/>
                  </a:lnTo>
                  <a:lnTo>
                    <a:pt x="273" y="1134"/>
                  </a:lnTo>
                  <a:lnTo>
                    <a:pt x="273" y="1131"/>
                  </a:lnTo>
                  <a:lnTo>
                    <a:pt x="270" y="1127"/>
                  </a:lnTo>
                  <a:lnTo>
                    <a:pt x="272" y="1120"/>
                  </a:lnTo>
                  <a:lnTo>
                    <a:pt x="274" y="1116"/>
                  </a:lnTo>
                  <a:lnTo>
                    <a:pt x="276" y="1118"/>
                  </a:lnTo>
                  <a:lnTo>
                    <a:pt x="276" y="1123"/>
                  </a:lnTo>
                  <a:lnTo>
                    <a:pt x="277" y="1128"/>
                  </a:lnTo>
                  <a:lnTo>
                    <a:pt x="278" y="1123"/>
                  </a:lnTo>
                  <a:lnTo>
                    <a:pt x="279" y="1120"/>
                  </a:lnTo>
                  <a:lnTo>
                    <a:pt x="279" y="1116"/>
                  </a:lnTo>
                  <a:lnTo>
                    <a:pt x="278" y="1113"/>
                  </a:lnTo>
                  <a:lnTo>
                    <a:pt x="276" y="1111"/>
                  </a:lnTo>
                  <a:lnTo>
                    <a:pt x="273" y="1112"/>
                  </a:lnTo>
                  <a:lnTo>
                    <a:pt x="270" y="1113"/>
                  </a:lnTo>
                  <a:lnTo>
                    <a:pt x="266" y="1117"/>
                  </a:lnTo>
                  <a:lnTo>
                    <a:pt x="266" y="1122"/>
                  </a:lnTo>
                  <a:lnTo>
                    <a:pt x="267" y="1126"/>
                  </a:lnTo>
                  <a:lnTo>
                    <a:pt x="267" y="1130"/>
                  </a:lnTo>
                  <a:lnTo>
                    <a:pt x="269" y="1133"/>
                  </a:lnTo>
                  <a:lnTo>
                    <a:pt x="272" y="1138"/>
                  </a:lnTo>
                  <a:lnTo>
                    <a:pt x="272" y="1143"/>
                  </a:lnTo>
                  <a:lnTo>
                    <a:pt x="269" y="1146"/>
                  </a:lnTo>
                  <a:lnTo>
                    <a:pt x="267" y="1148"/>
                  </a:lnTo>
                  <a:lnTo>
                    <a:pt x="264" y="1148"/>
                  </a:lnTo>
                  <a:lnTo>
                    <a:pt x="264" y="1145"/>
                  </a:lnTo>
                  <a:lnTo>
                    <a:pt x="264" y="1141"/>
                  </a:lnTo>
                  <a:lnTo>
                    <a:pt x="263" y="1137"/>
                  </a:lnTo>
                  <a:lnTo>
                    <a:pt x="263" y="1134"/>
                  </a:lnTo>
                  <a:lnTo>
                    <a:pt x="261" y="1131"/>
                  </a:lnTo>
                  <a:lnTo>
                    <a:pt x="256" y="1128"/>
                  </a:lnTo>
                  <a:lnTo>
                    <a:pt x="256" y="1131"/>
                  </a:lnTo>
                  <a:lnTo>
                    <a:pt x="261" y="1134"/>
                  </a:lnTo>
                  <a:lnTo>
                    <a:pt x="262" y="1137"/>
                  </a:lnTo>
                  <a:lnTo>
                    <a:pt x="262" y="1142"/>
                  </a:lnTo>
                  <a:lnTo>
                    <a:pt x="262" y="1146"/>
                  </a:lnTo>
                  <a:lnTo>
                    <a:pt x="259" y="1147"/>
                  </a:lnTo>
                  <a:lnTo>
                    <a:pt x="257" y="1144"/>
                  </a:lnTo>
                  <a:lnTo>
                    <a:pt x="256" y="1147"/>
                  </a:lnTo>
                  <a:lnTo>
                    <a:pt x="261" y="1154"/>
                  </a:lnTo>
                  <a:lnTo>
                    <a:pt x="265" y="1155"/>
                  </a:lnTo>
                  <a:lnTo>
                    <a:pt x="266" y="1158"/>
                  </a:lnTo>
                  <a:lnTo>
                    <a:pt x="265" y="1162"/>
                  </a:lnTo>
                  <a:lnTo>
                    <a:pt x="266" y="1165"/>
                  </a:lnTo>
                  <a:lnTo>
                    <a:pt x="267" y="1169"/>
                  </a:lnTo>
                  <a:lnTo>
                    <a:pt x="266" y="1173"/>
                  </a:lnTo>
                  <a:lnTo>
                    <a:pt x="264" y="1171"/>
                  </a:lnTo>
                  <a:lnTo>
                    <a:pt x="261" y="1173"/>
                  </a:lnTo>
                  <a:lnTo>
                    <a:pt x="260" y="1176"/>
                  </a:lnTo>
                  <a:lnTo>
                    <a:pt x="259" y="1179"/>
                  </a:lnTo>
                  <a:lnTo>
                    <a:pt x="259" y="1183"/>
                  </a:lnTo>
                  <a:lnTo>
                    <a:pt x="258" y="1188"/>
                  </a:lnTo>
                  <a:lnTo>
                    <a:pt x="257" y="1185"/>
                  </a:lnTo>
                  <a:lnTo>
                    <a:pt x="257" y="1191"/>
                  </a:lnTo>
                  <a:lnTo>
                    <a:pt x="255" y="1185"/>
                  </a:lnTo>
                  <a:lnTo>
                    <a:pt x="254" y="1188"/>
                  </a:lnTo>
                  <a:lnTo>
                    <a:pt x="255" y="1192"/>
                  </a:lnTo>
                  <a:lnTo>
                    <a:pt x="252" y="1196"/>
                  </a:lnTo>
                  <a:lnTo>
                    <a:pt x="249" y="1196"/>
                  </a:lnTo>
                  <a:lnTo>
                    <a:pt x="252" y="1193"/>
                  </a:lnTo>
                  <a:lnTo>
                    <a:pt x="248" y="1195"/>
                  </a:lnTo>
                  <a:lnTo>
                    <a:pt x="244" y="1197"/>
                  </a:lnTo>
                  <a:lnTo>
                    <a:pt x="242" y="1200"/>
                  </a:lnTo>
                  <a:lnTo>
                    <a:pt x="236" y="1201"/>
                  </a:lnTo>
                  <a:lnTo>
                    <a:pt x="235" y="1198"/>
                  </a:lnTo>
                  <a:lnTo>
                    <a:pt x="234" y="1193"/>
                  </a:lnTo>
                  <a:lnTo>
                    <a:pt x="232" y="1191"/>
                  </a:lnTo>
                  <a:lnTo>
                    <a:pt x="230" y="1190"/>
                  </a:lnTo>
                  <a:lnTo>
                    <a:pt x="228" y="1187"/>
                  </a:lnTo>
                  <a:lnTo>
                    <a:pt x="228" y="1190"/>
                  </a:lnTo>
                  <a:lnTo>
                    <a:pt x="226" y="1186"/>
                  </a:lnTo>
                  <a:lnTo>
                    <a:pt x="225" y="1183"/>
                  </a:lnTo>
                  <a:lnTo>
                    <a:pt x="221" y="1184"/>
                  </a:lnTo>
                  <a:lnTo>
                    <a:pt x="225" y="1189"/>
                  </a:lnTo>
                  <a:lnTo>
                    <a:pt x="226" y="1192"/>
                  </a:lnTo>
                  <a:lnTo>
                    <a:pt x="230" y="1198"/>
                  </a:lnTo>
                  <a:lnTo>
                    <a:pt x="224" y="1202"/>
                  </a:lnTo>
                  <a:lnTo>
                    <a:pt x="218" y="1203"/>
                  </a:lnTo>
                  <a:lnTo>
                    <a:pt x="218" y="1206"/>
                  </a:lnTo>
                  <a:lnTo>
                    <a:pt x="213" y="1206"/>
                  </a:lnTo>
                  <a:lnTo>
                    <a:pt x="211" y="1209"/>
                  </a:lnTo>
                  <a:lnTo>
                    <a:pt x="208" y="1212"/>
                  </a:lnTo>
                  <a:lnTo>
                    <a:pt x="212" y="1211"/>
                  </a:lnTo>
                  <a:lnTo>
                    <a:pt x="214" y="1211"/>
                  </a:lnTo>
                  <a:lnTo>
                    <a:pt x="217" y="1212"/>
                  </a:lnTo>
                  <a:lnTo>
                    <a:pt x="214" y="1215"/>
                  </a:lnTo>
                  <a:lnTo>
                    <a:pt x="212" y="1218"/>
                  </a:lnTo>
                  <a:lnTo>
                    <a:pt x="210" y="1220"/>
                  </a:lnTo>
                  <a:lnTo>
                    <a:pt x="207" y="1221"/>
                  </a:lnTo>
                  <a:lnTo>
                    <a:pt x="199" y="1220"/>
                  </a:lnTo>
                  <a:lnTo>
                    <a:pt x="202" y="1223"/>
                  </a:lnTo>
                  <a:lnTo>
                    <a:pt x="200" y="1220"/>
                  </a:lnTo>
                  <a:lnTo>
                    <a:pt x="205" y="1222"/>
                  </a:lnTo>
                  <a:lnTo>
                    <a:pt x="204" y="1225"/>
                  </a:lnTo>
                  <a:lnTo>
                    <a:pt x="199" y="1225"/>
                  </a:lnTo>
                  <a:lnTo>
                    <a:pt x="202" y="1225"/>
                  </a:lnTo>
                  <a:lnTo>
                    <a:pt x="202" y="1228"/>
                  </a:lnTo>
                  <a:lnTo>
                    <a:pt x="198" y="1231"/>
                  </a:lnTo>
                  <a:lnTo>
                    <a:pt x="194" y="1233"/>
                  </a:lnTo>
                  <a:lnTo>
                    <a:pt x="190" y="1232"/>
                  </a:lnTo>
                  <a:lnTo>
                    <a:pt x="192" y="1235"/>
                  </a:lnTo>
                  <a:lnTo>
                    <a:pt x="185" y="1245"/>
                  </a:lnTo>
                  <a:lnTo>
                    <a:pt x="181" y="1247"/>
                  </a:lnTo>
                  <a:lnTo>
                    <a:pt x="180" y="1250"/>
                  </a:lnTo>
                  <a:lnTo>
                    <a:pt x="179" y="1253"/>
                  </a:lnTo>
                  <a:lnTo>
                    <a:pt x="175" y="1257"/>
                  </a:lnTo>
                  <a:lnTo>
                    <a:pt x="171" y="1259"/>
                  </a:lnTo>
                  <a:lnTo>
                    <a:pt x="169" y="1263"/>
                  </a:lnTo>
                  <a:lnTo>
                    <a:pt x="167" y="1264"/>
                  </a:lnTo>
                  <a:lnTo>
                    <a:pt x="165" y="1264"/>
                  </a:lnTo>
                  <a:lnTo>
                    <a:pt x="163" y="1266"/>
                  </a:lnTo>
                  <a:lnTo>
                    <a:pt x="159" y="1268"/>
                  </a:lnTo>
                  <a:lnTo>
                    <a:pt x="157" y="1269"/>
                  </a:lnTo>
                  <a:lnTo>
                    <a:pt x="157" y="1272"/>
                  </a:lnTo>
                  <a:lnTo>
                    <a:pt x="155" y="1276"/>
                  </a:lnTo>
                  <a:lnTo>
                    <a:pt x="151" y="1278"/>
                  </a:lnTo>
                  <a:lnTo>
                    <a:pt x="147" y="1278"/>
                  </a:lnTo>
                  <a:lnTo>
                    <a:pt x="147" y="1275"/>
                  </a:lnTo>
                  <a:lnTo>
                    <a:pt x="147" y="1272"/>
                  </a:lnTo>
                  <a:lnTo>
                    <a:pt x="146" y="1268"/>
                  </a:lnTo>
                  <a:lnTo>
                    <a:pt x="146" y="1271"/>
                  </a:lnTo>
                  <a:lnTo>
                    <a:pt x="145" y="1275"/>
                  </a:lnTo>
                  <a:lnTo>
                    <a:pt x="142" y="1277"/>
                  </a:lnTo>
                  <a:lnTo>
                    <a:pt x="142" y="1280"/>
                  </a:lnTo>
                  <a:lnTo>
                    <a:pt x="132" y="1281"/>
                  </a:lnTo>
                  <a:lnTo>
                    <a:pt x="128" y="1281"/>
                  </a:lnTo>
                  <a:lnTo>
                    <a:pt x="125" y="1286"/>
                  </a:lnTo>
                  <a:lnTo>
                    <a:pt x="123" y="1283"/>
                  </a:lnTo>
                  <a:lnTo>
                    <a:pt x="114" y="1286"/>
                  </a:lnTo>
                  <a:lnTo>
                    <a:pt x="108" y="1284"/>
                  </a:lnTo>
                  <a:lnTo>
                    <a:pt x="104" y="1283"/>
                  </a:lnTo>
                  <a:lnTo>
                    <a:pt x="98" y="1283"/>
                  </a:lnTo>
                  <a:lnTo>
                    <a:pt x="98" y="1286"/>
                  </a:lnTo>
                  <a:lnTo>
                    <a:pt x="95" y="1287"/>
                  </a:lnTo>
                  <a:lnTo>
                    <a:pt x="94" y="1284"/>
                  </a:lnTo>
                  <a:lnTo>
                    <a:pt x="97" y="1282"/>
                  </a:lnTo>
                  <a:lnTo>
                    <a:pt x="99" y="1280"/>
                  </a:lnTo>
                  <a:lnTo>
                    <a:pt x="102" y="1279"/>
                  </a:lnTo>
                  <a:lnTo>
                    <a:pt x="97" y="1279"/>
                  </a:lnTo>
                  <a:lnTo>
                    <a:pt x="92" y="1282"/>
                  </a:lnTo>
                  <a:lnTo>
                    <a:pt x="93" y="1278"/>
                  </a:lnTo>
                  <a:lnTo>
                    <a:pt x="90" y="1280"/>
                  </a:lnTo>
                  <a:lnTo>
                    <a:pt x="90" y="1277"/>
                  </a:lnTo>
                  <a:lnTo>
                    <a:pt x="85" y="1278"/>
                  </a:lnTo>
                  <a:lnTo>
                    <a:pt x="88" y="1275"/>
                  </a:lnTo>
                  <a:lnTo>
                    <a:pt x="92" y="1275"/>
                  </a:lnTo>
                  <a:lnTo>
                    <a:pt x="90" y="1274"/>
                  </a:lnTo>
                  <a:lnTo>
                    <a:pt x="87" y="1273"/>
                  </a:lnTo>
                  <a:lnTo>
                    <a:pt x="85" y="1270"/>
                  </a:lnTo>
                  <a:lnTo>
                    <a:pt x="85" y="1274"/>
                  </a:lnTo>
                  <a:lnTo>
                    <a:pt x="83" y="1275"/>
                  </a:lnTo>
                  <a:lnTo>
                    <a:pt x="81" y="1270"/>
                  </a:lnTo>
                  <a:lnTo>
                    <a:pt x="80" y="1273"/>
                  </a:lnTo>
                  <a:lnTo>
                    <a:pt x="80" y="1276"/>
                  </a:lnTo>
                  <a:lnTo>
                    <a:pt x="82" y="1281"/>
                  </a:lnTo>
                  <a:lnTo>
                    <a:pt x="76" y="1279"/>
                  </a:lnTo>
                  <a:lnTo>
                    <a:pt x="72" y="1276"/>
                  </a:lnTo>
                  <a:lnTo>
                    <a:pt x="74" y="1272"/>
                  </a:lnTo>
                  <a:lnTo>
                    <a:pt x="75" y="1269"/>
                  </a:lnTo>
                  <a:lnTo>
                    <a:pt x="78" y="1269"/>
                  </a:lnTo>
                  <a:lnTo>
                    <a:pt x="79" y="1267"/>
                  </a:lnTo>
                  <a:lnTo>
                    <a:pt x="81" y="1265"/>
                  </a:lnTo>
                  <a:lnTo>
                    <a:pt x="83" y="1263"/>
                  </a:lnTo>
                  <a:lnTo>
                    <a:pt x="87" y="1260"/>
                  </a:lnTo>
                  <a:lnTo>
                    <a:pt x="83" y="1263"/>
                  </a:lnTo>
                  <a:lnTo>
                    <a:pt x="80" y="1265"/>
                  </a:lnTo>
                  <a:lnTo>
                    <a:pt x="77" y="1260"/>
                  </a:lnTo>
                  <a:lnTo>
                    <a:pt x="78" y="1258"/>
                  </a:lnTo>
                  <a:lnTo>
                    <a:pt x="77" y="1255"/>
                  </a:lnTo>
                  <a:lnTo>
                    <a:pt x="76" y="1260"/>
                  </a:lnTo>
                  <a:lnTo>
                    <a:pt x="74" y="1263"/>
                  </a:lnTo>
                  <a:lnTo>
                    <a:pt x="71" y="1260"/>
                  </a:lnTo>
                  <a:lnTo>
                    <a:pt x="64" y="1259"/>
                  </a:lnTo>
                  <a:lnTo>
                    <a:pt x="60" y="1255"/>
                  </a:lnTo>
                  <a:lnTo>
                    <a:pt x="57" y="1253"/>
                  </a:lnTo>
                  <a:lnTo>
                    <a:pt x="54" y="1252"/>
                  </a:lnTo>
                  <a:lnTo>
                    <a:pt x="51" y="1250"/>
                  </a:lnTo>
                  <a:lnTo>
                    <a:pt x="48" y="1248"/>
                  </a:lnTo>
                  <a:lnTo>
                    <a:pt x="46" y="1246"/>
                  </a:lnTo>
                  <a:lnTo>
                    <a:pt x="46" y="1243"/>
                  </a:lnTo>
                  <a:lnTo>
                    <a:pt x="46" y="1240"/>
                  </a:lnTo>
                  <a:lnTo>
                    <a:pt x="36" y="1238"/>
                  </a:lnTo>
                  <a:lnTo>
                    <a:pt x="35" y="1235"/>
                  </a:lnTo>
                  <a:lnTo>
                    <a:pt x="31" y="1232"/>
                  </a:lnTo>
                  <a:lnTo>
                    <a:pt x="29" y="1229"/>
                  </a:lnTo>
                  <a:lnTo>
                    <a:pt x="27" y="1224"/>
                  </a:lnTo>
                  <a:lnTo>
                    <a:pt x="25" y="1221"/>
                  </a:lnTo>
                  <a:lnTo>
                    <a:pt x="24" y="1218"/>
                  </a:lnTo>
                  <a:lnTo>
                    <a:pt x="23" y="1215"/>
                  </a:lnTo>
                  <a:lnTo>
                    <a:pt x="22" y="1212"/>
                  </a:lnTo>
                  <a:lnTo>
                    <a:pt x="24" y="1210"/>
                  </a:lnTo>
                  <a:lnTo>
                    <a:pt x="25" y="1207"/>
                  </a:lnTo>
                  <a:lnTo>
                    <a:pt x="26" y="1204"/>
                  </a:lnTo>
                  <a:lnTo>
                    <a:pt x="27" y="1201"/>
                  </a:lnTo>
                  <a:lnTo>
                    <a:pt x="29" y="1199"/>
                  </a:lnTo>
                  <a:lnTo>
                    <a:pt x="27" y="1196"/>
                  </a:lnTo>
                  <a:lnTo>
                    <a:pt x="31" y="1198"/>
                  </a:lnTo>
                  <a:lnTo>
                    <a:pt x="31" y="1195"/>
                  </a:lnTo>
                  <a:lnTo>
                    <a:pt x="31" y="1191"/>
                  </a:lnTo>
                  <a:lnTo>
                    <a:pt x="27" y="1190"/>
                  </a:lnTo>
                  <a:lnTo>
                    <a:pt x="29" y="1185"/>
                  </a:lnTo>
                  <a:lnTo>
                    <a:pt x="37" y="1192"/>
                  </a:lnTo>
                  <a:lnTo>
                    <a:pt x="36" y="1198"/>
                  </a:lnTo>
                  <a:lnTo>
                    <a:pt x="36" y="1201"/>
                  </a:lnTo>
                  <a:lnTo>
                    <a:pt x="37" y="1197"/>
                  </a:lnTo>
                  <a:lnTo>
                    <a:pt x="40" y="1197"/>
                  </a:lnTo>
                  <a:lnTo>
                    <a:pt x="42" y="1193"/>
                  </a:lnTo>
                  <a:lnTo>
                    <a:pt x="46" y="1196"/>
                  </a:lnTo>
                  <a:lnTo>
                    <a:pt x="48" y="1199"/>
                  </a:lnTo>
                  <a:lnTo>
                    <a:pt x="54" y="1205"/>
                  </a:lnTo>
                  <a:lnTo>
                    <a:pt x="60" y="1207"/>
                  </a:lnTo>
                  <a:lnTo>
                    <a:pt x="55" y="1205"/>
                  </a:lnTo>
                  <a:lnTo>
                    <a:pt x="53" y="1200"/>
                  </a:lnTo>
                  <a:lnTo>
                    <a:pt x="55" y="1196"/>
                  </a:lnTo>
                  <a:lnTo>
                    <a:pt x="60" y="1192"/>
                  </a:lnTo>
                  <a:lnTo>
                    <a:pt x="80" y="1187"/>
                  </a:lnTo>
                  <a:lnTo>
                    <a:pt x="67" y="1188"/>
                  </a:lnTo>
                  <a:lnTo>
                    <a:pt x="65" y="1190"/>
                  </a:lnTo>
                  <a:lnTo>
                    <a:pt x="58" y="1191"/>
                  </a:lnTo>
                  <a:lnTo>
                    <a:pt x="51" y="1200"/>
                  </a:lnTo>
                  <a:lnTo>
                    <a:pt x="49" y="1196"/>
                  </a:lnTo>
                  <a:lnTo>
                    <a:pt x="49" y="1192"/>
                  </a:lnTo>
                  <a:lnTo>
                    <a:pt x="52" y="1191"/>
                  </a:lnTo>
                  <a:lnTo>
                    <a:pt x="51" y="1188"/>
                  </a:lnTo>
                  <a:lnTo>
                    <a:pt x="48" y="1189"/>
                  </a:lnTo>
                  <a:lnTo>
                    <a:pt x="45" y="1184"/>
                  </a:lnTo>
                  <a:lnTo>
                    <a:pt x="46" y="1180"/>
                  </a:lnTo>
                  <a:lnTo>
                    <a:pt x="52" y="1179"/>
                  </a:lnTo>
                  <a:lnTo>
                    <a:pt x="56" y="1177"/>
                  </a:lnTo>
                  <a:lnTo>
                    <a:pt x="53" y="1177"/>
                  </a:lnTo>
                  <a:lnTo>
                    <a:pt x="53" y="1174"/>
                  </a:lnTo>
                  <a:lnTo>
                    <a:pt x="55" y="1171"/>
                  </a:lnTo>
                  <a:lnTo>
                    <a:pt x="58" y="1169"/>
                  </a:lnTo>
                  <a:lnTo>
                    <a:pt x="60" y="1167"/>
                  </a:lnTo>
                  <a:lnTo>
                    <a:pt x="64" y="1165"/>
                  </a:lnTo>
                  <a:lnTo>
                    <a:pt x="67" y="1162"/>
                  </a:lnTo>
                  <a:lnTo>
                    <a:pt x="69" y="1162"/>
                  </a:lnTo>
                  <a:lnTo>
                    <a:pt x="74" y="1162"/>
                  </a:lnTo>
                  <a:lnTo>
                    <a:pt x="68" y="1161"/>
                  </a:lnTo>
                  <a:lnTo>
                    <a:pt x="61" y="1165"/>
                  </a:lnTo>
                  <a:lnTo>
                    <a:pt x="59" y="1166"/>
                  </a:lnTo>
                  <a:lnTo>
                    <a:pt x="56" y="1162"/>
                  </a:lnTo>
                  <a:lnTo>
                    <a:pt x="63" y="1162"/>
                  </a:lnTo>
                  <a:lnTo>
                    <a:pt x="62" y="1158"/>
                  </a:lnTo>
                  <a:lnTo>
                    <a:pt x="60" y="1161"/>
                  </a:lnTo>
                  <a:lnTo>
                    <a:pt x="56" y="1161"/>
                  </a:lnTo>
                  <a:lnTo>
                    <a:pt x="55" y="1158"/>
                  </a:lnTo>
                  <a:lnTo>
                    <a:pt x="53" y="1160"/>
                  </a:lnTo>
                  <a:lnTo>
                    <a:pt x="53" y="1157"/>
                  </a:lnTo>
                  <a:lnTo>
                    <a:pt x="56" y="1153"/>
                  </a:lnTo>
                  <a:lnTo>
                    <a:pt x="59" y="1152"/>
                  </a:lnTo>
                  <a:lnTo>
                    <a:pt x="61" y="1150"/>
                  </a:lnTo>
                  <a:lnTo>
                    <a:pt x="63" y="1146"/>
                  </a:lnTo>
                  <a:lnTo>
                    <a:pt x="73" y="1141"/>
                  </a:lnTo>
                  <a:lnTo>
                    <a:pt x="79" y="1140"/>
                  </a:lnTo>
                  <a:lnTo>
                    <a:pt x="69" y="1140"/>
                  </a:lnTo>
                  <a:lnTo>
                    <a:pt x="66" y="1142"/>
                  </a:lnTo>
                  <a:lnTo>
                    <a:pt x="66" y="1140"/>
                  </a:lnTo>
                  <a:lnTo>
                    <a:pt x="67" y="1137"/>
                  </a:lnTo>
                  <a:lnTo>
                    <a:pt x="67" y="1133"/>
                  </a:lnTo>
                  <a:lnTo>
                    <a:pt x="65" y="1136"/>
                  </a:lnTo>
                  <a:lnTo>
                    <a:pt x="65" y="1139"/>
                  </a:lnTo>
                  <a:lnTo>
                    <a:pt x="63" y="1142"/>
                  </a:lnTo>
                  <a:lnTo>
                    <a:pt x="61" y="1148"/>
                  </a:lnTo>
                  <a:lnTo>
                    <a:pt x="57" y="1151"/>
                  </a:lnTo>
                  <a:lnTo>
                    <a:pt x="54" y="1153"/>
                  </a:lnTo>
                  <a:lnTo>
                    <a:pt x="53" y="1151"/>
                  </a:lnTo>
                  <a:lnTo>
                    <a:pt x="51" y="1153"/>
                  </a:lnTo>
                  <a:lnTo>
                    <a:pt x="50" y="1157"/>
                  </a:lnTo>
                  <a:lnTo>
                    <a:pt x="47" y="1152"/>
                  </a:lnTo>
                  <a:lnTo>
                    <a:pt x="47" y="1149"/>
                  </a:lnTo>
                  <a:lnTo>
                    <a:pt x="60" y="1147"/>
                  </a:lnTo>
                  <a:lnTo>
                    <a:pt x="58" y="1145"/>
                  </a:lnTo>
                  <a:lnTo>
                    <a:pt x="54" y="1147"/>
                  </a:lnTo>
                  <a:lnTo>
                    <a:pt x="48" y="1146"/>
                  </a:lnTo>
                  <a:lnTo>
                    <a:pt x="45" y="1141"/>
                  </a:lnTo>
                  <a:lnTo>
                    <a:pt x="43" y="1141"/>
                  </a:lnTo>
                  <a:lnTo>
                    <a:pt x="44" y="1144"/>
                  </a:lnTo>
                  <a:lnTo>
                    <a:pt x="43" y="1147"/>
                  </a:lnTo>
                  <a:lnTo>
                    <a:pt x="41" y="1149"/>
                  </a:lnTo>
                  <a:lnTo>
                    <a:pt x="39" y="1146"/>
                  </a:lnTo>
                  <a:lnTo>
                    <a:pt x="38" y="1150"/>
                  </a:lnTo>
                  <a:lnTo>
                    <a:pt x="36" y="1152"/>
                  </a:lnTo>
                  <a:lnTo>
                    <a:pt x="40" y="1150"/>
                  </a:lnTo>
                  <a:lnTo>
                    <a:pt x="43" y="1150"/>
                  </a:lnTo>
                  <a:lnTo>
                    <a:pt x="46" y="1154"/>
                  </a:lnTo>
                  <a:lnTo>
                    <a:pt x="46" y="1158"/>
                  </a:lnTo>
                  <a:lnTo>
                    <a:pt x="42" y="1158"/>
                  </a:lnTo>
                  <a:lnTo>
                    <a:pt x="40" y="1159"/>
                  </a:lnTo>
                  <a:lnTo>
                    <a:pt x="37" y="1161"/>
                  </a:lnTo>
                  <a:lnTo>
                    <a:pt x="34" y="1162"/>
                  </a:lnTo>
                  <a:lnTo>
                    <a:pt x="35" y="1159"/>
                  </a:lnTo>
                  <a:lnTo>
                    <a:pt x="35" y="1157"/>
                  </a:lnTo>
                  <a:lnTo>
                    <a:pt x="34" y="1153"/>
                  </a:lnTo>
                  <a:lnTo>
                    <a:pt x="32" y="1158"/>
                  </a:lnTo>
                  <a:lnTo>
                    <a:pt x="31" y="1161"/>
                  </a:lnTo>
                  <a:lnTo>
                    <a:pt x="29" y="1163"/>
                  </a:lnTo>
                  <a:lnTo>
                    <a:pt x="25" y="1162"/>
                  </a:lnTo>
                  <a:lnTo>
                    <a:pt x="24" y="1158"/>
                  </a:lnTo>
                  <a:lnTo>
                    <a:pt x="25" y="1155"/>
                  </a:lnTo>
                  <a:lnTo>
                    <a:pt x="25" y="1151"/>
                  </a:lnTo>
                  <a:lnTo>
                    <a:pt x="23" y="1156"/>
                  </a:lnTo>
                  <a:lnTo>
                    <a:pt x="23" y="1159"/>
                  </a:lnTo>
                  <a:lnTo>
                    <a:pt x="21" y="1156"/>
                  </a:lnTo>
                  <a:lnTo>
                    <a:pt x="21" y="1153"/>
                  </a:lnTo>
                  <a:lnTo>
                    <a:pt x="21" y="1150"/>
                  </a:lnTo>
                  <a:lnTo>
                    <a:pt x="20" y="1155"/>
                  </a:lnTo>
                  <a:lnTo>
                    <a:pt x="16" y="1149"/>
                  </a:lnTo>
                  <a:lnTo>
                    <a:pt x="14" y="1145"/>
                  </a:lnTo>
                  <a:lnTo>
                    <a:pt x="14" y="1142"/>
                  </a:lnTo>
                  <a:lnTo>
                    <a:pt x="15" y="1140"/>
                  </a:lnTo>
                  <a:lnTo>
                    <a:pt x="17" y="1137"/>
                  </a:lnTo>
                  <a:lnTo>
                    <a:pt x="19" y="1133"/>
                  </a:lnTo>
                  <a:lnTo>
                    <a:pt x="21" y="1130"/>
                  </a:lnTo>
                  <a:lnTo>
                    <a:pt x="23" y="1129"/>
                  </a:lnTo>
                  <a:lnTo>
                    <a:pt x="25" y="1133"/>
                  </a:lnTo>
                  <a:lnTo>
                    <a:pt x="26" y="1130"/>
                  </a:lnTo>
                  <a:lnTo>
                    <a:pt x="25" y="1127"/>
                  </a:lnTo>
                  <a:lnTo>
                    <a:pt x="27" y="1123"/>
                  </a:lnTo>
                  <a:lnTo>
                    <a:pt x="31" y="1120"/>
                  </a:lnTo>
                  <a:lnTo>
                    <a:pt x="31" y="1124"/>
                  </a:lnTo>
                  <a:lnTo>
                    <a:pt x="30" y="1129"/>
                  </a:lnTo>
                  <a:lnTo>
                    <a:pt x="29" y="1132"/>
                  </a:lnTo>
                  <a:lnTo>
                    <a:pt x="30" y="1135"/>
                  </a:lnTo>
                  <a:lnTo>
                    <a:pt x="27" y="1138"/>
                  </a:lnTo>
                  <a:lnTo>
                    <a:pt x="24" y="1142"/>
                  </a:lnTo>
                  <a:lnTo>
                    <a:pt x="30" y="1140"/>
                  </a:lnTo>
                  <a:lnTo>
                    <a:pt x="32" y="1136"/>
                  </a:lnTo>
                  <a:lnTo>
                    <a:pt x="32" y="1133"/>
                  </a:lnTo>
                  <a:lnTo>
                    <a:pt x="32" y="1130"/>
                  </a:lnTo>
                  <a:lnTo>
                    <a:pt x="34" y="1127"/>
                  </a:lnTo>
                  <a:lnTo>
                    <a:pt x="40" y="1128"/>
                  </a:lnTo>
                  <a:lnTo>
                    <a:pt x="40" y="1134"/>
                  </a:lnTo>
                  <a:lnTo>
                    <a:pt x="43" y="1131"/>
                  </a:lnTo>
                  <a:lnTo>
                    <a:pt x="45" y="1129"/>
                  </a:lnTo>
                  <a:lnTo>
                    <a:pt x="44" y="1129"/>
                  </a:lnTo>
                  <a:lnTo>
                    <a:pt x="45" y="1123"/>
                  </a:lnTo>
                  <a:lnTo>
                    <a:pt x="48" y="1121"/>
                  </a:lnTo>
                  <a:lnTo>
                    <a:pt x="50" y="1119"/>
                  </a:lnTo>
                  <a:lnTo>
                    <a:pt x="54" y="1122"/>
                  </a:lnTo>
                  <a:lnTo>
                    <a:pt x="56" y="1121"/>
                  </a:lnTo>
                  <a:lnTo>
                    <a:pt x="62" y="1116"/>
                  </a:lnTo>
                  <a:lnTo>
                    <a:pt x="68" y="1113"/>
                  </a:lnTo>
                  <a:lnTo>
                    <a:pt x="66" y="1112"/>
                  </a:lnTo>
                  <a:lnTo>
                    <a:pt x="60" y="1116"/>
                  </a:lnTo>
                  <a:lnTo>
                    <a:pt x="56" y="1119"/>
                  </a:lnTo>
                  <a:lnTo>
                    <a:pt x="53" y="1119"/>
                  </a:lnTo>
                  <a:lnTo>
                    <a:pt x="52" y="1116"/>
                  </a:lnTo>
                  <a:lnTo>
                    <a:pt x="53" y="1112"/>
                  </a:lnTo>
                  <a:lnTo>
                    <a:pt x="51" y="1115"/>
                  </a:lnTo>
                  <a:lnTo>
                    <a:pt x="47" y="1118"/>
                  </a:lnTo>
                  <a:lnTo>
                    <a:pt x="43" y="1112"/>
                  </a:lnTo>
                  <a:lnTo>
                    <a:pt x="42" y="1109"/>
                  </a:lnTo>
                  <a:lnTo>
                    <a:pt x="45" y="1103"/>
                  </a:lnTo>
                  <a:lnTo>
                    <a:pt x="47" y="1102"/>
                  </a:lnTo>
                  <a:lnTo>
                    <a:pt x="54" y="1101"/>
                  </a:lnTo>
                  <a:lnTo>
                    <a:pt x="55" y="1099"/>
                  </a:lnTo>
                  <a:lnTo>
                    <a:pt x="57" y="1092"/>
                  </a:lnTo>
                  <a:lnTo>
                    <a:pt x="61" y="1089"/>
                  </a:lnTo>
                  <a:lnTo>
                    <a:pt x="70" y="1087"/>
                  </a:lnTo>
                  <a:lnTo>
                    <a:pt x="69" y="1084"/>
                  </a:lnTo>
                  <a:lnTo>
                    <a:pt x="64" y="1087"/>
                  </a:lnTo>
                  <a:lnTo>
                    <a:pt x="61" y="1082"/>
                  </a:lnTo>
                  <a:lnTo>
                    <a:pt x="60" y="1079"/>
                  </a:lnTo>
                  <a:lnTo>
                    <a:pt x="63" y="1078"/>
                  </a:lnTo>
                  <a:lnTo>
                    <a:pt x="66" y="1074"/>
                  </a:lnTo>
                  <a:lnTo>
                    <a:pt x="67" y="1070"/>
                  </a:lnTo>
                  <a:lnTo>
                    <a:pt x="69" y="1070"/>
                  </a:lnTo>
                  <a:lnTo>
                    <a:pt x="72" y="1067"/>
                  </a:lnTo>
                  <a:lnTo>
                    <a:pt x="74" y="1065"/>
                  </a:lnTo>
                  <a:lnTo>
                    <a:pt x="78" y="1063"/>
                  </a:lnTo>
                  <a:lnTo>
                    <a:pt x="80" y="1060"/>
                  </a:lnTo>
                  <a:lnTo>
                    <a:pt x="83" y="1059"/>
                  </a:lnTo>
                  <a:lnTo>
                    <a:pt x="87" y="1061"/>
                  </a:lnTo>
                  <a:lnTo>
                    <a:pt x="85" y="1065"/>
                  </a:lnTo>
                  <a:lnTo>
                    <a:pt x="84" y="1068"/>
                  </a:lnTo>
                  <a:lnTo>
                    <a:pt x="83" y="1072"/>
                  </a:lnTo>
                  <a:lnTo>
                    <a:pt x="82" y="1075"/>
                  </a:lnTo>
                  <a:lnTo>
                    <a:pt x="81" y="1082"/>
                  </a:lnTo>
                  <a:lnTo>
                    <a:pt x="80" y="1085"/>
                  </a:lnTo>
                  <a:lnTo>
                    <a:pt x="80" y="1089"/>
                  </a:lnTo>
                  <a:lnTo>
                    <a:pt x="80" y="1091"/>
                  </a:lnTo>
                  <a:lnTo>
                    <a:pt x="81" y="1086"/>
                  </a:lnTo>
                  <a:lnTo>
                    <a:pt x="81" y="1084"/>
                  </a:lnTo>
                  <a:lnTo>
                    <a:pt x="84" y="1078"/>
                  </a:lnTo>
                  <a:lnTo>
                    <a:pt x="83" y="1074"/>
                  </a:lnTo>
                  <a:lnTo>
                    <a:pt x="87" y="1066"/>
                  </a:lnTo>
                  <a:lnTo>
                    <a:pt x="89" y="1063"/>
                  </a:lnTo>
                  <a:lnTo>
                    <a:pt x="92" y="1058"/>
                  </a:lnTo>
                  <a:lnTo>
                    <a:pt x="95" y="1055"/>
                  </a:lnTo>
                  <a:lnTo>
                    <a:pt x="102" y="1053"/>
                  </a:lnTo>
                  <a:lnTo>
                    <a:pt x="106" y="1055"/>
                  </a:lnTo>
                  <a:lnTo>
                    <a:pt x="101" y="1052"/>
                  </a:lnTo>
                  <a:lnTo>
                    <a:pt x="103" y="1049"/>
                  </a:lnTo>
                  <a:lnTo>
                    <a:pt x="106" y="1045"/>
                  </a:lnTo>
                  <a:lnTo>
                    <a:pt x="103" y="1046"/>
                  </a:lnTo>
                  <a:lnTo>
                    <a:pt x="98" y="1052"/>
                  </a:lnTo>
                  <a:lnTo>
                    <a:pt x="94" y="1054"/>
                  </a:lnTo>
                  <a:lnTo>
                    <a:pt x="89" y="1059"/>
                  </a:lnTo>
                  <a:lnTo>
                    <a:pt x="85" y="1058"/>
                  </a:lnTo>
                  <a:lnTo>
                    <a:pt x="89" y="1052"/>
                  </a:lnTo>
                  <a:lnTo>
                    <a:pt x="84" y="1055"/>
                  </a:lnTo>
                  <a:lnTo>
                    <a:pt x="82" y="1056"/>
                  </a:lnTo>
                  <a:lnTo>
                    <a:pt x="78" y="1059"/>
                  </a:lnTo>
                  <a:lnTo>
                    <a:pt x="75" y="1059"/>
                  </a:lnTo>
                  <a:lnTo>
                    <a:pt x="73" y="1062"/>
                  </a:lnTo>
                  <a:lnTo>
                    <a:pt x="70" y="1062"/>
                  </a:lnTo>
                  <a:lnTo>
                    <a:pt x="68" y="1060"/>
                  </a:lnTo>
                  <a:lnTo>
                    <a:pt x="67" y="1054"/>
                  </a:lnTo>
                  <a:lnTo>
                    <a:pt x="67" y="1058"/>
                  </a:lnTo>
                  <a:lnTo>
                    <a:pt x="69" y="1062"/>
                  </a:lnTo>
                  <a:lnTo>
                    <a:pt x="64" y="1064"/>
                  </a:lnTo>
                  <a:lnTo>
                    <a:pt x="66" y="1065"/>
                  </a:lnTo>
                  <a:lnTo>
                    <a:pt x="64" y="1068"/>
                  </a:lnTo>
                  <a:lnTo>
                    <a:pt x="64" y="1071"/>
                  </a:lnTo>
                  <a:lnTo>
                    <a:pt x="64" y="1074"/>
                  </a:lnTo>
                  <a:lnTo>
                    <a:pt x="61" y="1075"/>
                  </a:lnTo>
                  <a:lnTo>
                    <a:pt x="57" y="1073"/>
                  </a:lnTo>
                  <a:lnTo>
                    <a:pt x="56" y="1076"/>
                  </a:lnTo>
                  <a:lnTo>
                    <a:pt x="54" y="1080"/>
                  </a:lnTo>
                  <a:lnTo>
                    <a:pt x="52" y="1082"/>
                  </a:lnTo>
                  <a:lnTo>
                    <a:pt x="50" y="1089"/>
                  </a:lnTo>
                  <a:lnTo>
                    <a:pt x="50" y="1092"/>
                  </a:lnTo>
                  <a:lnTo>
                    <a:pt x="48" y="1096"/>
                  </a:lnTo>
                  <a:lnTo>
                    <a:pt x="44" y="1097"/>
                  </a:lnTo>
                  <a:lnTo>
                    <a:pt x="42" y="1091"/>
                  </a:lnTo>
                  <a:lnTo>
                    <a:pt x="44" y="1091"/>
                  </a:lnTo>
                  <a:lnTo>
                    <a:pt x="47" y="1088"/>
                  </a:lnTo>
                  <a:lnTo>
                    <a:pt x="43" y="1088"/>
                  </a:lnTo>
                  <a:lnTo>
                    <a:pt x="44" y="1085"/>
                  </a:lnTo>
                  <a:lnTo>
                    <a:pt x="43" y="1080"/>
                  </a:lnTo>
                  <a:lnTo>
                    <a:pt x="47" y="1078"/>
                  </a:lnTo>
                  <a:lnTo>
                    <a:pt x="44" y="1078"/>
                  </a:lnTo>
                  <a:lnTo>
                    <a:pt x="41" y="1082"/>
                  </a:lnTo>
                  <a:lnTo>
                    <a:pt x="38" y="1084"/>
                  </a:lnTo>
                  <a:lnTo>
                    <a:pt x="37" y="1079"/>
                  </a:lnTo>
                  <a:lnTo>
                    <a:pt x="42" y="1076"/>
                  </a:lnTo>
                  <a:lnTo>
                    <a:pt x="40" y="1071"/>
                  </a:lnTo>
                  <a:lnTo>
                    <a:pt x="38" y="1074"/>
                  </a:lnTo>
                  <a:lnTo>
                    <a:pt x="39" y="1071"/>
                  </a:lnTo>
                  <a:lnTo>
                    <a:pt x="41" y="1068"/>
                  </a:lnTo>
                  <a:lnTo>
                    <a:pt x="42" y="1065"/>
                  </a:lnTo>
                  <a:lnTo>
                    <a:pt x="45" y="1063"/>
                  </a:lnTo>
                  <a:lnTo>
                    <a:pt x="41" y="1063"/>
                  </a:lnTo>
                  <a:lnTo>
                    <a:pt x="39" y="1066"/>
                  </a:lnTo>
                  <a:lnTo>
                    <a:pt x="38" y="1070"/>
                  </a:lnTo>
                  <a:lnTo>
                    <a:pt x="35" y="1075"/>
                  </a:lnTo>
                  <a:lnTo>
                    <a:pt x="33" y="1079"/>
                  </a:lnTo>
                  <a:lnTo>
                    <a:pt x="30" y="1083"/>
                  </a:lnTo>
                  <a:lnTo>
                    <a:pt x="26" y="1081"/>
                  </a:lnTo>
                  <a:lnTo>
                    <a:pt x="24" y="1078"/>
                  </a:lnTo>
                  <a:lnTo>
                    <a:pt x="26" y="1076"/>
                  </a:lnTo>
                  <a:lnTo>
                    <a:pt x="22" y="1076"/>
                  </a:lnTo>
                  <a:lnTo>
                    <a:pt x="24" y="1073"/>
                  </a:lnTo>
                  <a:lnTo>
                    <a:pt x="18" y="1069"/>
                  </a:lnTo>
                  <a:lnTo>
                    <a:pt x="18" y="1067"/>
                  </a:lnTo>
                  <a:lnTo>
                    <a:pt x="21" y="1066"/>
                  </a:lnTo>
                  <a:lnTo>
                    <a:pt x="18" y="1064"/>
                  </a:lnTo>
                  <a:lnTo>
                    <a:pt x="19" y="1059"/>
                  </a:lnTo>
                  <a:lnTo>
                    <a:pt x="23" y="1060"/>
                  </a:lnTo>
                  <a:lnTo>
                    <a:pt x="23" y="1055"/>
                  </a:lnTo>
                  <a:lnTo>
                    <a:pt x="23" y="1051"/>
                  </a:lnTo>
                  <a:lnTo>
                    <a:pt x="25" y="1046"/>
                  </a:lnTo>
                  <a:lnTo>
                    <a:pt x="27" y="1047"/>
                  </a:lnTo>
                  <a:lnTo>
                    <a:pt x="30" y="1050"/>
                  </a:lnTo>
                  <a:lnTo>
                    <a:pt x="33" y="1054"/>
                  </a:lnTo>
                  <a:lnTo>
                    <a:pt x="37" y="1058"/>
                  </a:lnTo>
                  <a:lnTo>
                    <a:pt x="41" y="1058"/>
                  </a:lnTo>
                  <a:lnTo>
                    <a:pt x="44" y="1053"/>
                  </a:lnTo>
                  <a:lnTo>
                    <a:pt x="46" y="1050"/>
                  </a:lnTo>
                  <a:lnTo>
                    <a:pt x="45" y="1047"/>
                  </a:lnTo>
                  <a:lnTo>
                    <a:pt x="46" y="1044"/>
                  </a:lnTo>
                  <a:lnTo>
                    <a:pt x="46" y="1040"/>
                  </a:lnTo>
                  <a:lnTo>
                    <a:pt x="47" y="1037"/>
                  </a:lnTo>
                  <a:lnTo>
                    <a:pt x="47" y="1034"/>
                  </a:lnTo>
                  <a:lnTo>
                    <a:pt x="48" y="1031"/>
                  </a:lnTo>
                  <a:lnTo>
                    <a:pt x="44" y="1031"/>
                  </a:lnTo>
                  <a:lnTo>
                    <a:pt x="46" y="1027"/>
                  </a:lnTo>
                  <a:lnTo>
                    <a:pt x="42" y="1031"/>
                  </a:lnTo>
                  <a:lnTo>
                    <a:pt x="39" y="1031"/>
                  </a:lnTo>
                  <a:lnTo>
                    <a:pt x="38" y="1037"/>
                  </a:lnTo>
                  <a:lnTo>
                    <a:pt x="34" y="1039"/>
                  </a:lnTo>
                  <a:lnTo>
                    <a:pt x="30" y="1041"/>
                  </a:lnTo>
                  <a:lnTo>
                    <a:pt x="26" y="1043"/>
                  </a:lnTo>
                  <a:lnTo>
                    <a:pt x="24" y="1043"/>
                  </a:lnTo>
                  <a:lnTo>
                    <a:pt x="21" y="1040"/>
                  </a:lnTo>
                  <a:lnTo>
                    <a:pt x="17" y="1034"/>
                  </a:lnTo>
                  <a:lnTo>
                    <a:pt x="20" y="1035"/>
                  </a:lnTo>
                  <a:lnTo>
                    <a:pt x="23" y="1038"/>
                  </a:lnTo>
                  <a:lnTo>
                    <a:pt x="21" y="1033"/>
                  </a:lnTo>
                  <a:lnTo>
                    <a:pt x="17" y="1029"/>
                  </a:lnTo>
                  <a:lnTo>
                    <a:pt x="20" y="1029"/>
                  </a:lnTo>
                  <a:lnTo>
                    <a:pt x="18" y="1027"/>
                  </a:lnTo>
                  <a:lnTo>
                    <a:pt x="15" y="1026"/>
                  </a:lnTo>
                  <a:lnTo>
                    <a:pt x="13" y="1022"/>
                  </a:lnTo>
                  <a:lnTo>
                    <a:pt x="11" y="1020"/>
                  </a:lnTo>
                  <a:lnTo>
                    <a:pt x="13" y="1019"/>
                  </a:lnTo>
                  <a:lnTo>
                    <a:pt x="16" y="1022"/>
                  </a:lnTo>
                  <a:lnTo>
                    <a:pt x="19" y="1023"/>
                  </a:lnTo>
                  <a:lnTo>
                    <a:pt x="20" y="1025"/>
                  </a:lnTo>
                  <a:lnTo>
                    <a:pt x="26" y="1028"/>
                  </a:lnTo>
                  <a:lnTo>
                    <a:pt x="27" y="1032"/>
                  </a:lnTo>
                  <a:lnTo>
                    <a:pt x="30" y="1036"/>
                  </a:lnTo>
                  <a:lnTo>
                    <a:pt x="33" y="1037"/>
                  </a:lnTo>
                  <a:lnTo>
                    <a:pt x="31" y="1033"/>
                  </a:lnTo>
                  <a:lnTo>
                    <a:pt x="33" y="1034"/>
                  </a:lnTo>
                  <a:lnTo>
                    <a:pt x="33" y="1030"/>
                  </a:lnTo>
                  <a:lnTo>
                    <a:pt x="29" y="1026"/>
                  </a:lnTo>
                  <a:lnTo>
                    <a:pt x="25" y="1025"/>
                  </a:lnTo>
                  <a:lnTo>
                    <a:pt x="26" y="1022"/>
                  </a:lnTo>
                  <a:lnTo>
                    <a:pt x="30" y="1021"/>
                  </a:lnTo>
                  <a:lnTo>
                    <a:pt x="31" y="1018"/>
                  </a:lnTo>
                  <a:lnTo>
                    <a:pt x="35" y="1015"/>
                  </a:lnTo>
                  <a:lnTo>
                    <a:pt x="37" y="1016"/>
                  </a:lnTo>
                  <a:lnTo>
                    <a:pt x="40" y="1015"/>
                  </a:lnTo>
                  <a:lnTo>
                    <a:pt x="37" y="1014"/>
                  </a:lnTo>
                  <a:lnTo>
                    <a:pt x="34" y="1014"/>
                  </a:lnTo>
                  <a:lnTo>
                    <a:pt x="31" y="1014"/>
                  </a:lnTo>
                  <a:lnTo>
                    <a:pt x="30" y="1017"/>
                  </a:lnTo>
                  <a:lnTo>
                    <a:pt x="25" y="1019"/>
                  </a:lnTo>
                  <a:lnTo>
                    <a:pt x="23" y="1018"/>
                  </a:lnTo>
                  <a:lnTo>
                    <a:pt x="19" y="1017"/>
                  </a:lnTo>
                  <a:lnTo>
                    <a:pt x="16" y="1012"/>
                  </a:lnTo>
                  <a:lnTo>
                    <a:pt x="15" y="1010"/>
                  </a:lnTo>
                  <a:lnTo>
                    <a:pt x="14" y="1006"/>
                  </a:lnTo>
                  <a:lnTo>
                    <a:pt x="17" y="1005"/>
                  </a:lnTo>
                  <a:lnTo>
                    <a:pt x="18" y="1011"/>
                  </a:lnTo>
                  <a:lnTo>
                    <a:pt x="19" y="1013"/>
                  </a:lnTo>
                  <a:lnTo>
                    <a:pt x="19" y="1008"/>
                  </a:lnTo>
                  <a:lnTo>
                    <a:pt x="22" y="1005"/>
                  </a:lnTo>
                  <a:lnTo>
                    <a:pt x="19" y="1005"/>
                  </a:lnTo>
                  <a:lnTo>
                    <a:pt x="16" y="1004"/>
                  </a:lnTo>
                  <a:lnTo>
                    <a:pt x="16" y="1000"/>
                  </a:lnTo>
                  <a:lnTo>
                    <a:pt x="17" y="998"/>
                  </a:lnTo>
                  <a:lnTo>
                    <a:pt x="19" y="995"/>
                  </a:lnTo>
                  <a:lnTo>
                    <a:pt x="22" y="995"/>
                  </a:lnTo>
                  <a:lnTo>
                    <a:pt x="25" y="997"/>
                  </a:lnTo>
                  <a:lnTo>
                    <a:pt x="29" y="999"/>
                  </a:lnTo>
                  <a:lnTo>
                    <a:pt x="33" y="1001"/>
                  </a:lnTo>
                  <a:lnTo>
                    <a:pt x="37" y="1004"/>
                  </a:lnTo>
                  <a:lnTo>
                    <a:pt x="37" y="1001"/>
                  </a:lnTo>
                  <a:lnTo>
                    <a:pt x="38" y="998"/>
                  </a:lnTo>
                  <a:lnTo>
                    <a:pt x="41" y="997"/>
                  </a:lnTo>
                  <a:lnTo>
                    <a:pt x="44" y="998"/>
                  </a:lnTo>
                  <a:lnTo>
                    <a:pt x="46" y="995"/>
                  </a:lnTo>
                  <a:lnTo>
                    <a:pt x="48" y="995"/>
                  </a:lnTo>
                  <a:lnTo>
                    <a:pt x="52" y="994"/>
                  </a:lnTo>
                  <a:lnTo>
                    <a:pt x="52" y="997"/>
                  </a:lnTo>
                  <a:lnTo>
                    <a:pt x="56" y="994"/>
                  </a:lnTo>
                  <a:lnTo>
                    <a:pt x="61" y="994"/>
                  </a:lnTo>
                  <a:lnTo>
                    <a:pt x="63" y="994"/>
                  </a:lnTo>
                  <a:lnTo>
                    <a:pt x="66" y="994"/>
                  </a:lnTo>
                  <a:lnTo>
                    <a:pt x="71" y="996"/>
                  </a:lnTo>
                  <a:lnTo>
                    <a:pt x="73" y="997"/>
                  </a:lnTo>
                  <a:lnTo>
                    <a:pt x="74" y="1000"/>
                  </a:lnTo>
                  <a:lnTo>
                    <a:pt x="78" y="999"/>
                  </a:lnTo>
                  <a:lnTo>
                    <a:pt x="77" y="1003"/>
                  </a:lnTo>
                  <a:lnTo>
                    <a:pt x="80" y="999"/>
                  </a:lnTo>
                  <a:lnTo>
                    <a:pt x="83" y="998"/>
                  </a:lnTo>
                  <a:lnTo>
                    <a:pt x="85" y="997"/>
                  </a:lnTo>
                  <a:lnTo>
                    <a:pt x="89" y="991"/>
                  </a:lnTo>
                  <a:lnTo>
                    <a:pt x="97" y="993"/>
                  </a:lnTo>
                  <a:lnTo>
                    <a:pt x="99" y="994"/>
                  </a:lnTo>
                  <a:lnTo>
                    <a:pt x="101" y="997"/>
                  </a:lnTo>
                  <a:lnTo>
                    <a:pt x="105" y="998"/>
                  </a:lnTo>
                  <a:lnTo>
                    <a:pt x="107" y="1003"/>
                  </a:lnTo>
                  <a:lnTo>
                    <a:pt x="108" y="1006"/>
                  </a:lnTo>
                  <a:lnTo>
                    <a:pt x="106" y="1009"/>
                  </a:lnTo>
                  <a:lnTo>
                    <a:pt x="101" y="1012"/>
                  </a:lnTo>
                  <a:lnTo>
                    <a:pt x="105" y="1010"/>
                  </a:lnTo>
                  <a:lnTo>
                    <a:pt x="109" y="1010"/>
                  </a:lnTo>
                  <a:lnTo>
                    <a:pt x="112" y="1013"/>
                  </a:lnTo>
                  <a:lnTo>
                    <a:pt x="111" y="1020"/>
                  </a:lnTo>
                  <a:lnTo>
                    <a:pt x="114" y="1017"/>
                  </a:lnTo>
                  <a:lnTo>
                    <a:pt x="114" y="1012"/>
                  </a:lnTo>
                  <a:lnTo>
                    <a:pt x="111" y="1011"/>
                  </a:lnTo>
                  <a:lnTo>
                    <a:pt x="109" y="1005"/>
                  </a:lnTo>
                  <a:lnTo>
                    <a:pt x="108" y="1000"/>
                  </a:lnTo>
                  <a:lnTo>
                    <a:pt x="110" y="997"/>
                  </a:lnTo>
                  <a:lnTo>
                    <a:pt x="115" y="997"/>
                  </a:lnTo>
                  <a:lnTo>
                    <a:pt x="117" y="995"/>
                  </a:lnTo>
                  <a:lnTo>
                    <a:pt x="121" y="996"/>
                  </a:lnTo>
                  <a:lnTo>
                    <a:pt x="124" y="998"/>
                  </a:lnTo>
                  <a:lnTo>
                    <a:pt x="127" y="998"/>
                  </a:lnTo>
                  <a:lnTo>
                    <a:pt x="124" y="995"/>
                  </a:lnTo>
                  <a:lnTo>
                    <a:pt x="126" y="992"/>
                  </a:lnTo>
                  <a:lnTo>
                    <a:pt x="128" y="990"/>
                  </a:lnTo>
                  <a:lnTo>
                    <a:pt x="135" y="990"/>
                  </a:lnTo>
                  <a:lnTo>
                    <a:pt x="137" y="988"/>
                  </a:lnTo>
                  <a:lnTo>
                    <a:pt x="139" y="986"/>
                  </a:lnTo>
                  <a:lnTo>
                    <a:pt x="136" y="986"/>
                  </a:lnTo>
                  <a:lnTo>
                    <a:pt x="128" y="990"/>
                  </a:lnTo>
                  <a:lnTo>
                    <a:pt x="125" y="988"/>
                  </a:lnTo>
                  <a:lnTo>
                    <a:pt x="123" y="986"/>
                  </a:lnTo>
                  <a:lnTo>
                    <a:pt x="123" y="983"/>
                  </a:lnTo>
                  <a:lnTo>
                    <a:pt x="122" y="981"/>
                  </a:lnTo>
                  <a:lnTo>
                    <a:pt x="124" y="977"/>
                  </a:lnTo>
                  <a:lnTo>
                    <a:pt x="125" y="973"/>
                  </a:lnTo>
                  <a:lnTo>
                    <a:pt x="127" y="970"/>
                  </a:lnTo>
                  <a:lnTo>
                    <a:pt x="129" y="968"/>
                  </a:lnTo>
                  <a:lnTo>
                    <a:pt x="132" y="966"/>
                  </a:lnTo>
                  <a:lnTo>
                    <a:pt x="124" y="971"/>
                  </a:lnTo>
                  <a:lnTo>
                    <a:pt x="121" y="970"/>
                  </a:lnTo>
                  <a:lnTo>
                    <a:pt x="122" y="973"/>
                  </a:lnTo>
                  <a:lnTo>
                    <a:pt x="119" y="978"/>
                  </a:lnTo>
                  <a:lnTo>
                    <a:pt x="121" y="981"/>
                  </a:lnTo>
                  <a:lnTo>
                    <a:pt x="122" y="987"/>
                  </a:lnTo>
                  <a:lnTo>
                    <a:pt x="124" y="990"/>
                  </a:lnTo>
                  <a:lnTo>
                    <a:pt x="120" y="992"/>
                  </a:lnTo>
                  <a:lnTo>
                    <a:pt x="116" y="991"/>
                  </a:lnTo>
                  <a:lnTo>
                    <a:pt x="114" y="994"/>
                  </a:lnTo>
                  <a:lnTo>
                    <a:pt x="108" y="995"/>
                  </a:lnTo>
                  <a:lnTo>
                    <a:pt x="105" y="996"/>
                  </a:lnTo>
                  <a:lnTo>
                    <a:pt x="105" y="993"/>
                  </a:lnTo>
                  <a:lnTo>
                    <a:pt x="98" y="990"/>
                  </a:lnTo>
                  <a:lnTo>
                    <a:pt x="92" y="987"/>
                  </a:lnTo>
                  <a:lnTo>
                    <a:pt x="87" y="984"/>
                  </a:lnTo>
                  <a:lnTo>
                    <a:pt x="90" y="982"/>
                  </a:lnTo>
                  <a:lnTo>
                    <a:pt x="92" y="976"/>
                  </a:lnTo>
                  <a:lnTo>
                    <a:pt x="94" y="973"/>
                  </a:lnTo>
                  <a:lnTo>
                    <a:pt x="95" y="970"/>
                  </a:lnTo>
                  <a:lnTo>
                    <a:pt x="91" y="977"/>
                  </a:lnTo>
                  <a:lnTo>
                    <a:pt x="90" y="980"/>
                  </a:lnTo>
                  <a:lnTo>
                    <a:pt x="86" y="979"/>
                  </a:lnTo>
                  <a:lnTo>
                    <a:pt x="85" y="982"/>
                  </a:lnTo>
                  <a:lnTo>
                    <a:pt x="86" y="985"/>
                  </a:lnTo>
                  <a:lnTo>
                    <a:pt x="83" y="985"/>
                  </a:lnTo>
                  <a:lnTo>
                    <a:pt x="85" y="988"/>
                  </a:lnTo>
                  <a:lnTo>
                    <a:pt x="85" y="992"/>
                  </a:lnTo>
                  <a:lnTo>
                    <a:pt x="81" y="995"/>
                  </a:lnTo>
                  <a:lnTo>
                    <a:pt x="79" y="995"/>
                  </a:lnTo>
                  <a:lnTo>
                    <a:pt x="75" y="994"/>
                  </a:lnTo>
                  <a:lnTo>
                    <a:pt x="71" y="992"/>
                  </a:lnTo>
                  <a:lnTo>
                    <a:pt x="70" y="987"/>
                  </a:lnTo>
                  <a:lnTo>
                    <a:pt x="65" y="991"/>
                  </a:lnTo>
                  <a:lnTo>
                    <a:pt x="63" y="991"/>
                  </a:lnTo>
                  <a:lnTo>
                    <a:pt x="60" y="990"/>
                  </a:lnTo>
                  <a:lnTo>
                    <a:pt x="57" y="990"/>
                  </a:lnTo>
                  <a:lnTo>
                    <a:pt x="53" y="990"/>
                  </a:lnTo>
                  <a:lnTo>
                    <a:pt x="53" y="985"/>
                  </a:lnTo>
                  <a:lnTo>
                    <a:pt x="51" y="988"/>
                  </a:lnTo>
                  <a:lnTo>
                    <a:pt x="48" y="991"/>
                  </a:lnTo>
                  <a:lnTo>
                    <a:pt x="42" y="991"/>
                  </a:lnTo>
                  <a:lnTo>
                    <a:pt x="38" y="995"/>
                  </a:lnTo>
                  <a:lnTo>
                    <a:pt x="36" y="996"/>
                  </a:lnTo>
                  <a:lnTo>
                    <a:pt x="32" y="994"/>
                  </a:lnTo>
                  <a:lnTo>
                    <a:pt x="31" y="991"/>
                  </a:lnTo>
                  <a:lnTo>
                    <a:pt x="25" y="993"/>
                  </a:lnTo>
                  <a:lnTo>
                    <a:pt x="26" y="990"/>
                  </a:lnTo>
                  <a:lnTo>
                    <a:pt x="22" y="988"/>
                  </a:lnTo>
                  <a:lnTo>
                    <a:pt x="19" y="987"/>
                  </a:lnTo>
                  <a:lnTo>
                    <a:pt x="19" y="984"/>
                  </a:lnTo>
                  <a:lnTo>
                    <a:pt x="22" y="984"/>
                  </a:lnTo>
                  <a:lnTo>
                    <a:pt x="27" y="987"/>
                  </a:lnTo>
                  <a:lnTo>
                    <a:pt x="26" y="982"/>
                  </a:lnTo>
                  <a:lnTo>
                    <a:pt x="23" y="981"/>
                  </a:lnTo>
                  <a:lnTo>
                    <a:pt x="18" y="981"/>
                  </a:lnTo>
                  <a:lnTo>
                    <a:pt x="20" y="979"/>
                  </a:lnTo>
                  <a:lnTo>
                    <a:pt x="18" y="979"/>
                  </a:lnTo>
                  <a:lnTo>
                    <a:pt x="18" y="975"/>
                  </a:lnTo>
                  <a:lnTo>
                    <a:pt x="20" y="974"/>
                  </a:lnTo>
                  <a:lnTo>
                    <a:pt x="24" y="973"/>
                  </a:lnTo>
                  <a:lnTo>
                    <a:pt x="26" y="970"/>
                  </a:lnTo>
                  <a:lnTo>
                    <a:pt x="29" y="970"/>
                  </a:lnTo>
                  <a:lnTo>
                    <a:pt x="32" y="977"/>
                  </a:lnTo>
                  <a:lnTo>
                    <a:pt x="33" y="974"/>
                  </a:lnTo>
                  <a:lnTo>
                    <a:pt x="31" y="971"/>
                  </a:lnTo>
                  <a:lnTo>
                    <a:pt x="39" y="969"/>
                  </a:lnTo>
                  <a:lnTo>
                    <a:pt x="47" y="970"/>
                  </a:lnTo>
                  <a:lnTo>
                    <a:pt x="44" y="968"/>
                  </a:lnTo>
                  <a:lnTo>
                    <a:pt x="25" y="969"/>
                  </a:lnTo>
                  <a:lnTo>
                    <a:pt x="20" y="971"/>
                  </a:lnTo>
                  <a:lnTo>
                    <a:pt x="18" y="969"/>
                  </a:lnTo>
                  <a:lnTo>
                    <a:pt x="18" y="966"/>
                  </a:lnTo>
                  <a:lnTo>
                    <a:pt x="20" y="964"/>
                  </a:lnTo>
                  <a:lnTo>
                    <a:pt x="21" y="967"/>
                  </a:lnTo>
                  <a:lnTo>
                    <a:pt x="22" y="964"/>
                  </a:lnTo>
                  <a:lnTo>
                    <a:pt x="18" y="963"/>
                  </a:lnTo>
                  <a:lnTo>
                    <a:pt x="21" y="960"/>
                  </a:lnTo>
                  <a:lnTo>
                    <a:pt x="26" y="960"/>
                  </a:lnTo>
                  <a:lnTo>
                    <a:pt x="29" y="959"/>
                  </a:lnTo>
                  <a:lnTo>
                    <a:pt x="33" y="961"/>
                  </a:lnTo>
                  <a:lnTo>
                    <a:pt x="41" y="963"/>
                  </a:lnTo>
                  <a:lnTo>
                    <a:pt x="44" y="962"/>
                  </a:lnTo>
                  <a:lnTo>
                    <a:pt x="46" y="961"/>
                  </a:lnTo>
                  <a:lnTo>
                    <a:pt x="51" y="958"/>
                  </a:lnTo>
                  <a:lnTo>
                    <a:pt x="55" y="962"/>
                  </a:lnTo>
                  <a:lnTo>
                    <a:pt x="53" y="958"/>
                  </a:lnTo>
                  <a:lnTo>
                    <a:pt x="49" y="957"/>
                  </a:lnTo>
                  <a:lnTo>
                    <a:pt x="47" y="958"/>
                  </a:lnTo>
                  <a:lnTo>
                    <a:pt x="43" y="960"/>
                  </a:lnTo>
                  <a:lnTo>
                    <a:pt x="40" y="961"/>
                  </a:lnTo>
                  <a:lnTo>
                    <a:pt x="37" y="957"/>
                  </a:lnTo>
                  <a:lnTo>
                    <a:pt x="33" y="958"/>
                  </a:lnTo>
                  <a:lnTo>
                    <a:pt x="27" y="955"/>
                  </a:lnTo>
                  <a:lnTo>
                    <a:pt x="25" y="951"/>
                  </a:lnTo>
                  <a:lnTo>
                    <a:pt x="29" y="951"/>
                  </a:lnTo>
                  <a:lnTo>
                    <a:pt x="36" y="951"/>
                  </a:lnTo>
                  <a:lnTo>
                    <a:pt x="27" y="948"/>
                  </a:lnTo>
                  <a:lnTo>
                    <a:pt x="35" y="947"/>
                  </a:lnTo>
                  <a:lnTo>
                    <a:pt x="38" y="949"/>
                  </a:lnTo>
                  <a:lnTo>
                    <a:pt x="36" y="946"/>
                  </a:lnTo>
                  <a:lnTo>
                    <a:pt x="33" y="945"/>
                  </a:lnTo>
                  <a:lnTo>
                    <a:pt x="35" y="944"/>
                  </a:lnTo>
                  <a:lnTo>
                    <a:pt x="31" y="944"/>
                  </a:lnTo>
                  <a:lnTo>
                    <a:pt x="19" y="943"/>
                  </a:lnTo>
                  <a:lnTo>
                    <a:pt x="18" y="940"/>
                  </a:lnTo>
                  <a:lnTo>
                    <a:pt x="19" y="937"/>
                  </a:lnTo>
                  <a:lnTo>
                    <a:pt x="20" y="934"/>
                  </a:lnTo>
                  <a:lnTo>
                    <a:pt x="22" y="932"/>
                  </a:lnTo>
                  <a:lnTo>
                    <a:pt x="26" y="935"/>
                  </a:lnTo>
                  <a:lnTo>
                    <a:pt x="26" y="932"/>
                  </a:lnTo>
                  <a:lnTo>
                    <a:pt x="30" y="931"/>
                  </a:lnTo>
                  <a:lnTo>
                    <a:pt x="24" y="931"/>
                  </a:lnTo>
                  <a:lnTo>
                    <a:pt x="25" y="929"/>
                  </a:lnTo>
                  <a:lnTo>
                    <a:pt x="33" y="927"/>
                  </a:lnTo>
                  <a:lnTo>
                    <a:pt x="35" y="925"/>
                  </a:lnTo>
                  <a:lnTo>
                    <a:pt x="39" y="918"/>
                  </a:lnTo>
                  <a:lnTo>
                    <a:pt x="44" y="918"/>
                  </a:lnTo>
                  <a:lnTo>
                    <a:pt x="46" y="919"/>
                  </a:lnTo>
                  <a:lnTo>
                    <a:pt x="50" y="921"/>
                  </a:lnTo>
                  <a:lnTo>
                    <a:pt x="54" y="924"/>
                  </a:lnTo>
                  <a:lnTo>
                    <a:pt x="49" y="928"/>
                  </a:lnTo>
                  <a:lnTo>
                    <a:pt x="54" y="926"/>
                  </a:lnTo>
                  <a:lnTo>
                    <a:pt x="63" y="926"/>
                  </a:lnTo>
                  <a:lnTo>
                    <a:pt x="63" y="929"/>
                  </a:lnTo>
                  <a:lnTo>
                    <a:pt x="62" y="932"/>
                  </a:lnTo>
                  <a:lnTo>
                    <a:pt x="61" y="935"/>
                  </a:lnTo>
                  <a:lnTo>
                    <a:pt x="64" y="928"/>
                  </a:lnTo>
                  <a:lnTo>
                    <a:pt x="68" y="930"/>
                  </a:lnTo>
                  <a:lnTo>
                    <a:pt x="70" y="933"/>
                  </a:lnTo>
                  <a:lnTo>
                    <a:pt x="73" y="934"/>
                  </a:lnTo>
                  <a:lnTo>
                    <a:pt x="72" y="932"/>
                  </a:lnTo>
                  <a:lnTo>
                    <a:pt x="70" y="929"/>
                  </a:lnTo>
                  <a:lnTo>
                    <a:pt x="79" y="928"/>
                  </a:lnTo>
                  <a:lnTo>
                    <a:pt x="81" y="930"/>
                  </a:lnTo>
                  <a:lnTo>
                    <a:pt x="86" y="931"/>
                  </a:lnTo>
                  <a:lnTo>
                    <a:pt x="90" y="927"/>
                  </a:lnTo>
                  <a:lnTo>
                    <a:pt x="94" y="925"/>
                  </a:lnTo>
                  <a:lnTo>
                    <a:pt x="98" y="927"/>
                  </a:lnTo>
                  <a:lnTo>
                    <a:pt x="102" y="926"/>
                  </a:lnTo>
                  <a:lnTo>
                    <a:pt x="96" y="924"/>
                  </a:lnTo>
                  <a:lnTo>
                    <a:pt x="90" y="924"/>
                  </a:lnTo>
                  <a:lnTo>
                    <a:pt x="88" y="928"/>
                  </a:lnTo>
                  <a:lnTo>
                    <a:pt x="77" y="926"/>
                  </a:lnTo>
                  <a:lnTo>
                    <a:pt x="70" y="926"/>
                  </a:lnTo>
                  <a:lnTo>
                    <a:pt x="68" y="924"/>
                  </a:lnTo>
                  <a:lnTo>
                    <a:pt x="64" y="924"/>
                  </a:lnTo>
                  <a:lnTo>
                    <a:pt x="62" y="923"/>
                  </a:lnTo>
                  <a:lnTo>
                    <a:pt x="59" y="923"/>
                  </a:lnTo>
                  <a:lnTo>
                    <a:pt x="54" y="921"/>
                  </a:lnTo>
                  <a:lnTo>
                    <a:pt x="63" y="921"/>
                  </a:lnTo>
                  <a:lnTo>
                    <a:pt x="51" y="917"/>
                  </a:lnTo>
                  <a:lnTo>
                    <a:pt x="45" y="915"/>
                  </a:lnTo>
                  <a:lnTo>
                    <a:pt x="42" y="916"/>
                  </a:lnTo>
                  <a:lnTo>
                    <a:pt x="38" y="916"/>
                  </a:lnTo>
                  <a:lnTo>
                    <a:pt x="32" y="917"/>
                  </a:lnTo>
                  <a:lnTo>
                    <a:pt x="30" y="918"/>
                  </a:lnTo>
                  <a:lnTo>
                    <a:pt x="26" y="916"/>
                  </a:lnTo>
                  <a:lnTo>
                    <a:pt x="29" y="912"/>
                  </a:lnTo>
                  <a:lnTo>
                    <a:pt x="33" y="913"/>
                  </a:lnTo>
                  <a:lnTo>
                    <a:pt x="36" y="910"/>
                  </a:lnTo>
                  <a:lnTo>
                    <a:pt x="37" y="907"/>
                  </a:lnTo>
                  <a:lnTo>
                    <a:pt x="40" y="908"/>
                  </a:lnTo>
                  <a:lnTo>
                    <a:pt x="37" y="903"/>
                  </a:lnTo>
                  <a:lnTo>
                    <a:pt x="33" y="900"/>
                  </a:lnTo>
                  <a:lnTo>
                    <a:pt x="29" y="899"/>
                  </a:lnTo>
                  <a:lnTo>
                    <a:pt x="29" y="896"/>
                  </a:lnTo>
                  <a:lnTo>
                    <a:pt x="27" y="893"/>
                  </a:lnTo>
                  <a:lnTo>
                    <a:pt x="29" y="891"/>
                  </a:lnTo>
                  <a:lnTo>
                    <a:pt x="33" y="889"/>
                  </a:lnTo>
                  <a:lnTo>
                    <a:pt x="35" y="892"/>
                  </a:lnTo>
                  <a:lnTo>
                    <a:pt x="36" y="894"/>
                  </a:lnTo>
                  <a:lnTo>
                    <a:pt x="38" y="899"/>
                  </a:lnTo>
                  <a:lnTo>
                    <a:pt x="41" y="901"/>
                  </a:lnTo>
                  <a:lnTo>
                    <a:pt x="43" y="904"/>
                  </a:lnTo>
                  <a:lnTo>
                    <a:pt x="43" y="909"/>
                  </a:lnTo>
                  <a:lnTo>
                    <a:pt x="47" y="903"/>
                  </a:lnTo>
                  <a:lnTo>
                    <a:pt x="49" y="903"/>
                  </a:lnTo>
                  <a:lnTo>
                    <a:pt x="42" y="899"/>
                  </a:lnTo>
                  <a:lnTo>
                    <a:pt x="42" y="895"/>
                  </a:lnTo>
                  <a:lnTo>
                    <a:pt x="44" y="892"/>
                  </a:lnTo>
                  <a:lnTo>
                    <a:pt x="47" y="894"/>
                  </a:lnTo>
                  <a:lnTo>
                    <a:pt x="51" y="895"/>
                  </a:lnTo>
                  <a:lnTo>
                    <a:pt x="53" y="898"/>
                  </a:lnTo>
                  <a:lnTo>
                    <a:pt x="56" y="902"/>
                  </a:lnTo>
                  <a:lnTo>
                    <a:pt x="54" y="899"/>
                  </a:lnTo>
                  <a:lnTo>
                    <a:pt x="53" y="895"/>
                  </a:lnTo>
                  <a:lnTo>
                    <a:pt x="58" y="894"/>
                  </a:lnTo>
                  <a:lnTo>
                    <a:pt x="61" y="892"/>
                  </a:lnTo>
                  <a:lnTo>
                    <a:pt x="64" y="895"/>
                  </a:lnTo>
                  <a:lnTo>
                    <a:pt x="64" y="897"/>
                  </a:lnTo>
                  <a:lnTo>
                    <a:pt x="64" y="900"/>
                  </a:lnTo>
                  <a:lnTo>
                    <a:pt x="61" y="906"/>
                  </a:lnTo>
                  <a:lnTo>
                    <a:pt x="60" y="909"/>
                  </a:lnTo>
                  <a:lnTo>
                    <a:pt x="63" y="905"/>
                  </a:lnTo>
                  <a:lnTo>
                    <a:pt x="66" y="898"/>
                  </a:lnTo>
                  <a:lnTo>
                    <a:pt x="69" y="902"/>
                  </a:lnTo>
                  <a:lnTo>
                    <a:pt x="69" y="905"/>
                  </a:lnTo>
                  <a:lnTo>
                    <a:pt x="73" y="904"/>
                  </a:lnTo>
                  <a:lnTo>
                    <a:pt x="76" y="904"/>
                  </a:lnTo>
                  <a:lnTo>
                    <a:pt x="83" y="906"/>
                  </a:lnTo>
                  <a:lnTo>
                    <a:pt x="71" y="901"/>
                  </a:lnTo>
                  <a:lnTo>
                    <a:pt x="70" y="899"/>
                  </a:lnTo>
                  <a:lnTo>
                    <a:pt x="67" y="894"/>
                  </a:lnTo>
                  <a:lnTo>
                    <a:pt x="65" y="893"/>
                  </a:lnTo>
                  <a:lnTo>
                    <a:pt x="65" y="890"/>
                  </a:lnTo>
                  <a:lnTo>
                    <a:pt x="68" y="892"/>
                  </a:lnTo>
                  <a:lnTo>
                    <a:pt x="71" y="892"/>
                  </a:lnTo>
                  <a:lnTo>
                    <a:pt x="68" y="891"/>
                  </a:lnTo>
                  <a:lnTo>
                    <a:pt x="66" y="888"/>
                  </a:lnTo>
                  <a:lnTo>
                    <a:pt x="67" y="885"/>
                  </a:lnTo>
                  <a:lnTo>
                    <a:pt x="70" y="883"/>
                  </a:lnTo>
                  <a:lnTo>
                    <a:pt x="72" y="882"/>
                  </a:lnTo>
                  <a:lnTo>
                    <a:pt x="74" y="881"/>
                  </a:lnTo>
                  <a:lnTo>
                    <a:pt x="79" y="879"/>
                  </a:lnTo>
                  <a:lnTo>
                    <a:pt x="82" y="878"/>
                  </a:lnTo>
                  <a:lnTo>
                    <a:pt x="85" y="883"/>
                  </a:lnTo>
                  <a:lnTo>
                    <a:pt x="85" y="886"/>
                  </a:lnTo>
                  <a:lnTo>
                    <a:pt x="88" y="889"/>
                  </a:lnTo>
                  <a:lnTo>
                    <a:pt x="92" y="897"/>
                  </a:lnTo>
                  <a:lnTo>
                    <a:pt x="92" y="900"/>
                  </a:lnTo>
                  <a:lnTo>
                    <a:pt x="90" y="902"/>
                  </a:lnTo>
                  <a:lnTo>
                    <a:pt x="93" y="900"/>
                  </a:lnTo>
                  <a:lnTo>
                    <a:pt x="90" y="889"/>
                  </a:lnTo>
                  <a:lnTo>
                    <a:pt x="87" y="883"/>
                  </a:lnTo>
                  <a:lnTo>
                    <a:pt x="86" y="879"/>
                  </a:lnTo>
                  <a:lnTo>
                    <a:pt x="88" y="876"/>
                  </a:lnTo>
                  <a:lnTo>
                    <a:pt x="91" y="876"/>
                  </a:lnTo>
                  <a:lnTo>
                    <a:pt x="93" y="880"/>
                  </a:lnTo>
                  <a:lnTo>
                    <a:pt x="93" y="877"/>
                  </a:lnTo>
                  <a:lnTo>
                    <a:pt x="93" y="874"/>
                  </a:lnTo>
                  <a:lnTo>
                    <a:pt x="97" y="873"/>
                  </a:lnTo>
                  <a:lnTo>
                    <a:pt x="102" y="873"/>
                  </a:lnTo>
                  <a:lnTo>
                    <a:pt x="108" y="875"/>
                  </a:lnTo>
                  <a:lnTo>
                    <a:pt x="107" y="871"/>
                  </a:lnTo>
                  <a:lnTo>
                    <a:pt x="104" y="871"/>
                  </a:lnTo>
                  <a:lnTo>
                    <a:pt x="99" y="869"/>
                  </a:lnTo>
                  <a:lnTo>
                    <a:pt x="90" y="873"/>
                  </a:lnTo>
                  <a:lnTo>
                    <a:pt x="86" y="873"/>
                  </a:lnTo>
                  <a:lnTo>
                    <a:pt x="83" y="870"/>
                  </a:lnTo>
                  <a:lnTo>
                    <a:pt x="81" y="870"/>
                  </a:lnTo>
                  <a:lnTo>
                    <a:pt x="84" y="869"/>
                  </a:lnTo>
                  <a:lnTo>
                    <a:pt x="87" y="867"/>
                  </a:lnTo>
                  <a:lnTo>
                    <a:pt x="92" y="866"/>
                  </a:lnTo>
                  <a:lnTo>
                    <a:pt x="98" y="867"/>
                  </a:lnTo>
                  <a:lnTo>
                    <a:pt x="96" y="865"/>
                  </a:lnTo>
                  <a:lnTo>
                    <a:pt x="90" y="865"/>
                  </a:lnTo>
                  <a:lnTo>
                    <a:pt x="93" y="864"/>
                  </a:lnTo>
                  <a:lnTo>
                    <a:pt x="81" y="863"/>
                  </a:lnTo>
                  <a:lnTo>
                    <a:pt x="81" y="860"/>
                  </a:lnTo>
                  <a:lnTo>
                    <a:pt x="81" y="857"/>
                  </a:lnTo>
                  <a:lnTo>
                    <a:pt x="84" y="856"/>
                  </a:lnTo>
                  <a:lnTo>
                    <a:pt x="93" y="856"/>
                  </a:lnTo>
                  <a:lnTo>
                    <a:pt x="96" y="861"/>
                  </a:lnTo>
                  <a:lnTo>
                    <a:pt x="97" y="857"/>
                  </a:lnTo>
                  <a:lnTo>
                    <a:pt x="101" y="854"/>
                  </a:lnTo>
                  <a:lnTo>
                    <a:pt x="105" y="853"/>
                  </a:lnTo>
                  <a:lnTo>
                    <a:pt x="109" y="858"/>
                  </a:lnTo>
                  <a:lnTo>
                    <a:pt x="110" y="860"/>
                  </a:lnTo>
                  <a:lnTo>
                    <a:pt x="110" y="857"/>
                  </a:lnTo>
                  <a:lnTo>
                    <a:pt x="109" y="854"/>
                  </a:lnTo>
                  <a:lnTo>
                    <a:pt x="118" y="854"/>
                  </a:lnTo>
                  <a:lnTo>
                    <a:pt x="116" y="856"/>
                  </a:lnTo>
                  <a:lnTo>
                    <a:pt x="118" y="860"/>
                  </a:lnTo>
                  <a:lnTo>
                    <a:pt x="119" y="863"/>
                  </a:lnTo>
                  <a:lnTo>
                    <a:pt x="120" y="860"/>
                  </a:lnTo>
                  <a:lnTo>
                    <a:pt x="121" y="856"/>
                  </a:lnTo>
                  <a:lnTo>
                    <a:pt x="127" y="858"/>
                  </a:lnTo>
                  <a:lnTo>
                    <a:pt x="132" y="864"/>
                  </a:lnTo>
                  <a:lnTo>
                    <a:pt x="134" y="864"/>
                  </a:lnTo>
                  <a:lnTo>
                    <a:pt x="138" y="866"/>
                  </a:lnTo>
                  <a:lnTo>
                    <a:pt x="147" y="862"/>
                  </a:lnTo>
                  <a:lnTo>
                    <a:pt x="135" y="862"/>
                  </a:lnTo>
                  <a:lnTo>
                    <a:pt x="132" y="859"/>
                  </a:lnTo>
                  <a:lnTo>
                    <a:pt x="132" y="856"/>
                  </a:lnTo>
                  <a:lnTo>
                    <a:pt x="134" y="855"/>
                  </a:lnTo>
                  <a:lnTo>
                    <a:pt x="135" y="860"/>
                  </a:lnTo>
                  <a:lnTo>
                    <a:pt x="137" y="858"/>
                  </a:lnTo>
                  <a:lnTo>
                    <a:pt x="136" y="854"/>
                  </a:lnTo>
                  <a:lnTo>
                    <a:pt x="138" y="851"/>
                  </a:lnTo>
                  <a:lnTo>
                    <a:pt x="150" y="846"/>
                  </a:lnTo>
                  <a:lnTo>
                    <a:pt x="155" y="847"/>
                  </a:lnTo>
                  <a:lnTo>
                    <a:pt x="159" y="847"/>
                  </a:lnTo>
                  <a:lnTo>
                    <a:pt x="162" y="850"/>
                  </a:lnTo>
                  <a:lnTo>
                    <a:pt x="160" y="846"/>
                  </a:lnTo>
                  <a:lnTo>
                    <a:pt x="160" y="843"/>
                  </a:lnTo>
                  <a:lnTo>
                    <a:pt x="157" y="843"/>
                  </a:lnTo>
                  <a:lnTo>
                    <a:pt x="153" y="844"/>
                  </a:lnTo>
                  <a:lnTo>
                    <a:pt x="142" y="846"/>
                  </a:lnTo>
                  <a:lnTo>
                    <a:pt x="137" y="850"/>
                  </a:lnTo>
                  <a:lnTo>
                    <a:pt x="131" y="850"/>
                  </a:lnTo>
                  <a:lnTo>
                    <a:pt x="131" y="847"/>
                  </a:lnTo>
                  <a:lnTo>
                    <a:pt x="135" y="843"/>
                  </a:lnTo>
                  <a:lnTo>
                    <a:pt x="144" y="840"/>
                  </a:lnTo>
                  <a:lnTo>
                    <a:pt x="140" y="840"/>
                  </a:lnTo>
                  <a:lnTo>
                    <a:pt x="134" y="842"/>
                  </a:lnTo>
                  <a:lnTo>
                    <a:pt x="131" y="843"/>
                  </a:lnTo>
                  <a:lnTo>
                    <a:pt x="128" y="845"/>
                  </a:lnTo>
                  <a:lnTo>
                    <a:pt x="113" y="846"/>
                  </a:lnTo>
                  <a:lnTo>
                    <a:pt x="114" y="843"/>
                  </a:lnTo>
                  <a:lnTo>
                    <a:pt x="114" y="839"/>
                  </a:lnTo>
                  <a:lnTo>
                    <a:pt x="117" y="837"/>
                  </a:lnTo>
                  <a:lnTo>
                    <a:pt x="124" y="838"/>
                  </a:lnTo>
                  <a:lnTo>
                    <a:pt x="121" y="835"/>
                  </a:lnTo>
                  <a:lnTo>
                    <a:pt x="116" y="835"/>
                  </a:lnTo>
                  <a:lnTo>
                    <a:pt x="113" y="831"/>
                  </a:lnTo>
                  <a:lnTo>
                    <a:pt x="110" y="828"/>
                  </a:lnTo>
                  <a:lnTo>
                    <a:pt x="115" y="825"/>
                  </a:lnTo>
                  <a:lnTo>
                    <a:pt x="119" y="822"/>
                  </a:lnTo>
                  <a:lnTo>
                    <a:pt x="123" y="821"/>
                  </a:lnTo>
                  <a:lnTo>
                    <a:pt x="126" y="820"/>
                  </a:lnTo>
                  <a:lnTo>
                    <a:pt x="128" y="821"/>
                  </a:lnTo>
                  <a:lnTo>
                    <a:pt x="130" y="823"/>
                  </a:lnTo>
                  <a:lnTo>
                    <a:pt x="133" y="826"/>
                  </a:lnTo>
                  <a:lnTo>
                    <a:pt x="134" y="829"/>
                  </a:lnTo>
                  <a:lnTo>
                    <a:pt x="136" y="830"/>
                  </a:lnTo>
                  <a:lnTo>
                    <a:pt x="139" y="828"/>
                  </a:lnTo>
                  <a:lnTo>
                    <a:pt x="141" y="825"/>
                  </a:lnTo>
                  <a:lnTo>
                    <a:pt x="144" y="823"/>
                  </a:lnTo>
                  <a:lnTo>
                    <a:pt x="148" y="824"/>
                  </a:lnTo>
                  <a:lnTo>
                    <a:pt x="147" y="827"/>
                  </a:lnTo>
                  <a:lnTo>
                    <a:pt x="143" y="829"/>
                  </a:lnTo>
                  <a:lnTo>
                    <a:pt x="150" y="826"/>
                  </a:lnTo>
                  <a:lnTo>
                    <a:pt x="155" y="824"/>
                  </a:lnTo>
                  <a:lnTo>
                    <a:pt x="161" y="827"/>
                  </a:lnTo>
                  <a:lnTo>
                    <a:pt x="162" y="829"/>
                  </a:lnTo>
                  <a:lnTo>
                    <a:pt x="162" y="834"/>
                  </a:lnTo>
                  <a:lnTo>
                    <a:pt x="163" y="837"/>
                  </a:lnTo>
                  <a:lnTo>
                    <a:pt x="165" y="841"/>
                  </a:lnTo>
                  <a:lnTo>
                    <a:pt x="169" y="842"/>
                  </a:lnTo>
                  <a:lnTo>
                    <a:pt x="175" y="848"/>
                  </a:lnTo>
                  <a:lnTo>
                    <a:pt x="178" y="848"/>
                  </a:lnTo>
                  <a:lnTo>
                    <a:pt x="181" y="851"/>
                  </a:lnTo>
                  <a:lnTo>
                    <a:pt x="181" y="855"/>
                  </a:lnTo>
                  <a:lnTo>
                    <a:pt x="182" y="850"/>
                  </a:lnTo>
                  <a:lnTo>
                    <a:pt x="177" y="845"/>
                  </a:lnTo>
                  <a:lnTo>
                    <a:pt x="174" y="843"/>
                  </a:lnTo>
                  <a:lnTo>
                    <a:pt x="171" y="841"/>
                  </a:lnTo>
                  <a:lnTo>
                    <a:pt x="168" y="839"/>
                  </a:lnTo>
                  <a:lnTo>
                    <a:pt x="165" y="836"/>
                  </a:lnTo>
                  <a:lnTo>
                    <a:pt x="164" y="833"/>
                  </a:lnTo>
                  <a:lnTo>
                    <a:pt x="165" y="831"/>
                  </a:lnTo>
                  <a:lnTo>
                    <a:pt x="164" y="827"/>
                  </a:lnTo>
                  <a:lnTo>
                    <a:pt x="161" y="825"/>
                  </a:lnTo>
                  <a:lnTo>
                    <a:pt x="158" y="821"/>
                  </a:lnTo>
                  <a:lnTo>
                    <a:pt x="154" y="822"/>
                  </a:lnTo>
                  <a:lnTo>
                    <a:pt x="155" y="818"/>
                  </a:lnTo>
                  <a:lnTo>
                    <a:pt x="157" y="815"/>
                  </a:lnTo>
                  <a:lnTo>
                    <a:pt x="160" y="812"/>
                  </a:lnTo>
                  <a:lnTo>
                    <a:pt x="163" y="815"/>
                  </a:lnTo>
                  <a:lnTo>
                    <a:pt x="163" y="818"/>
                  </a:lnTo>
                  <a:lnTo>
                    <a:pt x="165" y="820"/>
                  </a:lnTo>
                  <a:lnTo>
                    <a:pt x="168" y="822"/>
                  </a:lnTo>
                  <a:lnTo>
                    <a:pt x="170" y="824"/>
                  </a:lnTo>
                  <a:lnTo>
                    <a:pt x="171" y="827"/>
                  </a:lnTo>
                  <a:lnTo>
                    <a:pt x="172" y="830"/>
                  </a:lnTo>
                  <a:lnTo>
                    <a:pt x="171" y="833"/>
                  </a:lnTo>
                  <a:lnTo>
                    <a:pt x="179" y="836"/>
                  </a:lnTo>
                  <a:lnTo>
                    <a:pt x="177" y="833"/>
                  </a:lnTo>
                  <a:lnTo>
                    <a:pt x="183" y="834"/>
                  </a:lnTo>
                  <a:lnTo>
                    <a:pt x="185" y="837"/>
                  </a:lnTo>
                  <a:lnTo>
                    <a:pt x="187" y="838"/>
                  </a:lnTo>
                  <a:lnTo>
                    <a:pt x="184" y="834"/>
                  </a:lnTo>
                  <a:lnTo>
                    <a:pt x="180" y="832"/>
                  </a:lnTo>
                  <a:lnTo>
                    <a:pt x="176" y="827"/>
                  </a:lnTo>
                  <a:lnTo>
                    <a:pt x="186" y="826"/>
                  </a:lnTo>
                  <a:lnTo>
                    <a:pt x="183" y="824"/>
                  </a:lnTo>
                  <a:lnTo>
                    <a:pt x="181" y="824"/>
                  </a:lnTo>
                  <a:lnTo>
                    <a:pt x="183" y="821"/>
                  </a:lnTo>
                  <a:lnTo>
                    <a:pt x="179" y="823"/>
                  </a:lnTo>
                  <a:lnTo>
                    <a:pt x="175" y="825"/>
                  </a:lnTo>
                  <a:lnTo>
                    <a:pt x="177" y="822"/>
                  </a:lnTo>
                  <a:lnTo>
                    <a:pt x="171" y="820"/>
                  </a:lnTo>
                  <a:lnTo>
                    <a:pt x="167" y="819"/>
                  </a:lnTo>
                  <a:lnTo>
                    <a:pt x="167" y="816"/>
                  </a:lnTo>
                  <a:lnTo>
                    <a:pt x="166" y="814"/>
                  </a:lnTo>
                  <a:lnTo>
                    <a:pt x="167" y="810"/>
                  </a:lnTo>
                  <a:lnTo>
                    <a:pt x="169" y="812"/>
                  </a:lnTo>
                  <a:lnTo>
                    <a:pt x="170" y="815"/>
                  </a:lnTo>
                  <a:lnTo>
                    <a:pt x="171" y="811"/>
                  </a:lnTo>
                  <a:lnTo>
                    <a:pt x="168" y="809"/>
                  </a:lnTo>
                  <a:lnTo>
                    <a:pt x="182" y="810"/>
                  </a:lnTo>
                  <a:lnTo>
                    <a:pt x="186" y="813"/>
                  </a:lnTo>
                  <a:lnTo>
                    <a:pt x="183" y="809"/>
                  </a:lnTo>
                  <a:lnTo>
                    <a:pt x="183" y="807"/>
                  </a:lnTo>
                  <a:lnTo>
                    <a:pt x="199" y="803"/>
                  </a:lnTo>
                  <a:lnTo>
                    <a:pt x="186" y="804"/>
                  </a:lnTo>
                  <a:lnTo>
                    <a:pt x="184" y="801"/>
                  </a:lnTo>
                  <a:lnTo>
                    <a:pt x="181" y="797"/>
                  </a:lnTo>
                  <a:lnTo>
                    <a:pt x="181" y="794"/>
                  </a:lnTo>
                  <a:lnTo>
                    <a:pt x="189" y="793"/>
                  </a:lnTo>
                  <a:lnTo>
                    <a:pt x="191" y="791"/>
                  </a:lnTo>
                  <a:lnTo>
                    <a:pt x="188" y="789"/>
                  </a:lnTo>
                  <a:lnTo>
                    <a:pt x="186" y="787"/>
                  </a:lnTo>
                  <a:lnTo>
                    <a:pt x="188" y="783"/>
                  </a:lnTo>
                  <a:lnTo>
                    <a:pt x="192" y="783"/>
                  </a:lnTo>
                  <a:lnTo>
                    <a:pt x="194" y="782"/>
                  </a:lnTo>
                  <a:lnTo>
                    <a:pt x="196" y="786"/>
                  </a:lnTo>
                  <a:lnTo>
                    <a:pt x="198" y="783"/>
                  </a:lnTo>
                  <a:lnTo>
                    <a:pt x="201" y="779"/>
                  </a:lnTo>
                  <a:lnTo>
                    <a:pt x="206" y="785"/>
                  </a:lnTo>
                  <a:lnTo>
                    <a:pt x="207" y="788"/>
                  </a:lnTo>
                  <a:lnTo>
                    <a:pt x="205" y="791"/>
                  </a:lnTo>
                  <a:lnTo>
                    <a:pt x="205" y="796"/>
                  </a:lnTo>
                  <a:lnTo>
                    <a:pt x="207" y="793"/>
                  </a:lnTo>
                  <a:lnTo>
                    <a:pt x="212" y="790"/>
                  </a:lnTo>
                  <a:lnTo>
                    <a:pt x="219" y="788"/>
                  </a:lnTo>
                  <a:lnTo>
                    <a:pt x="212" y="788"/>
                  </a:lnTo>
                  <a:lnTo>
                    <a:pt x="208" y="786"/>
                  </a:lnTo>
                  <a:lnTo>
                    <a:pt x="209" y="782"/>
                  </a:lnTo>
                  <a:lnTo>
                    <a:pt x="221" y="779"/>
                  </a:lnTo>
                  <a:lnTo>
                    <a:pt x="216" y="779"/>
                  </a:lnTo>
                  <a:lnTo>
                    <a:pt x="214" y="778"/>
                  </a:lnTo>
                  <a:lnTo>
                    <a:pt x="210" y="780"/>
                  </a:lnTo>
                  <a:lnTo>
                    <a:pt x="208" y="775"/>
                  </a:lnTo>
                  <a:lnTo>
                    <a:pt x="212" y="775"/>
                  </a:lnTo>
                  <a:lnTo>
                    <a:pt x="215" y="772"/>
                  </a:lnTo>
                  <a:lnTo>
                    <a:pt x="217" y="773"/>
                  </a:lnTo>
                  <a:lnTo>
                    <a:pt x="221" y="771"/>
                  </a:lnTo>
                  <a:lnTo>
                    <a:pt x="223" y="769"/>
                  </a:lnTo>
                  <a:lnTo>
                    <a:pt x="225" y="772"/>
                  </a:lnTo>
                  <a:lnTo>
                    <a:pt x="224" y="769"/>
                  </a:lnTo>
                  <a:lnTo>
                    <a:pt x="222" y="768"/>
                  </a:lnTo>
                  <a:lnTo>
                    <a:pt x="224" y="766"/>
                  </a:lnTo>
                  <a:lnTo>
                    <a:pt x="227" y="766"/>
                  </a:lnTo>
                  <a:lnTo>
                    <a:pt x="229" y="764"/>
                  </a:lnTo>
                  <a:lnTo>
                    <a:pt x="231" y="764"/>
                  </a:lnTo>
                  <a:lnTo>
                    <a:pt x="232" y="767"/>
                  </a:lnTo>
                  <a:lnTo>
                    <a:pt x="234" y="769"/>
                  </a:lnTo>
                  <a:lnTo>
                    <a:pt x="235" y="773"/>
                  </a:lnTo>
                  <a:lnTo>
                    <a:pt x="239" y="778"/>
                  </a:lnTo>
                  <a:lnTo>
                    <a:pt x="241" y="781"/>
                  </a:lnTo>
                  <a:lnTo>
                    <a:pt x="240" y="787"/>
                  </a:lnTo>
                  <a:lnTo>
                    <a:pt x="236" y="793"/>
                  </a:lnTo>
                  <a:lnTo>
                    <a:pt x="238" y="793"/>
                  </a:lnTo>
                  <a:lnTo>
                    <a:pt x="242" y="790"/>
                  </a:lnTo>
                  <a:lnTo>
                    <a:pt x="246" y="791"/>
                  </a:lnTo>
                  <a:lnTo>
                    <a:pt x="248" y="793"/>
                  </a:lnTo>
                  <a:lnTo>
                    <a:pt x="253" y="793"/>
                  </a:lnTo>
                  <a:lnTo>
                    <a:pt x="255" y="799"/>
                  </a:lnTo>
                  <a:lnTo>
                    <a:pt x="255" y="795"/>
                  </a:lnTo>
                  <a:lnTo>
                    <a:pt x="254" y="792"/>
                  </a:lnTo>
                  <a:lnTo>
                    <a:pt x="247" y="790"/>
                  </a:lnTo>
                  <a:lnTo>
                    <a:pt x="246" y="787"/>
                  </a:lnTo>
                  <a:lnTo>
                    <a:pt x="247" y="783"/>
                  </a:lnTo>
                  <a:lnTo>
                    <a:pt x="250" y="781"/>
                  </a:lnTo>
                  <a:lnTo>
                    <a:pt x="256" y="779"/>
                  </a:lnTo>
                  <a:lnTo>
                    <a:pt x="259" y="781"/>
                  </a:lnTo>
                  <a:lnTo>
                    <a:pt x="261" y="781"/>
                  </a:lnTo>
                  <a:lnTo>
                    <a:pt x="264" y="780"/>
                  </a:lnTo>
                  <a:lnTo>
                    <a:pt x="267" y="782"/>
                  </a:lnTo>
                  <a:lnTo>
                    <a:pt x="273" y="781"/>
                  </a:lnTo>
                  <a:lnTo>
                    <a:pt x="275" y="782"/>
                  </a:lnTo>
                  <a:lnTo>
                    <a:pt x="279" y="781"/>
                  </a:lnTo>
                  <a:lnTo>
                    <a:pt x="281" y="781"/>
                  </a:lnTo>
                  <a:lnTo>
                    <a:pt x="278" y="778"/>
                  </a:lnTo>
                  <a:lnTo>
                    <a:pt x="275" y="775"/>
                  </a:lnTo>
                  <a:lnTo>
                    <a:pt x="278" y="772"/>
                  </a:lnTo>
                  <a:lnTo>
                    <a:pt x="282" y="771"/>
                  </a:lnTo>
                  <a:lnTo>
                    <a:pt x="282" y="767"/>
                  </a:lnTo>
                  <a:lnTo>
                    <a:pt x="279" y="767"/>
                  </a:lnTo>
                  <a:lnTo>
                    <a:pt x="276" y="769"/>
                  </a:lnTo>
                  <a:lnTo>
                    <a:pt x="274" y="770"/>
                  </a:lnTo>
                  <a:lnTo>
                    <a:pt x="274" y="766"/>
                  </a:lnTo>
                  <a:lnTo>
                    <a:pt x="276" y="764"/>
                  </a:lnTo>
                  <a:lnTo>
                    <a:pt x="279" y="763"/>
                  </a:lnTo>
                  <a:lnTo>
                    <a:pt x="281" y="759"/>
                  </a:lnTo>
                  <a:lnTo>
                    <a:pt x="286" y="756"/>
                  </a:lnTo>
                  <a:lnTo>
                    <a:pt x="290" y="757"/>
                  </a:lnTo>
                  <a:lnTo>
                    <a:pt x="293" y="754"/>
                  </a:lnTo>
                  <a:lnTo>
                    <a:pt x="295" y="752"/>
                  </a:lnTo>
                  <a:lnTo>
                    <a:pt x="299" y="750"/>
                  </a:lnTo>
                  <a:lnTo>
                    <a:pt x="303" y="750"/>
                  </a:lnTo>
                  <a:lnTo>
                    <a:pt x="303" y="746"/>
                  </a:lnTo>
                  <a:lnTo>
                    <a:pt x="302" y="744"/>
                  </a:lnTo>
                  <a:lnTo>
                    <a:pt x="299" y="744"/>
                  </a:lnTo>
                  <a:lnTo>
                    <a:pt x="297" y="743"/>
                  </a:lnTo>
                  <a:lnTo>
                    <a:pt x="289" y="744"/>
                  </a:lnTo>
                  <a:lnTo>
                    <a:pt x="289" y="740"/>
                  </a:lnTo>
                  <a:lnTo>
                    <a:pt x="292" y="738"/>
                  </a:lnTo>
                  <a:lnTo>
                    <a:pt x="294" y="735"/>
                  </a:lnTo>
                  <a:lnTo>
                    <a:pt x="297" y="733"/>
                  </a:lnTo>
                  <a:lnTo>
                    <a:pt x="302" y="731"/>
                  </a:lnTo>
                  <a:lnTo>
                    <a:pt x="304" y="729"/>
                  </a:lnTo>
                  <a:lnTo>
                    <a:pt x="299" y="727"/>
                  </a:lnTo>
                  <a:lnTo>
                    <a:pt x="295" y="727"/>
                  </a:lnTo>
                  <a:lnTo>
                    <a:pt x="295" y="724"/>
                  </a:lnTo>
                  <a:lnTo>
                    <a:pt x="298" y="720"/>
                  </a:lnTo>
                  <a:lnTo>
                    <a:pt x="294" y="723"/>
                  </a:lnTo>
                  <a:lnTo>
                    <a:pt x="293" y="728"/>
                  </a:lnTo>
                  <a:lnTo>
                    <a:pt x="283" y="735"/>
                  </a:lnTo>
                  <a:lnTo>
                    <a:pt x="281" y="737"/>
                  </a:lnTo>
                  <a:lnTo>
                    <a:pt x="279" y="740"/>
                  </a:lnTo>
                  <a:lnTo>
                    <a:pt x="273" y="742"/>
                  </a:lnTo>
                  <a:lnTo>
                    <a:pt x="270" y="746"/>
                  </a:lnTo>
                  <a:lnTo>
                    <a:pt x="275" y="744"/>
                  </a:lnTo>
                  <a:lnTo>
                    <a:pt x="281" y="740"/>
                  </a:lnTo>
                  <a:lnTo>
                    <a:pt x="285" y="741"/>
                  </a:lnTo>
                  <a:lnTo>
                    <a:pt x="287" y="743"/>
                  </a:lnTo>
                  <a:lnTo>
                    <a:pt x="287" y="746"/>
                  </a:lnTo>
                  <a:lnTo>
                    <a:pt x="284" y="751"/>
                  </a:lnTo>
                  <a:lnTo>
                    <a:pt x="281" y="755"/>
                  </a:lnTo>
                  <a:lnTo>
                    <a:pt x="277" y="756"/>
                  </a:lnTo>
                  <a:lnTo>
                    <a:pt x="274" y="759"/>
                  </a:lnTo>
                  <a:lnTo>
                    <a:pt x="272" y="759"/>
                  </a:lnTo>
                  <a:lnTo>
                    <a:pt x="269" y="763"/>
                  </a:lnTo>
                  <a:lnTo>
                    <a:pt x="266" y="765"/>
                  </a:lnTo>
                  <a:lnTo>
                    <a:pt x="261" y="769"/>
                  </a:lnTo>
                  <a:lnTo>
                    <a:pt x="257" y="771"/>
                  </a:lnTo>
                  <a:lnTo>
                    <a:pt x="254" y="771"/>
                  </a:lnTo>
                  <a:lnTo>
                    <a:pt x="251" y="773"/>
                  </a:lnTo>
                  <a:lnTo>
                    <a:pt x="247" y="776"/>
                  </a:lnTo>
                  <a:lnTo>
                    <a:pt x="243" y="776"/>
                  </a:lnTo>
                  <a:lnTo>
                    <a:pt x="239" y="775"/>
                  </a:lnTo>
                  <a:lnTo>
                    <a:pt x="239" y="771"/>
                  </a:lnTo>
                  <a:lnTo>
                    <a:pt x="239" y="768"/>
                  </a:lnTo>
                  <a:lnTo>
                    <a:pt x="235" y="765"/>
                  </a:lnTo>
                  <a:lnTo>
                    <a:pt x="235" y="762"/>
                  </a:lnTo>
                  <a:lnTo>
                    <a:pt x="235" y="759"/>
                  </a:lnTo>
                  <a:lnTo>
                    <a:pt x="240" y="757"/>
                  </a:lnTo>
                  <a:lnTo>
                    <a:pt x="243" y="756"/>
                  </a:lnTo>
                  <a:lnTo>
                    <a:pt x="248" y="752"/>
                  </a:lnTo>
                  <a:lnTo>
                    <a:pt x="244" y="754"/>
                  </a:lnTo>
                  <a:lnTo>
                    <a:pt x="244" y="750"/>
                  </a:lnTo>
                  <a:lnTo>
                    <a:pt x="241" y="752"/>
                  </a:lnTo>
                  <a:lnTo>
                    <a:pt x="237" y="755"/>
                  </a:lnTo>
                  <a:lnTo>
                    <a:pt x="234" y="756"/>
                  </a:lnTo>
                  <a:lnTo>
                    <a:pt x="228" y="758"/>
                  </a:lnTo>
                  <a:lnTo>
                    <a:pt x="226" y="761"/>
                  </a:lnTo>
                  <a:lnTo>
                    <a:pt x="225" y="757"/>
                  </a:lnTo>
                  <a:lnTo>
                    <a:pt x="231" y="752"/>
                  </a:lnTo>
                  <a:lnTo>
                    <a:pt x="234" y="752"/>
                  </a:lnTo>
                  <a:lnTo>
                    <a:pt x="226" y="753"/>
                  </a:lnTo>
                  <a:lnTo>
                    <a:pt x="229" y="747"/>
                  </a:lnTo>
                  <a:lnTo>
                    <a:pt x="236" y="743"/>
                  </a:lnTo>
                  <a:lnTo>
                    <a:pt x="238" y="739"/>
                  </a:lnTo>
                  <a:lnTo>
                    <a:pt x="247" y="738"/>
                  </a:lnTo>
                  <a:lnTo>
                    <a:pt x="251" y="737"/>
                  </a:lnTo>
                  <a:lnTo>
                    <a:pt x="250" y="734"/>
                  </a:lnTo>
                  <a:lnTo>
                    <a:pt x="248" y="735"/>
                  </a:lnTo>
                  <a:lnTo>
                    <a:pt x="244" y="737"/>
                  </a:lnTo>
                  <a:lnTo>
                    <a:pt x="241" y="738"/>
                  </a:lnTo>
                  <a:lnTo>
                    <a:pt x="247" y="734"/>
                  </a:lnTo>
                  <a:lnTo>
                    <a:pt x="243" y="734"/>
                  </a:lnTo>
                  <a:lnTo>
                    <a:pt x="240" y="734"/>
                  </a:lnTo>
                  <a:lnTo>
                    <a:pt x="242" y="732"/>
                  </a:lnTo>
                  <a:lnTo>
                    <a:pt x="243" y="728"/>
                  </a:lnTo>
                  <a:lnTo>
                    <a:pt x="244" y="725"/>
                  </a:lnTo>
                  <a:lnTo>
                    <a:pt x="243" y="722"/>
                  </a:lnTo>
                  <a:lnTo>
                    <a:pt x="247" y="721"/>
                  </a:lnTo>
                  <a:lnTo>
                    <a:pt x="252" y="721"/>
                  </a:lnTo>
                  <a:lnTo>
                    <a:pt x="248" y="720"/>
                  </a:lnTo>
                  <a:lnTo>
                    <a:pt x="250" y="718"/>
                  </a:lnTo>
                  <a:lnTo>
                    <a:pt x="251" y="712"/>
                  </a:lnTo>
                  <a:lnTo>
                    <a:pt x="256" y="710"/>
                  </a:lnTo>
                  <a:lnTo>
                    <a:pt x="259" y="712"/>
                  </a:lnTo>
                  <a:lnTo>
                    <a:pt x="257" y="709"/>
                  </a:lnTo>
                  <a:lnTo>
                    <a:pt x="254" y="708"/>
                  </a:lnTo>
                  <a:lnTo>
                    <a:pt x="257" y="706"/>
                  </a:lnTo>
                  <a:lnTo>
                    <a:pt x="260" y="705"/>
                  </a:lnTo>
                  <a:lnTo>
                    <a:pt x="263" y="702"/>
                  </a:lnTo>
                  <a:lnTo>
                    <a:pt x="262" y="699"/>
                  </a:lnTo>
                  <a:lnTo>
                    <a:pt x="264" y="697"/>
                  </a:lnTo>
                  <a:lnTo>
                    <a:pt x="266" y="699"/>
                  </a:lnTo>
                  <a:lnTo>
                    <a:pt x="264" y="696"/>
                  </a:lnTo>
                  <a:lnTo>
                    <a:pt x="268" y="698"/>
                  </a:lnTo>
                  <a:lnTo>
                    <a:pt x="267" y="694"/>
                  </a:lnTo>
                  <a:lnTo>
                    <a:pt x="262" y="692"/>
                  </a:lnTo>
                  <a:lnTo>
                    <a:pt x="264" y="690"/>
                  </a:lnTo>
                  <a:lnTo>
                    <a:pt x="268" y="693"/>
                  </a:lnTo>
                  <a:lnTo>
                    <a:pt x="267" y="690"/>
                  </a:lnTo>
                  <a:lnTo>
                    <a:pt x="273" y="691"/>
                  </a:lnTo>
                  <a:lnTo>
                    <a:pt x="277" y="695"/>
                  </a:lnTo>
                  <a:lnTo>
                    <a:pt x="276" y="693"/>
                  </a:lnTo>
                  <a:lnTo>
                    <a:pt x="276" y="690"/>
                  </a:lnTo>
                  <a:lnTo>
                    <a:pt x="271" y="689"/>
                  </a:lnTo>
                  <a:lnTo>
                    <a:pt x="272" y="686"/>
                  </a:lnTo>
                  <a:lnTo>
                    <a:pt x="276" y="685"/>
                  </a:lnTo>
                  <a:lnTo>
                    <a:pt x="279" y="684"/>
                  </a:lnTo>
                  <a:lnTo>
                    <a:pt x="282" y="685"/>
                  </a:lnTo>
                  <a:lnTo>
                    <a:pt x="281" y="682"/>
                  </a:lnTo>
                  <a:lnTo>
                    <a:pt x="282" y="680"/>
                  </a:lnTo>
                  <a:lnTo>
                    <a:pt x="281" y="677"/>
                  </a:lnTo>
                  <a:lnTo>
                    <a:pt x="282" y="674"/>
                  </a:lnTo>
                  <a:lnTo>
                    <a:pt x="286" y="676"/>
                  </a:lnTo>
                  <a:lnTo>
                    <a:pt x="286" y="679"/>
                  </a:lnTo>
                  <a:lnTo>
                    <a:pt x="288" y="681"/>
                  </a:lnTo>
                  <a:lnTo>
                    <a:pt x="291" y="684"/>
                  </a:lnTo>
                  <a:lnTo>
                    <a:pt x="290" y="688"/>
                  </a:lnTo>
                  <a:lnTo>
                    <a:pt x="294" y="688"/>
                  </a:lnTo>
                  <a:lnTo>
                    <a:pt x="298" y="689"/>
                  </a:lnTo>
                  <a:lnTo>
                    <a:pt x="297" y="692"/>
                  </a:lnTo>
                  <a:lnTo>
                    <a:pt x="295" y="695"/>
                  </a:lnTo>
                  <a:lnTo>
                    <a:pt x="293" y="700"/>
                  </a:lnTo>
                  <a:lnTo>
                    <a:pt x="296" y="695"/>
                  </a:lnTo>
                  <a:lnTo>
                    <a:pt x="299" y="693"/>
                  </a:lnTo>
                  <a:lnTo>
                    <a:pt x="300" y="688"/>
                  </a:lnTo>
                  <a:lnTo>
                    <a:pt x="303" y="687"/>
                  </a:lnTo>
                  <a:lnTo>
                    <a:pt x="308" y="686"/>
                  </a:lnTo>
                  <a:lnTo>
                    <a:pt x="301" y="686"/>
                  </a:lnTo>
                  <a:lnTo>
                    <a:pt x="302" y="683"/>
                  </a:lnTo>
                  <a:lnTo>
                    <a:pt x="305" y="681"/>
                  </a:lnTo>
                  <a:lnTo>
                    <a:pt x="304" y="679"/>
                  </a:lnTo>
                  <a:lnTo>
                    <a:pt x="307" y="678"/>
                  </a:lnTo>
                  <a:lnTo>
                    <a:pt x="310" y="677"/>
                  </a:lnTo>
                  <a:lnTo>
                    <a:pt x="314" y="675"/>
                  </a:lnTo>
                  <a:lnTo>
                    <a:pt x="310" y="674"/>
                  </a:lnTo>
                  <a:lnTo>
                    <a:pt x="309" y="672"/>
                  </a:lnTo>
                  <a:lnTo>
                    <a:pt x="306" y="674"/>
                  </a:lnTo>
                  <a:lnTo>
                    <a:pt x="306" y="677"/>
                  </a:lnTo>
                  <a:lnTo>
                    <a:pt x="303" y="675"/>
                  </a:lnTo>
                  <a:lnTo>
                    <a:pt x="302" y="672"/>
                  </a:lnTo>
                  <a:lnTo>
                    <a:pt x="301" y="669"/>
                  </a:lnTo>
                  <a:lnTo>
                    <a:pt x="299" y="666"/>
                  </a:lnTo>
                  <a:lnTo>
                    <a:pt x="300" y="664"/>
                  </a:lnTo>
                  <a:lnTo>
                    <a:pt x="303" y="663"/>
                  </a:lnTo>
                  <a:lnTo>
                    <a:pt x="305" y="661"/>
                  </a:lnTo>
                  <a:lnTo>
                    <a:pt x="307" y="661"/>
                  </a:lnTo>
                  <a:lnTo>
                    <a:pt x="305" y="658"/>
                  </a:lnTo>
                  <a:lnTo>
                    <a:pt x="315" y="657"/>
                  </a:lnTo>
                  <a:lnTo>
                    <a:pt x="310" y="654"/>
                  </a:lnTo>
                  <a:lnTo>
                    <a:pt x="315" y="652"/>
                  </a:lnTo>
                  <a:lnTo>
                    <a:pt x="312" y="652"/>
                  </a:lnTo>
                  <a:lnTo>
                    <a:pt x="309" y="651"/>
                  </a:lnTo>
                  <a:lnTo>
                    <a:pt x="311" y="650"/>
                  </a:lnTo>
                  <a:lnTo>
                    <a:pt x="313" y="648"/>
                  </a:lnTo>
                  <a:lnTo>
                    <a:pt x="315" y="646"/>
                  </a:lnTo>
                  <a:lnTo>
                    <a:pt x="320" y="643"/>
                  </a:lnTo>
                  <a:lnTo>
                    <a:pt x="323" y="642"/>
                  </a:lnTo>
                  <a:lnTo>
                    <a:pt x="326" y="640"/>
                  </a:lnTo>
                  <a:lnTo>
                    <a:pt x="332" y="641"/>
                  </a:lnTo>
                  <a:lnTo>
                    <a:pt x="329" y="638"/>
                  </a:lnTo>
                  <a:lnTo>
                    <a:pt x="326" y="638"/>
                  </a:lnTo>
                  <a:lnTo>
                    <a:pt x="320" y="640"/>
                  </a:lnTo>
                  <a:lnTo>
                    <a:pt x="312" y="646"/>
                  </a:lnTo>
                  <a:lnTo>
                    <a:pt x="308" y="649"/>
                  </a:lnTo>
                  <a:lnTo>
                    <a:pt x="305" y="654"/>
                  </a:lnTo>
                  <a:lnTo>
                    <a:pt x="301" y="657"/>
                  </a:lnTo>
                  <a:lnTo>
                    <a:pt x="299" y="659"/>
                  </a:lnTo>
                  <a:lnTo>
                    <a:pt x="294" y="662"/>
                  </a:lnTo>
                  <a:lnTo>
                    <a:pt x="297" y="659"/>
                  </a:lnTo>
                  <a:lnTo>
                    <a:pt x="300" y="655"/>
                  </a:lnTo>
                  <a:lnTo>
                    <a:pt x="297" y="655"/>
                  </a:lnTo>
                  <a:lnTo>
                    <a:pt x="294" y="654"/>
                  </a:lnTo>
                  <a:lnTo>
                    <a:pt x="304" y="650"/>
                  </a:lnTo>
                  <a:lnTo>
                    <a:pt x="310" y="646"/>
                  </a:lnTo>
                  <a:lnTo>
                    <a:pt x="307" y="646"/>
                  </a:lnTo>
                  <a:lnTo>
                    <a:pt x="293" y="650"/>
                  </a:lnTo>
                  <a:lnTo>
                    <a:pt x="299" y="643"/>
                  </a:lnTo>
                  <a:lnTo>
                    <a:pt x="304" y="646"/>
                  </a:lnTo>
                  <a:lnTo>
                    <a:pt x="307" y="644"/>
                  </a:lnTo>
                  <a:lnTo>
                    <a:pt x="302" y="642"/>
                  </a:lnTo>
                  <a:lnTo>
                    <a:pt x="305" y="640"/>
                  </a:lnTo>
                  <a:lnTo>
                    <a:pt x="308" y="641"/>
                  </a:lnTo>
                  <a:lnTo>
                    <a:pt x="311" y="640"/>
                  </a:lnTo>
                  <a:lnTo>
                    <a:pt x="313" y="639"/>
                  </a:lnTo>
                  <a:lnTo>
                    <a:pt x="315" y="634"/>
                  </a:lnTo>
                  <a:lnTo>
                    <a:pt x="317" y="632"/>
                  </a:lnTo>
                  <a:lnTo>
                    <a:pt x="321" y="630"/>
                  </a:lnTo>
                  <a:lnTo>
                    <a:pt x="324" y="631"/>
                  </a:lnTo>
                  <a:lnTo>
                    <a:pt x="327" y="631"/>
                  </a:lnTo>
                  <a:lnTo>
                    <a:pt x="330" y="635"/>
                  </a:lnTo>
                  <a:lnTo>
                    <a:pt x="331" y="631"/>
                  </a:lnTo>
                  <a:lnTo>
                    <a:pt x="334" y="630"/>
                  </a:lnTo>
                  <a:lnTo>
                    <a:pt x="337" y="628"/>
                  </a:lnTo>
                  <a:lnTo>
                    <a:pt x="340" y="627"/>
                  </a:lnTo>
                  <a:lnTo>
                    <a:pt x="342" y="625"/>
                  </a:lnTo>
                  <a:lnTo>
                    <a:pt x="347" y="623"/>
                  </a:lnTo>
                  <a:lnTo>
                    <a:pt x="349" y="621"/>
                  </a:lnTo>
                  <a:lnTo>
                    <a:pt x="351" y="618"/>
                  </a:lnTo>
                  <a:lnTo>
                    <a:pt x="353" y="615"/>
                  </a:lnTo>
                  <a:lnTo>
                    <a:pt x="354" y="613"/>
                  </a:lnTo>
                  <a:lnTo>
                    <a:pt x="359" y="606"/>
                  </a:lnTo>
                  <a:lnTo>
                    <a:pt x="356" y="608"/>
                  </a:lnTo>
                  <a:lnTo>
                    <a:pt x="349" y="617"/>
                  </a:lnTo>
                  <a:lnTo>
                    <a:pt x="345" y="620"/>
                  </a:lnTo>
                  <a:lnTo>
                    <a:pt x="340" y="622"/>
                  </a:lnTo>
                  <a:lnTo>
                    <a:pt x="338" y="619"/>
                  </a:lnTo>
                  <a:lnTo>
                    <a:pt x="341" y="618"/>
                  </a:lnTo>
                  <a:lnTo>
                    <a:pt x="340" y="616"/>
                  </a:lnTo>
                  <a:lnTo>
                    <a:pt x="338" y="615"/>
                  </a:lnTo>
                  <a:lnTo>
                    <a:pt x="340" y="613"/>
                  </a:lnTo>
                  <a:lnTo>
                    <a:pt x="343" y="612"/>
                  </a:lnTo>
                  <a:lnTo>
                    <a:pt x="349" y="612"/>
                  </a:lnTo>
                  <a:lnTo>
                    <a:pt x="346" y="611"/>
                  </a:lnTo>
                  <a:lnTo>
                    <a:pt x="343" y="611"/>
                  </a:lnTo>
                  <a:lnTo>
                    <a:pt x="340" y="610"/>
                  </a:lnTo>
                  <a:lnTo>
                    <a:pt x="336" y="611"/>
                  </a:lnTo>
                  <a:lnTo>
                    <a:pt x="334" y="613"/>
                  </a:lnTo>
                  <a:lnTo>
                    <a:pt x="336" y="608"/>
                  </a:lnTo>
                  <a:lnTo>
                    <a:pt x="339" y="607"/>
                  </a:lnTo>
                  <a:lnTo>
                    <a:pt x="341" y="604"/>
                  </a:lnTo>
                  <a:lnTo>
                    <a:pt x="338" y="606"/>
                  </a:lnTo>
                  <a:lnTo>
                    <a:pt x="341" y="601"/>
                  </a:lnTo>
                  <a:lnTo>
                    <a:pt x="346" y="603"/>
                  </a:lnTo>
                  <a:lnTo>
                    <a:pt x="349" y="605"/>
                  </a:lnTo>
                  <a:lnTo>
                    <a:pt x="347" y="602"/>
                  </a:lnTo>
                  <a:lnTo>
                    <a:pt x="344" y="602"/>
                  </a:lnTo>
                  <a:lnTo>
                    <a:pt x="343" y="598"/>
                  </a:lnTo>
                  <a:lnTo>
                    <a:pt x="341" y="596"/>
                  </a:lnTo>
                  <a:lnTo>
                    <a:pt x="344" y="595"/>
                  </a:lnTo>
                  <a:lnTo>
                    <a:pt x="347" y="596"/>
                  </a:lnTo>
                  <a:lnTo>
                    <a:pt x="349" y="600"/>
                  </a:lnTo>
                  <a:lnTo>
                    <a:pt x="347" y="597"/>
                  </a:lnTo>
                  <a:lnTo>
                    <a:pt x="347" y="594"/>
                  </a:lnTo>
                  <a:lnTo>
                    <a:pt x="352" y="593"/>
                  </a:lnTo>
                  <a:lnTo>
                    <a:pt x="346" y="593"/>
                  </a:lnTo>
                  <a:lnTo>
                    <a:pt x="345" y="590"/>
                  </a:lnTo>
                  <a:lnTo>
                    <a:pt x="344" y="587"/>
                  </a:lnTo>
                  <a:lnTo>
                    <a:pt x="344" y="585"/>
                  </a:lnTo>
                  <a:lnTo>
                    <a:pt x="344" y="581"/>
                  </a:lnTo>
                  <a:lnTo>
                    <a:pt x="343" y="586"/>
                  </a:lnTo>
                  <a:lnTo>
                    <a:pt x="340" y="587"/>
                  </a:lnTo>
                  <a:lnTo>
                    <a:pt x="341" y="585"/>
                  </a:lnTo>
                  <a:lnTo>
                    <a:pt x="342" y="582"/>
                  </a:lnTo>
                  <a:lnTo>
                    <a:pt x="340" y="586"/>
                  </a:lnTo>
                  <a:lnTo>
                    <a:pt x="338" y="586"/>
                  </a:lnTo>
                  <a:lnTo>
                    <a:pt x="337" y="583"/>
                  </a:lnTo>
                  <a:lnTo>
                    <a:pt x="335" y="577"/>
                  </a:lnTo>
                  <a:lnTo>
                    <a:pt x="337" y="573"/>
                  </a:lnTo>
                  <a:lnTo>
                    <a:pt x="338" y="570"/>
                  </a:lnTo>
                  <a:lnTo>
                    <a:pt x="341" y="567"/>
                  </a:lnTo>
                  <a:lnTo>
                    <a:pt x="344" y="571"/>
                  </a:lnTo>
                  <a:lnTo>
                    <a:pt x="345" y="574"/>
                  </a:lnTo>
                  <a:lnTo>
                    <a:pt x="348" y="575"/>
                  </a:lnTo>
                  <a:lnTo>
                    <a:pt x="352" y="575"/>
                  </a:lnTo>
                  <a:lnTo>
                    <a:pt x="348" y="574"/>
                  </a:lnTo>
                  <a:lnTo>
                    <a:pt x="347" y="571"/>
                  </a:lnTo>
                  <a:lnTo>
                    <a:pt x="344" y="567"/>
                  </a:lnTo>
                  <a:lnTo>
                    <a:pt x="343" y="564"/>
                  </a:lnTo>
                  <a:lnTo>
                    <a:pt x="346" y="560"/>
                  </a:lnTo>
                  <a:lnTo>
                    <a:pt x="346" y="558"/>
                  </a:lnTo>
                  <a:lnTo>
                    <a:pt x="345" y="555"/>
                  </a:lnTo>
                  <a:lnTo>
                    <a:pt x="345" y="552"/>
                  </a:lnTo>
                  <a:lnTo>
                    <a:pt x="347" y="549"/>
                  </a:lnTo>
                  <a:lnTo>
                    <a:pt x="351" y="545"/>
                  </a:lnTo>
                  <a:lnTo>
                    <a:pt x="353" y="545"/>
                  </a:lnTo>
                  <a:lnTo>
                    <a:pt x="356" y="546"/>
                  </a:lnTo>
                  <a:lnTo>
                    <a:pt x="357" y="549"/>
                  </a:lnTo>
                  <a:lnTo>
                    <a:pt x="361" y="550"/>
                  </a:lnTo>
                  <a:lnTo>
                    <a:pt x="365" y="555"/>
                  </a:lnTo>
                  <a:lnTo>
                    <a:pt x="365" y="551"/>
                  </a:lnTo>
                  <a:lnTo>
                    <a:pt x="364" y="549"/>
                  </a:lnTo>
                  <a:lnTo>
                    <a:pt x="360" y="547"/>
                  </a:lnTo>
                  <a:lnTo>
                    <a:pt x="358" y="546"/>
                  </a:lnTo>
                  <a:lnTo>
                    <a:pt x="357" y="541"/>
                  </a:lnTo>
                  <a:lnTo>
                    <a:pt x="357" y="537"/>
                  </a:lnTo>
                  <a:lnTo>
                    <a:pt x="347" y="538"/>
                  </a:lnTo>
                  <a:lnTo>
                    <a:pt x="349" y="533"/>
                  </a:lnTo>
                  <a:lnTo>
                    <a:pt x="353" y="530"/>
                  </a:lnTo>
                  <a:lnTo>
                    <a:pt x="360" y="528"/>
                  </a:lnTo>
                  <a:lnTo>
                    <a:pt x="364" y="526"/>
                  </a:lnTo>
                  <a:lnTo>
                    <a:pt x="366" y="525"/>
                  </a:lnTo>
                  <a:lnTo>
                    <a:pt x="369" y="521"/>
                  </a:lnTo>
                  <a:lnTo>
                    <a:pt x="377" y="519"/>
                  </a:lnTo>
                  <a:lnTo>
                    <a:pt x="377" y="523"/>
                  </a:lnTo>
                  <a:lnTo>
                    <a:pt x="379" y="524"/>
                  </a:lnTo>
                  <a:lnTo>
                    <a:pt x="378" y="527"/>
                  </a:lnTo>
                  <a:lnTo>
                    <a:pt x="378" y="530"/>
                  </a:lnTo>
                  <a:lnTo>
                    <a:pt x="381" y="527"/>
                  </a:lnTo>
                  <a:lnTo>
                    <a:pt x="385" y="526"/>
                  </a:lnTo>
                  <a:lnTo>
                    <a:pt x="389" y="527"/>
                  </a:lnTo>
                  <a:lnTo>
                    <a:pt x="387" y="524"/>
                  </a:lnTo>
                  <a:lnTo>
                    <a:pt x="384" y="525"/>
                  </a:lnTo>
                  <a:lnTo>
                    <a:pt x="381" y="524"/>
                  </a:lnTo>
                  <a:lnTo>
                    <a:pt x="382" y="521"/>
                  </a:lnTo>
                  <a:lnTo>
                    <a:pt x="386" y="518"/>
                  </a:lnTo>
                  <a:lnTo>
                    <a:pt x="386" y="522"/>
                  </a:lnTo>
                  <a:lnTo>
                    <a:pt x="389" y="520"/>
                  </a:lnTo>
                  <a:lnTo>
                    <a:pt x="395" y="518"/>
                  </a:lnTo>
                  <a:lnTo>
                    <a:pt x="396" y="515"/>
                  </a:lnTo>
                  <a:lnTo>
                    <a:pt x="400" y="512"/>
                  </a:lnTo>
                  <a:lnTo>
                    <a:pt x="401" y="508"/>
                  </a:lnTo>
                  <a:lnTo>
                    <a:pt x="397" y="511"/>
                  </a:lnTo>
                  <a:lnTo>
                    <a:pt x="394" y="512"/>
                  </a:lnTo>
                  <a:lnTo>
                    <a:pt x="393" y="515"/>
                  </a:lnTo>
                  <a:lnTo>
                    <a:pt x="387" y="515"/>
                  </a:lnTo>
                  <a:lnTo>
                    <a:pt x="384" y="516"/>
                  </a:lnTo>
                  <a:lnTo>
                    <a:pt x="381" y="519"/>
                  </a:lnTo>
                  <a:lnTo>
                    <a:pt x="381" y="516"/>
                  </a:lnTo>
                  <a:lnTo>
                    <a:pt x="376" y="517"/>
                  </a:lnTo>
                  <a:lnTo>
                    <a:pt x="373" y="519"/>
                  </a:lnTo>
                  <a:lnTo>
                    <a:pt x="370" y="519"/>
                  </a:lnTo>
                  <a:lnTo>
                    <a:pt x="365" y="523"/>
                  </a:lnTo>
                  <a:lnTo>
                    <a:pt x="360" y="526"/>
                  </a:lnTo>
                  <a:lnTo>
                    <a:pt x="361" y="522"/>
                  </a:lnTo>
                  <a:lnTo>
                    <a:pt x="362" y="519"/>
                  </a:lnTo>
                  <a:lnTo>
                    <a:pt x="369" y="514"/>
                  </a:lnTo>
                  <a:lnTo>
                    <a:pt x="376" y="514"/>
                  </a:lnTo>
                  <a:lnTo>
                    <a:pt x="372" y="512"/>
                  </a:lnTo>
                  <a:lnTo>
                    <a:pt x="372" y="509"/>
                  </a:lnTo>
                  <a:lnTo>
                    <a:pt x="370" y="508"/>
                  </a:lnTo>
                  <a:lnTo>
                    <a:pt x="370" y="511"/>
                  </a:lnTo>
                  <a:lnTo>
                    <a:pt x="366" y="514"/>
                  </a:lnTo>
                  <a:lnTo>
                    <a:pt x="363" y="514"/>
                  </a:lnTo>
                  <a:lnTo>
                    <a:pt x="361" y="513"/>
                  </a:lnTo>
                  <a:lnTo>
                    <a:pt x="358" y="513"/>
                  </a:lnTo>
                  <a:lnTo>
                    <a:pt x="357" y="508"/>
                  </a:lnTo>
                  <a:lnTo>
                    <a:pt x="362" y="505"/>
                  </a:lnTo>
                  <a:lnTo>
                    <a:pt x="363" y="503"/>
                  </a:lnTo>
                  <a:lnTo>
                    <a:pt x="360" y="499"/>
                  </a:lnTo>
                  <a:lnTo>
                    <a:pt x="363" y="499"/>
                  </a:lnTo>
                  <a:lnTo>
                    <a:pt x="359" y="495"/>
                  </a:lnTo>
                  <a:lnTo>
                    <a:pt x="355" y="493"/>
                  </a:lnTo>
                  <a:lnTo>
                    <a:pt x="360" y="491"/>
                  </a:lnTo>
                  <a:lnTo>
                    <a:pt x="363" y="493"/>
                  </a:lnTo>
                  <a:lnTo>
                    <a:pt x="365" y="496"/>
                  </a:lnTo>
                  <a:lnTo>
                    <a:pt x="365" y="498"/>
                  </a:lnTo>
                  <a:lnTo>
                    <a:pt x="370" y="499"/>
                  </a:lnTo>
                  <a:lnTo>
                    <a:pt x="367" y="498"/>
                  </a:lnTo>
                  <a:lnTo>
                    <a:pt x="367" y="495"/>
                  </a:lnTo>
                  <a:lnTo>
                    <a:pt x="368" y="491"/>
                  </a:lnTo>
                  <a:lnTo>
                    <a:pt x="372" y="491"/>
                  </a:lnTo>
                  <a:lnTo>
                    <a:pt x="377" y="492"/>
                  </a:lnTo>
                  <a:lnTo>
                    <a:pt x="381" y="493"/>
                  </a:lnTo>
                  <a:lnTo>
                    <a:pt x="374" y="489"/>
                  </a:lnTo>
                  <a:lnTo>
                    <a:pt x="375" y="487"/>
                  </a:lnTo>
                  <a:lnTo>
                    <a:pt x="378" y="484"/>
                  </a:lnTo>
                  <a:lnTo>
                    <a:pt x="374" y="485"/>
                  </a:lnTo>
                  <a:lnTo>
                    <a:pt x="372" y="489"/>
                  </a:lnTo>
                  <a:lnTo>
                    <a:pt x="368" y="489"/>
                  </a:lnTo>
                  <a:lnTo>
                    <a:pt x="366" y="490"/>
                  </a:lnTo>
                  <a:lnTo>
                    <a:pt x="364" y="490"/>
                  </a:lnTo>
                  <a:lnTo>
                    <a:pt x="365" y="486"/>
                  </a:lnTo>
                  <a:lnTo>
                    <a:pt x="368" y="483"/>
                  </a:lnTo>
                  <a:lnTo>
                    <a:pt x="365" y="483"/>
                  </a:lnTo>
                  <a:lnTo>
                    <a:pt x="362" y="481"/>
                  </a:lnTo>
                  <a:lnTo>
                    <a:pt x="365" y="481"/>
                  </a:lnTo>
                  <a:lnTo>
                    <a:pt x="368" y="481"/>
                  </a:lnTo>
                  <a:lnTo>
                    <a:pt x="371" y="480"/>
                  </a:lnTo>
                  <a:lnTo>
                    <a:pt x="375" y="481"/>
                  </a:lnTo>
                  <a:lnTo>
                    <a:pt x="373" y="478"/>
                  </a:lnTo>
                  <a:lnTo>
                    <a:pt x="365" y="476"/>
                  </a:lnTo>
                  <a:lnTo>
                    <a:pt x="373" y="475"/>
                  </a:lnTo>
                  <a:lnTo>
                    <a:pt x="381" y="476"/>
                  </a:lnTo>
                  <a:lnTo>
                    <a:pt x="385" y="474"/>
                  </a:lnTo>
                  <a:lnTo>
                    <a:pt x="388" y="472"/>
                  </a:lnTo>
                  <a:lnTo>
                    <a:pt x="381" y="472"/>
                  </a:lnTo>
                  <a:lnTo>
                    <a:pt x="378" y="475"/>
                  </a:lnTo>
                  <a:lnTo>
                    <a:pt x="375" y="474"/>
                  </a:lnTo>
                  <a:lnTo>
                    <a:pt x="376" y="471"/>
                  </a:lnTo>
                  <a:lnTo>
                    <a:pt x="382" y="471"/>
                  </a:lnTo>
                  <a:lnTo>
                    <a:pt x="376" y="469"/>
                  </a:lnTo>
                  <a:lnTo>
                    <a:pt x="377" y="466"/>
                  </a:lnTo>
                  <a:lnTo>
                    <a:pt x="380" y="466"/>
                  </a:lnTo>
                  <a:lnTo>
                    <a:pt x="383" y="467"/>
                  </a:lnTo>
                  <a:lnTo>
                    <a:pt x="392" y="467"/>
                  </a:lnTo>
                  <a:lnTo>
                    <a:pt x="384" y="465"/>
                  </a:lnTo>
                  <a:lnTo>
                    <a:pt x="381" y="464"/>
                  </a:lnTo>
                  <a:lnTo>
                    <a:pt x="380" y="461"/>
                  </a:lnTo>
                  <a:lnTo>
                    <a:pt x="378" y="458"/>
                  </a:lnTo>
                  <a:lnTo>
                    <a:pt x="375" y="458"/>
                  </a:lnTo>
                  <a:lnTo>
                    <a:pt x="375" y="455"/>
                  </a:lnTo>
                  <a:lnTo>
                    <a:pt x="382" y="454"/>
                  </a:lnTo>
                  <a:lnTo>
                    <a:pt x="385" y="451"/>
                  </a:lnTo>
                  <a:lnTo>
                    <a:pt x="388" y="448"/>
                  </a:lnTo>
                  <a:lnTo>
                    <a:pt x="388" y="451"/>
                  </a:lnTo>
                  <a:lnTo>
                    <a:pt x="389" y="455"/>
                  </a:lnTo>
                  <a:lnTo>
                    <a:pt x="391" y="452"/>
                  </a:lnTo>
                  <a:lnTo>
                    <a:pt x="393" y="448"/>
                  </a:lnTo>
                  <a:lnTo>
                    <a:pt x="392" y="445"/>
                  </a:lnTo>
                  <a:lnTo>
                    <a:pt x="393" y="441"/>
                  </a:lnTo>
                  <a:lnTo>
                    <a:pt x="394" y="445"/>
                  </a:lnTo>
                  <a:lnTo>
                    <a:pt x="395" y="448"/>
                  </a:lnTo>
                  <a:lnTo>
                    <a:pt x="399" y="449"/>
                  </a:lnTo>
                  <a:lnTo>
                    <a:pt x="401" y="445"/>
                  </a:lnTo>
                  <a:lnTo>
                    <a:pt x="401" y="441"/>
                  </a:lnTo>
                  <a:lnTo>
                    <a:pt x="406" y="440"/>
                  </a:lnTo>
                  <a:lnTo>
                    <a:pt x="410" y="441"/>
                  </a:lnTo>
                  <a:lnTo>
                    <a:pt x="411" y="445"/>
                  </a:lnTo>
                  <a:lnTo>
                    <a:pt x="413" y="441"/>
                  </a:lnTo>
                  <a:lnTo>
                    <a:pt x="409" y="440"/>
                  </a:lnTo>
                  <a:lnTo>
                    <a:pt x="405" y="439"/>
                  </a:lnTo>
                  <a:lnTo>
                    <a:pt x="402" y="439"/>
                  </a:lnTo>
                  <a:lnTo>
                    <a:pt x="402" y="436"/>
                  </a:lnTo>
                  <a:lnTo>
                    <a:pt x="402" y="433"/>
                  </a:lnTo>
                  <a:lnTo>
                    <a:pt x="407" y="431"/>
                  </a:lnTo>
                  <a:lnTo>
                    <a:pt x="406" y="434"/>
                  </a:lnTo>
                  <a:lnTo>
                    <a:pt x="415" y="431"/>
                  </a:lnTo>
                  <a:lnTo>
                    <a:pt x="417" y="434"/>
                  </a:lnTo>
                  <a:lnTo>
                    <a:pt x="417" y="431"/>
                  </a:lnTo>
                  <a:lnTo>
                    <a:pt x="414" y="429"/>
                  </a:lnTo>
                  <a:lnTo>
                    <a:pt x="409" y="429"/>
                  </a:lnTo>
                  <a:lnTo>
                    <a:pt x="413" y="427"/>
                  </a:lnTo>
                  <a:lnTo>
                    <a:pt x="417" y="426"/>
                  </a:lnTo>
                  <a:lnTo>
                    <a:pt x="422" y="426"/>
                  </a:lnTo>
                  <a:lnTo>
                    <a:pt x="425" y="425"/>
                  </a:lnTo>
                  <a:lnTo>
                    <a:pt x="424" y="429"/>
                  </a:lnTo>
                  <a:lnTo>
                    <a:pt x="423" y="432"/>
                  </a:lnTo>
                  <a:lnTo>
                    <a:pt x="427" y="435"/>
                  </a:lnTo>
                  <a:lnTo>
                    <a:pt x="426" y="433"/>
                  </a:lnTo>
                  <a:lnTo>
                    <a:pt x="427" y="426"/>
                  </a:lnTo>
                  <a:lnTo>
                    <a:pt x="429" y="425"/>
                  </a:lnTo>
                  <a:lnTo>
                    <a:pt x="434" y="426"/>
                  </a:lnTo>
                  <a:lnTo>
                    <a:pt x="437" y="428"/>
                  </a:lnTo>
                  <a:lnTo>
                    <a:pt x="439" y="428"/>
                  </a:lnTo>
                  <a:lnTo>
                    <a:pt x="441" y="434"/>
                  </a:lnTo>
                  <a:lnTo>
                    <a:pt x="443" y="436"/>
                  </a:lnTo>
                  <a:lnTo>
                    <a:pt x="445" y="437"/>
                  </a:lnTo>
                  <a:lnTo>
                    <a:pt x="443" y="432"/>
                  </a:lnTo>
                  <a:lnTo>
                    <a:pt x="444" y="429"/>
                  </a:lnTo>
                  <a:lnTo>
                    <a:pt x="441" y="426"/>
                  </a:lnTo>
                  <a:lnTo>
                    <a:pt x="443" y="424"/>
                  </a:lnTo>
                  <a:lnTo>
                    <a:pt x="452" y="427"/>
                  </a:lnTo>
                  <a:lnTo>
                    <a:pt x="451" y="424"/>
                  </a:lnTo>
                  <a:lnTo>
                    <a:pt x="448" y="424"/>
                  </a:lnTo>
                  <a:lnTo>
                    <a:pt x="441" y="422"/>
                  </a:lnTo>
                  <a:lnTo>
                    <a:pt x="437" y="424"/>
                  </a:lnTo>
                  <a:lnTo>
                    <a:pt x="436" y="421"/>
                  </a:lnTo>
                  <a:lnTo>
                    <a:pt x="428" y="422"/>
                  </a:lnTo>
                  <a:lnTo>
                    <a:pt x="431" y="416"/>
                  </a:lnTo>
                  <a:lnTo>
                    <a:pt x="428" y="417"/>
                  </a:lnTo>
                  <a:lnTo>
                    <a:pt x="423" y="420"/>
                  </a:lnTo>
                  <a:lnTo>
                    <a:pt x="418" y="420"/>
                  </a:lnTo>
                  <a:lnTo>
                    <a:pt x="414" y="425"/>
                  </a:lnTo>
                  <a:lnTo>
                    <a:pt x="415" y="421"/>
                  </a:lnTo>
                  <a:lnTo>
                    <a:pt x="412" y="421"/>
                  </a:lnTo>
                  <a:lnTo>
                    <a:pt x="405" y="423"/>
                  </a:lnTo>
                  <a:lnTo>
                    <a:pt x="402" y="424"/>
                  </a:lnTo>
                  <a:lnTo>
                    <a:pt x="404" y="422"/>
                  </a:lnTo>
                  <a:lnTo>
                    <a:pt x="406" y="419"/>
                  </a:lnTo>
                  <a:lnTo>
                    <a:pt x="407" y="416"/>
                  </a:lnTo>
                  <a:lnTo>
                    <a:pt x="411" y="411"/>
                  </a:lnTo>
                  <a:lnTo>
                    <a:pt x="411" y="408"/>
                  </a:lnTo>
                  <a:lnTo>
                    <a:pt x="416" y="407"/>
                  </a:lnTo>
                  <a:lnTo>
                    <a:pt x="418" y="410"/>
                  </a:lnTo>
                  <a:lnTo>
                    <a:pt x="422" y="407"/>
                  </a:lnTo>
                  <a:lnTo>
                    <a:pt x="424" y="406"/>
                  </a:lnTo>
                  <a:lnTo>
                    <a:pt x="426" y="403"/>
                  </a:lnTo>
                  <a:lnTo>
                    <a:pt x="422" y="404"/>
                  </a:lnTo>
                  <a:lnTo>
                    <a:pt x="418" y="404"/>
                  </a:lnTo>
                  <a:lnTo>
                    <a:pt x="415" y="400"/>
                  </a:lnTo>
                  <a:lnTo>
                    <a:pt x="417" y="397"/>
                  </a:lnTo>
                  <a:lnTo>
                    <a:pt x="423" y="392"/>
                  </a:lnTo>
                  <a:lnTo>
                    <a:pt x="426" y="392"/>
                  </a:lnTo>
                  <a:lnTo>
                    <a:pt x="430" y="395"/>
                  </a:lnTo>
                  <a:lnTo>
                    <a:pt x="426" y="394"/>
                  </a:lnTo>
                  <a:lnTo>
                    <a:pt x="425" y="397"/>
                  </a:lnTo>
                  <a:lnTo>
                    <a:pt x="425" y="400"/>
                  </a:lnTo>
                  <a:lnTo>
                    <a:pt x="420" y="400"/>
                  </a:lnTo>
                  <a:lnTo>
                    <a:pt x="424" y="402"/>
                  </a:lnTo>
                  <a:lnTo>
                    <a:pt x="427" y="399"/>
                  </a:lnTo>
                  <a:lnTo>
                    <a:pt x="430" y="396"/>
                  </a:lnTo>
                  <a:lnTo>
                    <a:pt x="432" y="399"/>
                  </a:lnTo>
                  <a:lnTo>
                    <a:pt x="430" y="403"/>
                  </a:lnTo>
                  <a:lnTo>
                    <a:pt x="432" y="401"/>
                  </a:lnTo>
                  <a:lnTo>
                    <a:pt x="437" y="399"/>
                  </a:lnTo>
                  <a:lnTo>
                    <a:pt x="441" y="401"/>
                  </a:lnTo>
                  <a:lnTo>
                    <a:pt x="442" y="404"/>
                  </a:lnTo>
                  <a:lnTo>
                    <a:pt x="444" y="408"/>
                  </a:lnTo>
                  <a:lnTo>
                    <a:pt x="445" y="411"/>
                  </a:lnTo>
                  <a:lnTo>
                    <a:pt x="447" y="414"/>
                  </a:lnTo>
                  <a:lnTo>
                    <a:pt x="447" y="417"/>
                  </a:lnTo>
                  <a:lnTo>
                    <a:pt x="451" y="415"/>
                  </a:lnTo>
                  <a:lnTo>
                    <a:pt x="448" y="413"/>
                  </a:lnTo>
                  <a:lnTo>
                    <a:pt x="447" y="410"/>
                  </a:lnTo>
                  <a:lnTo>
                    <a:pt x="446" y="407"/>
                  </a:lnTo>
                  <a:lnTo>
                    <a:pt x="443" y="404"/>
                  </a:lnTo>
                  <a:lnTo>
                    <a:pt x="445" y="402"/>
                  </a:lnTo>
                  <a:lnTo>
                    <a:pt x="445" y="396"/>
                  </a:lnTo>
                  <a:lnTo>
                    <a:pt x="452" y="392"/>
                  </a:lnTo>
                  <a:lnTo>
                    <a:pt x="456" y="391"/>
                  </a:lnTo>
                  <a:lnTo>
                    <a:pt x="447" y="392"/>
                  </a:lnTo>
                  <a:lnTo>
                    <a:pt x="444" y="396"/>
                  </a:lnTo>
                  <a:lnTo>
                    <a:pt x="433" y="396"/>
                  </a:lnTo>
                  <a:lnTo>
                    <a:pt x="433" y="391"/>
                  </a:lnTo>
                  <a:lnTo>
                    <a:pt x="437" y="390"/>
                  </a:lnTo>
                  <a:lnTo>
                    <a:pt x="440" y="390"/>
                  </a:lnTo>
                  <a:lnTo>
                    <a:pt x="438" y="388"/>
                  </a:lnTo>
                  <a:lnTo>
                    <a:pt x="435" y="388"/>
                  </a:lnTo>
                  <a:lnTo>
                    <a:pt x="431" y="388"/>
                  </a:lnTo>
                  <a:lnTo>
                    <a:pt x="435" y="381"/>
                  </a:lnTo>
                  <a:lnTo>
                    <a:pt x="433" y="378"/>
                  </a:lnTo>
                  <a:lnTo>
                    <a:pt x="436" y="379"/>
                  </a:lnTo>
                  <a:lnTo>
                    <a:pt x="442" y="381"/>
                  </a:lnTo>
                  <a:lnTo>
                    <a:pt x="446" y="381"/>
                  </a:lnTo>
                  <a:lnTo>
                    <a:pt x="443" y="379"/>
                  </a:lnTo>
                  <a:lnTo>
                    <a:pt x="440" y="379"/>
                  </a:lnTo>
                  <a:lnTo>
                    <a:pt x="437" y="376"/>
                  </a:lnTo>
                  <a:lnTo>
                    <a:pt x="443" y="373"/>
                  </a:lnTo>
                  <a:lnTo>
                    <a:pt x="446" y="376"/>
                  </a:lnTo>
                  <a:lnTo>
                    <a:pt x="451" y="380"/>
                  </a:lnTo>
                  <a:lnTo>
                    <a:pt x="446" y="372"/>
                  </a:lnTo>
                  <a:lnTo>
                    <a:pt x="446" y="370"/>
                  </a:lnTo>
                  <a:lnTo>
                    <a:pt x="444" y="371"/>
                  </a:lnTo>
                  <a:lnTo>
                    <a:pt x="436" y="370"/>
                  </a:lnTo>
                  <a:lnTo>
                    <a:pt x="437" y="366"/>
                  </a:lnTo>
                  <a:lnTo>
                    <a:pt x="437" y="364"/>
                  </a:lnTo>
                  <a:lnTo>
                    <a:pt x="436" y="367"/>
                  </a:lnTo>
                  <a:lnTo>
                    <a:pt x="435" y="364"/>
                  </a:lnTo>
                  <a:lnTo>
                    <a:pt x="435" y="368"/>
                  </a:lnTo>
                  <a:lnTo>
                    <a:pt x="433" y="372"/>
                  </a:lnTo>
                  <a:lnTo>
                    <a:pt x="432" y="375"/>
                  </a:lnTo>
                  <a:lnTo>
                    <a:pt x="429" y="379"/>
                  </a:lnTo>
                  <a:lnTo>
                    <a:pt x="424" y="382"/>
                  </a:lnTo>
                  <a:lnTo>
                    <a:pt x="421" y="384"/>
                  </a:lnTo>
                  <a:lnTo>
                    <a:pt x="417" y="386"/>
                  </a:lnTo>
                  <a:lnTo>
                    <a:pt x="414" y="386"/>
                  </a:lnTo>
                  <a:lnTo>
                    <a:pt x="418" y="381"/>
                  </a:lnTo>
                  <a:lnTo>
                    <a:pt x="415" y="380"/>
                  </a:lnTo>
                  <a:lnTo>
                    <a:pt x="418" y="378"/>
                  </a:lnTo>
                  <a:lnTo>
                    <a:pt x="427" y="376"/>
                  </a:lnTo>
                  <a:lnTo>
                    <a:pt x="424" y="376"/>
                  </a:lnTo>
                  <a:lnTo>
                    <a:pt x="422" y="373"/>
                  </a:lnTo>
                  <a:lnTo>
                    <a:pt x="418" y="373"/>
                  </a:lnTo>
                  <a:lnTo>
                    <a:pt x="415" y="373"/>
                  </a:lnTo>
                  <a:lnTo>
                    <a:pt x="414" y="370"/>
                  </a:lnTo>
                  <a:lnTo>
                    <a:pt x="417" y="369"/>
                  </a:lnTo>
                  <a:lnTo>
                    <a:pt x="420" y="367"/>
                  </a:lnTo>
                  <a:lnTo>
                    <a:pt x="424" y="367"/>
                  </a:lnTo>
                  <a:lnTo>
                    <a:pt x="416" y="367"/>
                  </a:lnTo>
                  <a:lnTo>
                    <a:pt x="418" y="364"/>
                  </a:lnTo>
                  <a:lnTo>
                    <a:pt x="421" y="362"/>
                  </a:lnTo>
                  <a:lnTo>
                    <a:pt x="424" y="362"/>
                  </a:lnTo>
                  <a:lnTo>
                    <a:pt x="428" y="362"/>
                  </a:lnTo>
                  <a:lnTo>
                    <a:pt x="428" y="366"/>
                  </a:lnTo>
                  <a:lnTo>
                    <a:pt x="432" y="361"/>
                  </a:lnTo>
                  <a:lnTo>
                    <a:pt x="438" y="358"/>
                  </a:lnTo>
                  <a:lnTo>
                    <a:pt x="439" y="361"/>
                  </a:lnTo>
                  <a:lnTo>
                    <a:pt x="440" y="364"/>
                  </a:lnTo>
                  <a:lnTo>
                    <a:pt x="440" y="361"/>
                  </a:lnTo>
                  <a:lnTo>
                    <a:pt x="447" y="355"/>
                  </a:lnTo>
                  <a:lnTo>
                    <a:pt x="450" y="357"/>
                  </a:lnTo>
                  <a:lnTo>
                    <a:pt x="451" y="359"/>
                  </a:lnTo>
                  <a:lnTo>
                    <a:pt x="451" y="356"/>
                  </a:lnTo>
                  <a:lnTo>
                    <a:pt x="453" y="353"/>
                  </a:lnTo>
                  <a:lnTo>
                    <a:pt x="454" y="350"/>
                  </a:lnTo>
                  <a:lnTo>
                    <a:pt x="457" y="348"/>
                  </a:lnTo>
                  <a:lnTo>
                    <a:pt x="452" y="348"/>
                  </a:lnTo>
                  <a:lnTo>
                    <a:pt x="451" y="344"/>
                  </a:lnTo>
                  <a:lnTo>
                    <a:pt x="449" y="345"/>
                  </a:lnTo>
                  <a:lnTo>
                    <a:pt x="441" y="347"/>
                  </a:lnTo>
                  <a:lnTo>
                    <a:pt x="439" y="344"/>
                  </a:lnTo>
                  <a:lnTo>
                    <a:pt x="434" y="349"/>
                  </a:lnTo>
                  <a:lnTo>
                    <a:pt x="433" y="352"/>
                  </a:lnTo>
                  <a:lnTo>
                    <a:pt x="430" y="347"/>
                  </a:lnTo>
                  <a:lnTo>
                    <a:pt x="434" y="342"/>
                  </a:lnTo>
                  <a:lnTo>
                    <a:pt x="437" y="339"/>
                  </a:lnTo>
                  <a:lnTo>
                    <a:pt x="438" y="342"/>
                  </a:lnTo>
                  <a:lnTo>
                    <a:pt x="440" y="340"/>
                  </a:lnTo>
                  <a:lnTo>
                    <a:pt x="441" y="338"/>
                  </a:lnTo>
                  <a:lnTo>
                    <a:pt x="441" y="335"/>
                  </a:lnTo>
                  <a:lnTo>
                    <a:pt x="444" y="337"/>
                  </a:lnTo>
                  <a:lnTo>
                    <a:pt x="445" y="340"/>
                  </a:lnTo>
                  <a:lnTo>
                    <a:pt x="445" y="343"/>
                  </a:lnTo>
                  <a:lnTo>
                    <a:pt x="442" y="342"/>
                  </a:lnTo>
                  <a:lnTo>
                    <a:pt x="442" y="344"/>
                  </a:lnTo>
                  <a:lnTo>
                    <a:pt x="445" y="344"/>
                  </a:lnTo>
                  <a:lnTo>
                    <a:pt x="448" y="342"/>
                  </a:lnTo>
                  <a:lnTo>
                    <a:pt x="451" y="338"/>
                  </a:lnTo>
                  <a:lnTo>
                    <a:pt x="449" y="334"/>
                  </a:lnTo>
                  <a:lnTo>
                    <a:pt x="452" y="331"/>
                  </a:lnTo>
                  <a:lnTo>
                    <a:pt x="451" y="328"/>
                  </a:lnTo>
                  <a:lnTo>
                    <a:pt x="454" y="327"/>
                  </a:lnTo>
                  <a:lnTo>
                    <a:pt x="455" y="330"/>
                  </a:lnTo>
                  <a:lnTo>
                    <a:pt x="455" y="333"/>
                  </a:lnTo>
                  <a:lnTo>
                    <a:pt x="458" y="336"/>
                  </a:lnTo>
                  <a:lnTo>
                    <a:pt x="457" y="339"/>
                  </a:lnTo>
                  <a:lnTo>
                    <a:pt x="458" y="342"/>
                  </a:lnTo>
                  <a:lnTo>
                    <a:pt x="457" y="346"/>
                  </a:lnTo>
                  <a:lnTo>
                    <a:pt x="461" y="349"/>
                  </a:lnTo>
                  <a:lnTo>
                    <a:pt x="464" y="353"/>
                  </a:lnTo>
                  <a:lnTo>
                    <a:pt x="465" y="357"/>
                  </a:lnTo>
                  <a:lnTo>
                    <a:pt x="467" y="360"/>
                  </a:lnTo>
                  <a:lnTo>
                    <a:pt x="473" y="366"/>
                  </a:lnTo>
                  <a:lnTo>
                    <a:pt x="473" y="363"/>
                  </a:lnTo>
                  <a:lnTo>
                    <a:pt x="468" y="360"/>
                  </a:lnTo>
                  <a:lnTo>
                    <a:pt x="467" y="355"/>
                  </a:lnTo>
                  <a:lnTo>
                    <a:pt x="466" y="352"/>
                  </a:lnTo>
                  <a:lnTo>
                    <a:pt x="465" y="349"/>
                  </a:lnTo>
                  <a:lnTo>
                    <a:pt x="471" y="355"/>
                  </a:lnTo>
                  <a:lnTo>
                    <a:pt x="471" y="352"/>
                  </a:lnTo>
                  <a:lnTo>
                    <a:pt x="468" y="349"/>
                  </a:lnTo>
                  <a:lnTo>
                    <a:pt x="471" y="350"/>
                  </a:lnTo>
                  <a:lnTo>
                    <a:pt x="476" y="351"/>
                  </a:lnTo>
                  <a:lnTo>
                    <a:pt x="473" y="351"/>
                  </a:lnTo>
                  <a:lnTo>
                    <a:pt x="473" y="348"/>
                  </a:lnTo>
                  <a:lnTo>
                    <a:pt x="469" y="346"/>
                  </a:lnTo>
                  <a:lnTo>
                    <a:pt x="469" y="343"/>
                  </a:lnTo>
                  <a:lnTo>
                    <a:pt x="472" y="339"/>
                  </a:lnTo>
                  <a:lnTo>
                    <a:pt x="475" y="342"/>
                  </a:lnTo>
                  <a:lnTo>
                    <a:pt x="479" y="343"/>
                  </a:lnTo>
                  <a:lnTo>
                    <a:pt x="476" y="340"/>
                  </a:lnTo>
                  <a:lnTo>
                    <a:pt x="473" y="338"/>
                  </a:lnTo>
                  <a:lnTo>
                    <a:pt x="471" y="338"/>
                  </a:lnTo>
                  <a:lnTo>
                    <a:pt x="468" y="341"/>
                  </a:lnTo>
                  <a:lnTo>
                    <a:pt x="464" y="338"/>
                  </a:lnTo>
                  <a:lnTo>
                    <a:pt x="468" y="335"/>
                  </a:lnTo>
                  <a:lnTo>
                    <a:pt x="471" y="334"/>
                  </a:lnTo>
                  <a:lnTo>
                    <a:pt x="469" y="332"/>
                  </a:lnTo>
                  <a:lnTo>
                    <a:pt x="474" y="333"/>
                  </a:lnTo>
                  <a:lnTo>
                    <a:pt x="471" y="330"/>
                  </a:lnTo>
                  <a:lnTo>
                    <a:pt x="470" y="327"/>
                  </a:lnTo>
                  <a:lnTo>
                    <a:pt x="459" y="330"/>
                  </a:lnTo>
                  <a:lnTo>
                    <a:pt x="461" y="328"/>
                  </a:lnTo>
                  <a:lnTo>
                    <a:pt x="466" y="328"/>
                  </a:lnTo>
                  <a:lnTo>
                    <a:pt x="460" y="325"/>
                  </a:lnTo>
                  <a:lnTo>
                    <a:pt x="457" y="324"/>
                  </a:lnTo>
                  <a:lnTo>
                    <a:pt x="458" y="320"/>
                  </a:lnTo>
                  <a:lnTo>
                    <a:pt x="461" y="321"/>
                  </a:lnTo>
                  <a:lnTo>
                    <a:pt x="466" y="323"/>
                  </a:lnTo>
                  <a:lnTo>
                    <a:pt x="472" y="325"/>
                  </a:lnTo>
                  <a:lnTo>
                    <a:pt x="474" y="330"/>
                  </a:lnTo>
                  <a:lnTo>
                    <a:pt x="481" y="334"/>
                  </a:lnTo>
                  <a:lnTo>
                    <a:pt x="483" y="335"/>
                  </a:lnTo>
                  <a:lnTo>
                    <a:pt x="481" y="333"/>
                  </a:lnTo>
                  <a:lnTo>
                    <a:pt x="477" y="329"/>
                  </a:lnTo>
                  <a:lnTo>
                    <a:pt x="475" y="326"/>
                  </a:lnTo>
                  <a:lnTo>
                    <a:pt x="473" y="323"/>
                  </a:lnTo>
                  <a:lnTo>
                    <a:pt x="468" y="321"/>
                  </a:lnTo>
                  <a:lnTo>
                    <a:pt x="464" y="318"/>
                  </a:lnTo>
                  <a:lnTo>
                    <a:pt x="460" y="317"/>
                  </a:lnTo>
                  <a:lnTo>
                    <a:pt x="465" y="315"/>
                  </a:lnTo>
                  <a:lnTo>
                    <a:pt x="477" y="310"/>
                  </a:lnTo>
                  <a:lnTo>
                    <a:pt x="480" y="312"/>
                  </a:lnTo>
                  <a:lnTo>
                    <a:pt x="483" y="315"/>
                  </a:lnTo>
                  <a:lnTo>
                    <a:pt x="482" y="317"/>
                  </a:lnTo>
                  <a:lnTo>
                    <a:pt x="487" y="315"/>
                  </a:lnTo>
                  <a:lnTo>
                    <a:pt x="492" y="312"/>
                  </a:lnTo>
                  <a:lnTo>
                    <a:pt x="494" y="314"/>
                  </a:lnTo>
                  <a:lnTo>
                    <a:pt x="495" y="317"/>
                  </a:lnTo>
                  <a:lnTo>
                    <a:pt x="500" y="322"/>
                  </a:lnTo>
                  <a:lnTo>
                    <a:pt x="500" y="325"/>
                  </a:lnTo>
                  <a:lnTo>
                    <a:pt x="500" y="328"/>
                  </a:lnTo>
                  <a:lnTo>
                    <a:pt x="501" y="324"/>
                  </a:lnTo>
                  <a:lnTo>
                    <a:pt x="503" y="323"/>
                  </a:lnTo>
                  <a:lnTo>
                    <a:pt x="502" y="321"/>
                  </a:lnTo>
                  <a:lnTo>
                    <a:pt x="497" y="317"/>
                  </a:lnTo>
                  <a:lnTo>
                    <a:pt x="495" y="315"/>
                  </a:lnTo>
                  <a:lnTo>
                    <a:pt x="494" y="312"/>
                  </a:lnTo>
                  <a:lnTo>
                    <a:pt x="498" y="308"/>
                  </a:lnTo>
                  <a:lnTo>
                    <a:pt x="504" y="311"/>
                  </a:lnTo>
                  <a:lnTo>
                    <a:pt x="507" y="311"/>
                  </a:lnTo>
                  <a:lnTo>
                    <a:pt x="499" y="307"/>
                  </a:lnTo>
                  <a:lnTo>
                    <a:pt x="505" y="304"/>
                  </a:lnTo>
                  <a:lnTo>
                    <a:pt x="511" y="306"/>
                  </a:lnTo>
                  <a:lnTo>
                    <a:pt x="515" y="308"/>
                  </a:lnTo>
                  <a:lnTo>
                    <a:pt x="507" y="302"/>
                  </a:lnTo>
                  <a:lnTo>
                    <a:pt x="502" y="303"/>
                  </a:lnTo>
                  <a:lnTo>
                    <a:pt x="504" y="296"/>
                  </a:lnTo>
                  <a:lnTo>
                    <a:pt x="502" y="296"/>
                  </a:lnTo>
                  <a:lnTo>
                    <a:pt x="498" y="298"/>
                  </a:lnTo>
                  <a:lnTo>
                    <a:pt x="495" y="303"/>
                  </a:lnTo>
                  <a:lnTo>
                    <a:pt x="488" y="307"/>
                  </a:lnTo>
                  <a:lnTo>
                    <a:pt x="489" y="303"/>
                  </a:lnTo>
                  <a:lnTo>
                    <a:pt x="489" y="300"/>
                  </a:lnTo>
                  <a:lnTo>
                    <a:pt x="485" y="299"/>
                  </a:lnTo>
                  <a:lnTo>
                    <a:pt x="483" y="302"/>
                  </a:lnTo>
                  <a:lnTo>
                    <a:pt x="481" y="306"/>
                  </a:lnTo>
                  <a:lnTo>
                    <a:pt x="478" y="306"/>
                  </a:lnTo>
                  <a:lnTo>
                    <a:pt x="475" y="307"/>
                  </a:lnTo>
                  <a:lnTo>
                    <a:pt x="471" y="308"/>
                  </a:lnTo>
                  <a:lnTo>
                    <a:pt x="469" y="304"/>
                  </a:lnTo>
                  <a:lnTo>
                    <a:pt x="468" y="301"/>
                  </a:lnTo>
                  <a:lnTo>
                    <a:pt x="470" y="297"/>
                  </a:lnTo>
                  <a:lnTo>
                    <a:pt x="472" y="298"/>
                  </a:lnTo>
                  <a:lnTo>
                    <a:pt x="472" y="296"/>
                  </a:lnTo>
                  <a:lnTo>
                    <a:pt x="470" y="293"/>
                  </a:lnTo>
                  <a:lnTo>
                    <a:pt x="471" y="289"/>
                  </a:lnTo>
                  <a:lnTo>
                    <a:pt x="474" y="287"/>
                  </a:lnTo>
                  <a:lnTo>
                    <a:pt x="478" y="284"/>
                  </a:lnTo>
                  <a:lnTo>
                    <a:pt x="481" y="282"/>
                  </a:lnTo>
                  <a:lnTo>
                    <a:pt x="485" y="282"/>
                  </a:lnTo>
                  <a:lnTo>
                    <a:pt x="487" y="285"/>
                  </a:lnTo>
                  <a:lnTo>
                    <a:pt x="489" y="287"/>
                  </a:lnTo>
                  <a:lnTo>
                    <a:pt x="488" y="284"/>
                  </a:lnTo>
                  <a:lnTo>
                    <a:pt x="488" y="281"/>
                  </a:lnTo>
                  <a:lnTo>
                    <a:pt x="491" y="280"/>
                  </a:lnTo>
                  <a:lnTo>
                    <a:pt x="494" y="280"/>
                  </a:lnTo>
                  <a:lnTo>
                    <a:pt x="498" y="282"/>
                  </a:lnTo>
                  <a:lnTo>
                    <a:pt x="501" y="283"/>
                  </a:lnTo>
                  <a:lnTo>
                    <a:pt x="504" y="282"/>
                  </a:lnTo>
                  <a:lnTo>
                    <a:pt x="501" y="281"/>
                  </a:lnTo>
                  <a:lnTo>
                    <a:pt x="497" y="276"/>
                  </a:lnTo>
                  <a:lnTo>
                    <a:pt x="493" y="277"/>
                  </a:lnTo>
                  <a:lnTo>
                    <a:pt x="494" y="273"/>
                  </a:lnTo>
                  <a:lnTo>
                    <a:pt x="498" y="269"/>
                  </a:lnTo>
                  <a:lnTo>
                    <a:pt x="502" y="272"/>
                  </a:lnTo>
                  <a:lnTo>
                    <a:pt x="507" y="272"/>
                  </a:lnTo>
                  <a:lnTo>
                    <a:pt x="510" y="274"/>
                  </a:lnTo>
                  <a:lnTo>
                    <a:pt x="509" y="272"/>
                  </a:lnTo>
                  <a:lnTo>
                    <a:pt x="505" y="270"/>
                  </a:lnTo>
                  <a:lnTo>
                    <a:pt x="498" y="268"/>
                  </a:lnTo>
                  <a:lnTo>
                    <a:pt x="501" y="266"/>
                  </a:lnTo>
                  <a:lnTo>
                    <a:pt x="503" y="264"/>
                  </a:lnTo>
                  <a:lnTo>
                    <a:pt x="506" y="262"/>
                  </a:lnTo>
                  <a:lnTo>
                    <a:pt x="508" y="263"/>
                  </a:lnTo>
                  <a:lnTo>
                    <a:pt x="505" y="260"/>
                  </a:lnTo>
                  <a:lnTo>
                    <a:pt x="499" y="260"/>
                  </a:lnTo>
                  <a:lnTo>
                    <a:pt x="497" y="257"/>
                  </a:lnTo>
                  <a:lnTo>
                    <a:pt x="499" y="254"/>
                  </a:lnTo>
                  <a:lnTo>
                    <a:pt x="499" y="250"/>
                  </a:lnTo>
                  <a:lnTo>
                    <a:pt x="500" y="247"/>
                  </a:lnTo>
                  <a:lnTo>
                    <a:pt x="501" y="241"/>
                  </a:lnTo>
                  <a:lnTo>
                    <a:pt x="508" y="240"/>
                  </a:lnTo>
                  <a:lnTo>
                    <a:pt x="511" y="236"/>
                  </a:lnTo>
                  <a:lnTo>
                    <a:pt x="517" y="235"/>
                  </a:lnTo>
                  <a:lnTo>
                    <a:pt x="515" y="234"/>
                  </a:lnTo>
                  <a:lnTo>
                    <a:pt x="514" y="232"/>
                  </a:lnTo>
                  <a:lnTo>
                    <a:pt x="515" y="229"/>
                  </a:lnTo>
                  <a:lnTo>
                    <a:pt x="512" y="229"/>
                  </a:lnTo>
                  <a:lnTo>
                    <a:pt x="511" y="224"/>
                  </a:lnTo>
                  <a:lnTo>
                    <a:pt x="512" y="221"/>
                  </a:lnTo>
                  <a:lnTo>
                    <a:pt x="514" y="216"/>
                  </a:lnTo>
                  <a:lnTo>
                    <a:pt x="515" y="212"/>
                  </a:lnTo>
                  <a:lnTo>
                    <a:pt x="514" y="209"/>
                  </a:lnTo>
                  <a:lnTo>
                    <a:pt x="515" y="206"/>
                  </a:lnTo>
                  <a:lnTo>
                    <a:pt x="518" y="204"/>
                  </a:lnTo>
                  <a:lnTo>
                    <a:pt x="521" y="209"/>
                  </a:lnTo>
                  <a:lnTo>
                    <a:pt x="521" y="213"/>
                  </a:lnTo>
                  <a:lnTo>
                    <a:pt x="524" y="212"/>
                  </a:lnTo>
                  <a:lnTo>
                    <a:pt x="527" y="217"/>
                  </a:lnTo>
                  <a:lnTo>
                    <a:pt x="527" y="220"/>
                  </a:lnTo>
                  <a:lnTo>
                    <a:pt x="528" y="223"/>
                  </a:lnTo>
                  <a:lnTo>
                    <a:pt x="528" y="226"/>
                  </a:lnTo>
                  <a:lnTo>
                    <a:pt x="528" y="222"/>
                  </a:lnTo>
                  <a:lnTo>
                    <a:pt x="528" y="218"/>
                  </a:lnTo>
                  <a:lnTo>
                    <a:pt x="528" y="215"/>
                  </a:lnTo>
                  <a:lnTo>
                    <a:pt x="530" y="219"/>
                  </a:lnTo>
                  <a:lnTo>
                    <a:pt x="532" y="221"/>
                  </a:lnTo>
                  <a:lnTo>
                    <a:pt x="534" y="217"/>
                  </a:lnTo>
                  <a:lnTo>
                    <a:pt x="538" y="217"/>
                  </a:lnTo>
                  <a:lnTo>
                    <a:pt x="542" y="219"/>
                  </a:lnTo>
                  <a:lnTo>
                    <a:pt x="545" y="220"/>
                  </a:lnTo>
                  <a:lnTo>
                    <a:pt x="542" y="216"/>
                  </a:lnTo>
                  <a:lnTo>
                    <a:pt x="531" y="214"/>
                  </a:lnTo>
                  <a:lnTo>
                    <a:pt x="528" y="209"/>
                  </a:lnTo>
                  <a:lnTo>
                    <a:pt x="526" y="208"/>
                  </a:lnTo>
                  <a:lnTo>
                    <a:pt x="524" y="205"/>
                  </a:lnTo>
                  <a:lnTo>
                    <a:pt x="523" y="202"/>
                  </a:lnTo>
                  <a:lnTo>
                    <a:pt x="526" y="200"/>
                  </a:lnTo>
                  <a:lnTo>
                    <a:pt x="535" y="196"/>
                  </a:lnTo>
                  <a:lnTo>
                    <a:pt x="537" y="199"/>
                  </a:lnTo>
                  <a:lnTo>
                    <a:pt x="539" y="202"/>
                  </a:lnTo>
                  <a:lnTo>
                    <a:pt x="539" y="205"/>
                  </a:lnTo>
                  <a:lnTo>
                    <a:pt x="543" y="207"/>
                  </a:lnTo>
                  <a:lnTo>
                    <a:pt x="543" y="210"/>
                  </a:lnTo>
                  <a:lnTo>
                    <a:pt x="547" y="213"/>
                  </a:lnTo>
                  <a:lnTo>
                    <a:pt x="555" y="213"/>
                  </a:lnTo>
                  <a:lnTo>
                    <a:pt x="556" y="217"/>
                  </a:lnTo>
                  <a:lnTo>
                    <a:pt x="554" y="219"/>
                  </a:lnTo>
                  <a:lnTo>
                    <a:pt x="551" y="220"/>
                  </a:lnTo>
                  <a:lnTo>
                    <a:pt x="554" y="220"/>
                  </a:lnTo>
                  <a:lnTo>
                    <a:pt x="554" y="223"/>
                  </a:lnTo>
                  <a:lnTo>
                    <a:pt x="556" y="224"/>
                  </a:lnTo>
                  <a:lnTo>
                    <a:pt x="561" y="224"/>
                  </a:lnTo>
                  <a:lnTo>
                    <a:pt x="560" y="221"/>
                  </a:lnTo>
                  <a:lnTo>
                    <a:pt x="559" y="218"/>
                  </a:lnTo>
                  <a:lnTo>
                    <a:pt x="559" y="215"/>
                  </a:lnTo>
                  <a:lnTo>
                    <a:pt x="555" y="210"/>
                  </a:lnTo>
                  <a:lnTo>
                    <a:pt x="548" y="211"/>
                  </a:lnTo>
                  <a:lnTo>
                    <a:pt x="545" y="207"/>
                  </a:lnTo>
                  <a:lnTo>
                    <a:pt x="542" y="204"/>
                  </a:lnTo>
                  <a:lnTo>
                    <a:pt x="542" y="200"/>
                  </a:lnTo>
                  <a:lnTo>
                    <a:pt x="543" y="197"/>
                  </a:lnTo>
                  <a:lnTo>
                    <a:pt x="547" y="195"/>
                  </a:lnTo>
                  <a:lnTo>
                    <a:pt x="550" y="197"/>
                  </a:lnTo>
                  <a:lnTo>
                    <a:pt x="548" y="195"/>
                  </a:lnTo>
                  <a:lnTo>
                    <a:pt x="546" y="194"/>
                  </a:lnTo>
                  <a:lnTo>
                    <a:pt x="543" y="195"/>
                  </a:lnTo>
                  <a:lnTo>
                    <a:pt x="540" y="196"/>
                  </a:lnTo>
                  <a:lnTo>
                    <a:pt x="538" y="190"/>
                  </a:lnTo>
                  <a:lnTo>
                    <a:pt x="542" y="183"/>
                  </a:lnTo>
                  <a:lnTo>
                    <a:pt x="542" y="179"/>
                  </a:lnTo>
                  <a:lnTo>
                    <a:pt x="544" y="177"/>
                  </a:lnTo>
                  <a:lnTo>
                    <a:pt x="547" y="174"/>
                  </a:lnTo>
                  <a:lnTo>
                    <a:pt x="552" y="173"/>
                  </a:lnTo>
                  <a:lnTo>
                    <a:pt x="555" y="171"/>
                  </a:lnTo>
                  <a:lnTo>
                    <a:pt x="561" y="168"/>
                  </a:lnTo>
                  <a:lnTo>
                    <a:pt x="562" y="174"/>
                  </a:lnTo>
                  <a:lnTo>
                    <a:pt x="562" y="177"/>
                  </a:lnTo>
                  <a:lnTo>
                    <a:pt x="561" y="180"/>
                  </a:lnTo>
                  <a:lnTo>
                    <a:pt x="563" y="183"/>
                  </a:lnTo>
                  <a:lnTo>
                    <a:pt x="563" y="187"/>
                  </a:lnTo>
                  <a:lnTo>
                    <a:pt x="562" y="194"/>
                  </a:lnTo>
                  <a:lnTo>
                    <a:pt x="562" y="197"/>
                  </a:lnTo>
                  <a:lnTo>
                    <a:pt x="563" y="200"/>
                  </a:lnTo>
                  <a:lnTo>
                    <a:pt x="561" y="203"/>
                  </a:lnTo>
                  <a:lnTo>
                    <a:pt x="560" y="207"/>
                  </a:lnTo>
                  <a:lnTo>
                    <a:pt x="565" y="202"/>
                  </a:lnTo>
                  <a:lnTo>
                    <a:pt x="565" y="198"/>
                  </a:lnTo>
                  <a:lnTo>
                    <a:pt x="564" y="195"/>
                  </a:lnTo>
                  <a:lnTo>
                    <a:pt x="565" y="188"/>
                  </a:lnTo>
                  <a:lnTo>
                    <a:pt x="570" y="187"/>
                  </a:lnTo>
                  <a:lnTo>
                    <a:pt x="572" y="188"/>
                  </a:lnTo>
                  <a:lnTo>
                    <a:pt x="575" y="188"/>
                  </a:lnTo>
                  <a:lnTo>
                    <a:pt x="572" y="187"/>
                  </a:lnTo>
                  <a:lnTo>
                    <a:pt x="570" y="186"/>
                  </a:lnTo>
                  <a:lnTo>
                    <a:pt x="567" y="183"/>
                  </a:lnTo>
                  <a:lnTo>
                    <a:pt x="566" y="180"/>
                  </a:lnTo>
                  <a:lnTo>
                    <a:pt x="565" y="178"/>
                  </a:lnTo>
                  <a:lnTo>
                    <a:pt x="566" y="173"/>
                  </a:lnTo>
                  <a:lnTo>
                    <a:pt x="568" y="165"/>
                  </a:lnTo>
                  <a:lnTo>
                    <a:pt x="569" y="168"/>
                  </a:lnTo>
                  <a:lnTo>
                    <a:pt x="569" y="172"/>
                  </a:lnTo>
                  <a:lnTo>
                    <a:pt x="571" y="163"/>
                  </a:lnTo>
                  <a:lnTo>
                    <a:pt x="572" y="160"/>
                  </a:lnTo>
                  <a:lnTo>
                    <a:pt x="572" y="156"/>
                  </a:lnTo>
                  <a:lnTo>
                    <a:pt x="574" y="160"/>
                  </a:lnTo>
                  <a:lnTo>
                    <a:pt x="574" y="156"/>
                  </a:lnTo>
                  <a:lnTo>
                    <a:pt x="576" y="151"/>
                  </a:lnTo>
                  <a:lnTo>
                    <a:pt x="581" y="158"/>
                  </a:lnTo>
                  <a:lnTo>
                    <a:pt x="582" y="161"/>
                  </a:lnTo>
                  <a:lnTo>
                    <a:pt x="582" y="165"/>
                  </a:lnTo>
                  <a:lnTo>
                    <a:pt x="581" y="168"/>
                  </a:lnTo>
                  <a:lnTo>
                    <a:pt x="582" y="172"/>
                  </a:lnTo>
                  <a:lnTo>
                    <a:pt x="582" y="178"/>
                  </a:lnTo>
                  <a:lnTo>
                    <a:pt x="584" y="181"/>
                  </a:lnTo>
                  <a:lnTo>
                    <a:pt x="585" y="184"/>
                  </a:lnTo>
                  <a:lnTo>
                    <a:pt x="583" y="187"/>
                  </a:lnTo>
                  <a:lnTo>
                    <a:pt x="583" y="190"/>
                  </a:lnTo>
                  <a:lnTo>
                    <a:pt x="582" y="194"/>
                  </a:lnTo>
                  <a:lnTo>
                    <a:pt x="583" y="197"/>
                  </a:lnTo>
                  <a:lnTo>
                    <a:pt x="582" y="200"/>
                  </a:lnTo>
                  <a:lnTo>
                    <a:pt x="581" y="205"/>
                  </a:lnTo>
                  <a:lnTo>
                    <a:pt x="578" y="208"/>
                  </a:lnTo>
                  <a:lnTo>
                    <a:pt x="575" y="215"/>
                  </a:lnTo>
                  <a:lnTo>
                    <a:pt x="578" y="212"/>
                  </a:lnTo>
                  <a:lnTo>
                    <a:pt x="583" y="205"/>
                  </a:lnTo>
                  <a:lnTo>
                    <a:pt x="586" y="197"/>
                  </a:lnTo>
                  <a:lnTo>
                    <a:pt x="588" y="193"/>
                  </a:lnTo>
                  <a:lnTo>
                    <a:pt x="588" y="189"/>
                  </a:lnTo>
                  <a:lnTo>
                    <a:pt x="588" y="187"/>
                  </a:lnTo>
                  <a:lnTo>
                    <a:pt x="592" y="189"/>
                  </a:lnTo>
                  <a:lnTo>
                    <a:pt x="595" y="191"/>
                  </a:lnTo>
                  <a:lnTo>
                    <a:pt x="599" y="191"/>
                  </a:lnTo>
                  <a:lnTo>
                    <a:pt x="597" y="190"/>
                  </a:lnTo>
                  <a:lnTo>
                    <a:pt x="594" y="186"/>
                  </a:lnTo>
                  <a:lnTo>
                    <a:pt x="590" y="183"/>
                  </a:lnTo>
                  <a:lnTo>
                    <a:pt x="588" y="177"/>
                  </a:lnTo>
                  <a:lnTo>
                    <a:pt x="588" y="173"/>
                  </a:lnTo>
                  <a:lnTo>
                    <a:pt x="590" y="167"/>
                  </a:lnTo>
                  <a:lnTo>
                    <a:pt x="595" y="164"/>
                  </a:lnTo>
                  <a:lnTo>
                    <a:pt x="595" y="161"/>
                  </a:lnTo>
                  <a:lnTo>
                    <a:pt x="594" y="158"/>
                  </a:lnTo>
                  <a:lnTo>
                    <a:pt x="601" y="150"/>
                  </a:lnTo>
                  <a:lnTo>
                    <a:pt x="599" y="154"/>
                  </a:lnTo>
                  <a:lnTo>
                    <a:pt x="598" y="157"/>
                  </a:lnTo>
                  <a:lnTo>
                    <a:pt x="601" y="164"/>
                  </a:lnTo>
                  <a:lnTo>
                    <a:pt x="602" y="160"/>
                  </a:lnTo>
                  <a:lnTo>
                    <a:pt x="603" y="157"/>
                  </a:lnTo>
                  <a:lnTo>
                    <a:pt x="606" y="155"/>
                  </a:lnTo>
                  <a:lnTo>
                    <a:pt x="605" y="160"/>
                  </a:lnTo>
                  <a:lnTo>
                    <a:pt x="609" y="158"/>
                  </a:lnTo>
                  <a:lnTo>
                    <a:pt x="606" y="152"/>
                  </a:lnTo>
                  <a:lnTo>
                    <a:pt x="611" y="152"/>
                  </a:lnTo>
                  <a:lnTo>
                    <a:pt x="606" y="150"/>
                  </a:lnTo>
                  <a:lnTo>
                    <a:pt x="606" y="146"/>
                  </a:lnTo>
                  <a:lnTo>
                    <a:pt x="606" y="143"/>
                  </a:lnTo>
                  <a:lnTo>
                    <a:pt x="609" y="141"/>
                  </a:lnTo>
                  <a:lnTo>
                    <a:pt x="617" y="143"/>
                  </a:lnTo>
                  <a:lnTo>
                    <a:pt x="619" y="146"/>
                  </a:lnTo>
                  <a:lnTo>
                    <a:pt x="620" y="150"/>
                  </a:lnTo>
                  <a:lnTo>
                    <a:pt x="623" y="151"/>
                  </a:lnTo>
                  <a:lnTo>
                    <a:pt x="625" y="151"/>
                  </a:lnTo>
                  <a:lnTo>
                    <a:pt x="631" y="156"/>
                  </a:lnTo>
                  <a:lnTo>
                    <a:pt x="633" y="159"/>
                  </a:lnTo>
                  <a:lnTo>
                    <a:pt x="637" y="162"/>
                  </a:lnTo>
                  <a:lnTo>
                    <a:pt x="634" y="162"/>
                  </a:lnTo>
                  <a:lnTo>
                    <a:pt x="638" y="163"/>
                  </a:lnTo>
                  <a:lnTo>
                    <a:pt x="637" y="160"/>
                  </a:lnTo>
                  <a:lnTo>
                    <a:pt x="634" y="156"/>
                  </a:lnTo>
                  <a:lnTo>
                    <a:pt x="631" y="155"/>
                  </a:lnTo>
                  <a:lnTo>
                    <a:pt x="634" y="154"/>
                  </a:lnTo>
                  <a:lnTo>
                    <a:pt x="633" y="152"/>
                  </a:lnTo>
                  <a:lnTo>
                    <a:pt x="630" y="148"/>
                  </a:lnTo>
                  <a:lnTo>
                    <a:pt x="629" y="145"/>
                  </a:lnTo>
                  <a:lnTo>
                    <a:pt x="629" y="142"/>
                  </a:lnTo>
                  <a:lnTo>
                    <a:pt x="632" y="141"/>
                  </a:lnTo>
                  <a:lnTo>
                    <a:pt x="632" y="144"/>
                  </a:lnTo>
                  <a:lnTo>
                    <a:pt x="633" y="140"/>
                  </a:lnTo>
                  <a:lnTo>
                    <a:pt x="632" y="138"/>
                  </a:lnTo>
                  <a:lnTo>
                    <a:pt x="629" y="139"/>
                  </a:lnTo>
                  <a:lnTo>
                    <a:pt x="626" y="139"/>
                  </a:lnTo>
                  <a:lnTo>
                    <a:pt x="624" y="137"/>
                  </a:lnTo>
                  <a:lnTo>
                    <a:pt x="629" y="135"/>
                  </a:lnTo>
                  <a:lnTo>
                    <a:pt x="631" y="131"/>
                  </a:lnTo>
                  <a:lnTo>
                    <a:pt x="628" y="132"/>
                  </a:lnTo>
                  <a:lnTo>
                    <a:pt x="624" y="132"/>
                  </a:lnTo>
                  <a:lnTo>
                    <a:pt x="621" y="136"/>
                  </a:lnTo>
                  <a:lnTo>
                    <a:pt x="617" y="133"/>
                  </a:lnTo>
                  <a:lnTo>
                    <a:pt x="614" y="134"/>
                  </a:lnTo>
                  <a:lnTo>
                    <a:pt x="611" y="130"/>
                  </a:lnTo>
                  <a:lnTo>
                    <a:pt x="611" y="127"/>
                  </a:lnTo>
                  <a:lnTo>
                    <a:pt x="607" y="128"/>
                  </a:lnTo>
                  <a:lnTo>
                    <a:pt x="604" y="127"/>
                  </a:lnTo>
                  <a:lnTo>
                    <a:pt x="601" y="125"/>
                  </a:lnTo>
                  <a:lnTo>
                    <a:pt x="603" y="122"/>
                  </a:lnTo>
                  <a:lnTo>
                    <a:pt x="606" y="119"/>
                  </a:lnTo>
                  <a:lnTo>
                    <a:pt x="609" y="121"/>
                  </a:lnTo>
                  <a:lnTo>
                    <a:pt x="611" y="124"/>
                  </a:lnTo>
                  <a:lnTo>
                    <a:pt x="611" y="121"/>
                  </a:lnTo>
                  <a:lnTo>
                    <a:pt x="611" y="118"/>
                  </a:lnTo>
                  <a:lnTo>
                    <a:pt x="610" y="115"/>
                  </a:lnTo>
                  <a:lnTo>
                    <a:pt x="613" y="116"/>
                  </a:lnTo>
                  <a:lnTo>
                    <a:pt x="616" y="118"/>
                  </a:lnTo>
                  <a:lnTo>
                    <a:pt x="621" y="122"/>
                  </a:lnTo>
                  <a:lnTo>
                    <a:pt x="622" y="125"/>
                  </a:lnTo>
                  <a:lnTo>
                    <a:pt x="624" y="127"/>
                  </a:lnTo>
                  <a:lnTo>
                    <a:pt x="623" y="124"/>
                  </a:lnTo>
                  <a:lnTo>
                    <a:pt x="623" y="122"/>
                  </a:lnTo>
                  <a:lnTo>
                    <a:pt x="620" y="118"/>
                  </a:lnTo>
                  <a:lnTo>
                    <a:pt x="624" y="111"/>
                  </a:lnTo>
                  <a:lnTo>
                    <a:pt x="625" y="113"/>
                  </a:lnTo>
                  <a:lnTo>
                    <a:pt x="627" y="112"/>
                  </a:lnTo>
                  <a:lnTo>
                    <a:pt x="630" y="117"/>
                  </a:lnTo>
                  <a:lnTo>
                    <a:pt x="630" y="113"/>
                  </a:lnTo>
                  <a:lnTo>
                    <a:pt x="634" y="112"/>
                  </a:lnTo>
                  <a:lnTo>
                    <a:pt x="635" y="115"/>
                  </a:lnTo>
                  <a:lnTo>
                    <a:pt x="635" y="118"/>
                  </a:lnTo>
                  <a:lnTo>
                    <a:pt x="636" y="121"/>
                  </a:lnTo>
                  <a:lnTo>
                    <a:pt x="636" y="125"/>
                  </a:lnTo>
                  <a:lnTo>
                    <a:pt x="641" y="124"/>
                  </a:lnTo>
                  <a:lnTo>
                    <a:pt x="645" y="126"/>
                  </a:lnTo>
                  <a:lnTo>
                    <a:pt x="638" y="123"/>
                  </a:lnTo>
                  <a:lnTo>
                    <a:pt x="638" y="118"/>
                  </a:lnTo>
                  <a:lnTo>
                    <a:pt x="638" y="115"/>
                  </a:lnTo>
                  <a:lnTo>
                    <a:pt x="642" y="114"/>
                  </a:lnTo>
                  <a:lnTo>
                    <a:pt x="645" y="115"/>
                  </a:lnTo>
                  <a:lnTo>
                    <a:pt x="648" y="116"/>
                  </a:lnTo>
                  <a:lnTo>
                    <a:pt x="657" y="115"/>
                  </a:lnTo>
                  <a:lnTo>
                    <a:pt x="655" y="123"/>
                  </a:lnTo>
                  <a:lnTo>
                    <a:pt x="652" y="126"/>
                  </a:lnTo>
                  <a:lnTo>
                    <a:pt x="646" y="129"/>
                  </a:lnTo>
                  <a:lnTo>
                    <a:pt x="644" y="129"/>
                  </a:lnTo>
                  <a:lnTo>
                    <a:pt x="642" y="131"/>
                  </a:lnTo>
                  <a:lnTo>
                    <a:pt x="639" y="134"/>
                  </a:lnTo>
                  <a:lnTo>
                    <a:pt x="642" y="132"/>
                  </a:lnTo>
                  <a:lnTo>
                    <a:pt x="650" y="129"/>
                  </a:lnTo>
                  <a:lnTo>
                    <a:pt x="656" y="125"/>
                  </a:lnTo>
                  <a:lnTo>
                    <a:pt x="659" y="121"/>
                  </a:lnTo>
                  <a:lnTo>
                    <a:pt x="660" y="124"/>
                  </a:lnTo>
                  <a:lnTo>
                    <a:pt x="660" y="127"/>
                  </a:lnTo>
                  <a:lnTo>
                    <a:pt x="661" y="129"/>
                  </a:lnTo>
                  <a:lnTo>
                    <a:pt x="665" y="129"/>
                  </a:lnTo>
                  <a:lnTo>
                    <a:pt x="666" y="132"/>
                  </a:lnTo>
                  <a:lnTo>
                    <a:pt x="667" y="135"/>
                  </a:lnTo>
                  <a:lnTo>
                    <a:pt x="671" y="133"/>
                  </a:lnTo>
                  <a:lnTo>
                    <a:pt x="673" y="136"/>
                  </a:lnTo>
                  <a:lnTo>
                    <a:pt x="676" y="133"/>
                  </a:lnTo>
                  <a:lnTo>
                    <a:pt x="678" y="129"/>
                  </a:lnTo>
                  <a:lnTo>
                    <a:pt x="671" y="128"/>
                  </a:lnTo>
                  <a:lnTo>
                    <a:pt x="666" y="125"/>
                  </a:lnTo>
                  <a:lnTo>
                    <a:pt x="668" y="122"/>
                  </a:lnTo>
                  <a:lnTo>
                    <a:pt x="671" y="121"/>
                  </a:lnTo>
                  <a:lnTo>
                    <a:pt x="672" y="119"/>
                  </a:lnTo>
                  <a:lnTo>
                    <a:pt x="669" y="118"/>
                  </a:lnTo>
                  <a:lnTo>
                    <a:pt x="671" y="115"/>
                  </a:lnTo>
                  <a:lnTo>
                    <a:pt x="668" y="115"/>
                  </a:lnTo>
                  <a:lnTo>
                    <a:pt x="665" y="113"/>
                  </a:lnTo>
                  <a:lnTo>
                    <a:pt x="670" y="111"/>
                  </a:lnTo>
                  <a:lnTo>
                    <a:pt x="673" y="110"/>
                  </a:lnTo>
                  <a:lnTo>
                    <a:pt x="666" y="110"/>
                  </a:lnTo>
                  <a:lnTo>
                    <a:pt x="669" y="107"/>
                  </a:lnTo>
                  <a:lnTo>
                    <a:pt x="674" y="104"/>
                  </a:lnTo>
                  <a:lnTo>
                    <a:pt x="670" y="103"/>
                  </a:lnTo>
                  <a:lnTo>
                    <a:pt x="671" y="97"/>
                  </a:lnTo>
                  <a:lnTo>
                    <a:pt x="674" y="92"/>
                  </a:lnTo>
                  <a:lnTo>
                    <a:pt x="676" y="88"/>
                  </a:lnTo>
                  <a:lnTo>
                    <a:pt x="678" y="84"/>
                  </a:lnTo>
                  <a:lnTo>
                    <a:pt x="680" y="82"/>
                  </a:lnTo>
                  <a:lnTo>
                    <a:pt x="690" y="81"/>
                  </a:lnTo>
                  <a:lnTo>
                    <a:pt x="694" y="82"/>
                  </a:lnTo>
                  <a:lnTo>
                    <a:pt x="691" y="79"/>
                  </a:lnTo>
                  <a:lnTo>
                    <a:pt x="687" y="78"/>
                  </a:lnTo>
                  <a:lnTo>
                    <a:pt x="689" y="73"/>
                  </a:lnTo>
                  <a:lnTo>
                    <a:pt x="689" y="67"/>
                  </a:lnTo>
                  <a:lnTo>
                    <a:pt x="690" y="63"/>
                  </a:lnTo>
                  <a:lnTo>
                    <a:pt x="692" y="63"/>
                  </a:lnTo>
                  <a:lnTo>
                    <a:pt x="700" y="67"/>
                  </a:lnTo>
                  <a:lnTo>
                    <a:pt x="702" y="67"/>
                  </a:lnTo>
                  <a:lnTo>
                    <a:pt x="703" y="64"/>
                  </a:lnTo>
                  <a:lnTo>
                    <a:pt x="700" y="61"/>
                  </a:lnTo>
                  <a:lnTo>
                    <a:pt x="697" y="59"/>
                  </a:lnTo>
                  <a:lnTo>
                    <a:pt x="693" y="57"/>
                  </a:lnTo>
                  <a:lnTo>
                    <a:pt x="689" y="56"/>
                  </a:lnTo>
                  <a:lnTo>
                    <a:pt x="685" y="55"/>
                  </a:lnTo>
                  <a:lnTo>
                    <a:pt x="685" y="52"/>
                  </a:lnTo>
                  <a:lnTo>
                    <a:pt x="687" y="47"/>
                  </a:lnTo>
                  <a:lnTo>
                    <a:pt x="691" y="49"/>
                  </a:lnTo>
                  <a:lnTo>
                    <a:pt x="695" y="52"/>
                  </a:lnTo>
                  <a:lnTo>
                    <a:pt x="695" y="49"/>
                  </a:lnTo>
                  <a:lnTo>
                    <a:pt x="695" y="46"/>
                  </a:lnTo>
                  <a:lnTo>
                    <a:pt x="698" y="46"/>
                  </a:lnTo>
                  <a:lnTo>
                    <a:pt x="695" y="43"/>
                  </a:lnTo>
                  <a:lnTo>
                    <a:pt x="693" y="38"/>
                  </a:lnTo>
                  <a:lnTo>
                    <a:pt x="694" y="35"/>
                  </a:lnTo>
                  <a:lnTo>
                    <a:pt x="697" y="35"/>
                  </a:lnTo>
                  <a:lnTo>
                    <a:pt x="700" y="37"/>
                  </a:lnTo>
                  <a:lnTo>
                    <a:pt x="700" y="40"/>
                  </a:lnTo>
                  <a:lnTo>
                    <a:pt x="705" y="39"/>
                  </a:lnTo>
                  <a:lnTo>
                    <a:pt x="704" y="36"/>
                  </a:lnTo>
                  <a:lnTo>
                    <a:pt x="705" y="33"/>
                  </a:lnTo>
                  <a:lnTo>
                    <a:pt x="706" y="37"/>
                  </a:lnTo>
                  <a:lnTo>
                    <a:pt x="705" y="41"/>
                  </a:lnTo>
                  <a:lnTo>
                    <a:pt x="708" y="43"/>
                  </a:lnTo>
                  <a:lnTo>
                    <a:pt x="709" y="38"/>
                  </a:lnTo>
                  <a:lnTo>
                    <a:pt x="713" y="41"/>
                  </a:lnTo>
                  <a:lnTo>
                    <a:pt x="715" y="45"/>
                  </a:lnTo>
                  <a:lnTo>
                    <a:pt x="715" y="48"/>
                  </a:lnTo>
                  <a:lnTo>
                    <a:pt x="718" y="45"/>
                  </a:lnTo>
                  <a:lnTo>
                    <a:pt x="717" y="39"/>
                  </a:lnTo>
                  <a:lnTo>
                    <a:pt x="716" y="36"/>
                  </a:lnTo>
                  <a:lnTo>
                    <a:pt x="714" y="33"/>
                  </a:lnTo>
                  <a:lnTo>
                    <a:pt x="721" y="34"/>
                  </a:lnTo>
                  <a:lnTo>
                    <a:pt x="721" y="38"/>
                  </a:lnTo>
                  <a:lnTo>
                    <a:pt x="719" y="40"/>
                  </a:lnTo>
                  <a:lnTo>
                    <a:pt x="723" y="40"/>
                  </a:lnTo>
                  <a:lnTo>
                    <a:pt x="724" y="37"/>
                  </a:lnTo>
                  <a:lnTo>
                    <a:pt x="726" y="36"/>
                  </a:lnTo>
                  <a:lnTo>
                    <a:pt x="728" y="38"/>
                  </a:lnTo>
                  <a:lnTo>
                    <a:pt x="730" y="36"/>
                  </a:lnTo>
                  <a:lnTo>
                    <a:pt x="733" y="36"/>
                  </a:lnTo>
                  <a:lnTo>
                    <a:pt x="733" y="40"/>
                  </a:lnTo>
                  <a:lnTo>
                    <a:pt x="731" y="45"/>
                  </a:lnTo>
                  <a:lnTo>
                    <a:pt x="727" y="48"/>
                  </a:lnTo>
                  <a:lnTo>
                    <a:pt x="729" y="51"/>
                  </a:lnTo>
                  <a:lnTo>
                    <a:pt x="727" y="54"/>
                  </a:lnTo>
                  <a:lnTo>
                    <a:pt x="726" y="57"/>
                  </a:lnTo>
                  <a:lnTo>
                    <a:pt x="723" y="64"/>
                  </a:lnTo>
                  <a:lnTo>
                    <a:pt x="720" y="67"/>
                  </a:lnTo>
                  <a:lnTo>
                    <a:pt x="717" y="73"/>
                  </a:lnTo>
                  <a:lnTo>
                    <a:pt x="721" y="71"/>
                  </a:lnTo>
                  <a:lnTo>
                    <a:pt x="722" y="75"/>
                  </a:lnTo>
                  <a:lnTo>
                    <a:pt x="716" y="76"/>
                  </a:lnTo>
                  <a:lnTo>
                    <a:pt x="722" y="76"/>
                  </a:lnTo>
                  <a:lnTo>
                    <a:pt x="723" y="80"/>
                  </a:lnTo>
                  <a:lnTo>
                    <a:pt x="724" y="82"/>
                  </a:lnTo>
                  <a:lnTo>
                    <a:pt x="721" y="84"/>
                  </a:lnTo>
                  <a:lnTo>
                    <a:pt x="720" y="87"/>
                  </a:lnTo>
                  <a:lnTo>
                    <a:pt x="722" y="91"/>
                  </a:lnTo>
                  <a:lnTo>
                    <a:pt x="724" y="89"/>
                  </a:lnTo>
                  <a:lnTo>
                    <a:pt x="722" y="97"/>
                  </a:lnTo>
                  <a:lnTo>
                    <a:pt x="720" y="101"/>
                  </a:lnTo>
                  <a:lnTo>
                    <a:pt x="720" y="104"/>
                  </a:lnTo>
                  <a:lnTo>
                    <a:pt x="720" y="107"/>
                  </a:lnTo>
                  <a:lnTo>
                    <a:pt x="721" y="112"/>
                  </a:lnTo>
                  <a:lnTo>
                    <a:pt x="724" y="115"/>
                  </a:lnTo>
                  <a:lnTo>
                    <a:pt x="724" y="112"/>
                  </a:lnTo>
                  <a:lnTo>
                    <a:pt x="723" y="109"/>
                  </a:lnTo>
                  <a:lnTo>
                    <a:pt x="725" y="107"/>
                  </a:lnTo>
                  <a:lnTo>
                    <a:pt x="726" y="110"/>
                  </a:lnTo>
                  <a:lnTo>
                    <a:pt x="727" y="113"/>
                  </a:lnTo>
                  <a:lnTo>
                    <a:pt x="730" y="111"/>
                  </a:lnTo>
                  <a:lnTo>
                    <a:pt x="731" y="104"/>
                  </a:lnTo>
                  <a:lnTo>
                    <a:pt x="732" y="101"/>
                  </a:lnTo>
                  <a:lnTo>
                    <a:pt x="734" y="95"/>
                  </a:lnTo>
                  <a:lnTo>
                    <a:pt x="735" y="92"/>
                  </a:lnTo>
                  <a:lnTo>
                    <a:pt x="734" y="89"/>
                  </a:lnTo>
                  <a:lnTo>
                    <a:pt x="731" y="88"/>
                  </a:lnTo>
                  <a:lnTo>
                    <a:pt x="736" y="76"/>
                  </a:lnTo>
                  <a:lnTo>
                    <a:pt x="739" y="64"/>
                  </a:lnTo>
                  <a:lnTo>
                    <a:pt x="742" y="59"/>
                  </a:lnTo>
                  <a:lnTo>
                    <a:pt x="742" y="51"/>
                  </a:lnTo>
                  <a:lnTo>
                    <a:pt x="743" y="48"/>
                  </a:lnTo>
                  <a:lnTo>
                    <a:pt x="743" y="45"/>
                  </a:lnTo>
                  <a:lnTo>
                    <a:pt x="745" y="40"/>
                  </a:lnTo>
                  <a:lnTo>
                    <a:pt x="746" y="37"/>
                  </a:lnTo>
                  <a:lnTo>
                    <a:pt x="747" y="33"/>
                  </a:lnTo>
                  <a:lnTo>
                    <a:pt x="752" y="23"/>
                  </a:lnTo>
                  <a:lnTo>
                    <a:pt x="757" y="25"/>
                  </a:lnTo>
                  <a:lnTo>
                    <a:pt x="758" y="28"/>
                  </a:lnTo>
                  <a:lnTo>
                    <a:pt x="757" y="30"/>
                  </a:lnTo>
                  <a:lnTo>
                    <a:pt x="758" y="34"/>
                  </a:lnTo>
                  <a:lnTo>
                    <a:pt x="760" y="39"/>
                  </a:lnTo>
                  <a:lnTo>
                    <a:pt x="761" y="43"/>
                  </a:lnTo>
                  <a:lnTo>
                    <a:pt x="760" y="46"/>
                  </a:lnTo>
                  <a:lnTo>
                    <a:pt x="751" y="53"/>
                  </a:lnTo>
                  <a:lnTo>
                    <a:pt x="757" y="51"/>
                  </a:lnTo>
                  <a:lnTo>
                    <a:pt x="761" y="50"/>
                  </a:lnTo>
                  <a:lnTo>
                    <a:pt x="762" y="59"/>
                  </a:lnTo>
                  <a:lnTo>
                    <a:pt x="762" y="62"/>
                  </a:lnTo>
                  <a:lnTo>
                    <a:pt x="763" y="65"/>
                  </a:lnTo>
                  <a:lnTo>
                    <a:pt x="763" y="68"/>
                  </a:lnTo>
                  <a:lnTo>
                    <a:pt x="763" y="71"/>
                  </a:lnTo>
                  <a:lnTo>
                    <a:pt x="764" y="73"/>
                  </a:lnTo>
                  <a:lnTo>
                    <a:pt x="764" y="76"/>
                  </a:lnTo>
                  <a:lnTo>
                    <a:pt x="767" y="75"/>
                  </a:lnTo>
                  <a:lnTo>
                    <a:pt x="767" y="72"/>
                  </a:lnTo>
                  <a:lnTo>
                    <a:pt x="770" y="69"/>
                  </a:lnTo>
                  <a:lnTo>
                    <a:pt x="771" y="67"/>
                  </a:lnTo>
                  <a:lnTo>
                    <a:pt x="775" y="63"/>
                  </a:lnTo>
                  <a:lnTo>
                    <a:pt x="778" y="63"/>
                  </a:lnTo>
                  <a:lnTo>
                    <a:pt x="774" y="59"/>
                  </a:lnTo>
                  <a:lnTo>
                    <a:pt x="775" y="56"/>
                  </a:lnTo>
                  <a:lnTo>
                    <a:pt x="774" y="52"/>
                  </a:lnTo>
                  <a:lnTo>
                    <a:pt x="777" y="51"/>
                  </a:lnTo>
                  <a:lnTo>
                    <a:pt x="781" y="52"/>
                  </a:lnTo>
                  <a:lnTo>
                    <a:pt x="777" y="49"/>
                  </a:lnTo>
                  <a:lnTo>
                    <a:pt x="775" y="46"/>
                  </a:lnTo>
                  <a:lnTo>
                    <a:pt x="776" y="44"/>
                  </a:lnTo>
                  <a:lnTo>
                    <a:pt x="773" y="40"/>
                  </a:lnTo>
                  <a:lnTo>
                    <a:pt x="778" y="37"/>
                  </a:lnTo>
                  <a:lnTo>
                    <a:pt x="777" y="33"/>
                  </a:lnTo>
                  <a:lnTo>
                    <a:pt x="777" y="29"/>
                  </a:lnTo>
                  <a:lnTo>
                    <a:pt x="787" y="28"/>
                  </a:lnTo>
                  <a:lnTo>
                    <a:pt x="782" y="28"/>
                  </a:lnTo>
                  <a:lnTo>
                    <a:pt x="780" y="24"/>
                  </a:lnTo>
                  <a:lnTo>
                    <a:pt x="777" y="21"/>
                  </a:lnTo>
                  <a:lnTo>
                    <a:pt x="771" y="24"/>
                  </a:lnTo>
                  <a:lnTo>
                    <a:pt x="768" y="19"/>
                  </a:lnTo>
                  <a:lnTo>
                    <a:pt x="775" y="18"/>
                  </a:lnTo>
                  <a:lnTo>
                    <a:pt x="773" y="16"/>
                  </a:lnTo>
                  <a:lnTo>
                    <a:pt x="771" y="15"/>
                  </a:lnTo>
                  <a:lnTo>
                    <a:pt x="769" y="13"/>
                  </a:lnTo>
                  <a:lnTo>
                    <a:pt x="777" y="12"/>
                  </a:lnTo>
                  <a:lnTo>
                    <a:pt x="779" y="15"/>
                  </a:lnTo>
                  <a:lnTo>
                    <a:pt x="780" y="12"/>
                  </a:lnTo>
                  <a:lnTo>
                    <a:pt x="779" y="10"/>
                  </a:lnTo>
                  <a:lnTo>
                    <a:pt x="777" y="7"/>
                  </a:lnTo>
                  <a:lnTo>
                    <a:pt x="777" y="4"/>
                  </a:lnTo>
                  <a:lnTo>
                    <a:pt x="779" y="0"/>
                  </a:lnTo>
                  <a:lnTo>
                    <a:pt x="781" y="1"/>
                  </a:lnTo>
                  <a:lnTo>
                    <a:pt x="782" y="5"/>
                  </a:lnTo>
                  <a:lnTo>
                    <a:pt x="785" y="5"/>
                  </a:lnTo>
                  <a:lnTo>
                    <a:pt x="787" y="6"/>
                  </a:lnTo>
                  <a:lnTo>
                    <a:pt x="790" y="4"/>
                  </a:lnTo>
                  <a:lnTo>
                    <a:pt x="791" y="2"/>
                  </a:lnTo>
                  <a:lnTo>
                    <a:pt x="795" y="1"/>
                  </a:lnTo>
                  <a:lnTo>
                    <a:pt x="797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5" name="PL">
              <a:extLst>
                <a:ext uri="{FF2B5EF4-FFF2-40B4-BE49-F238E27FC236}">
                  <a16:creationId xmlns:a16="http://schemas.microsoft.com/office/drawing/2014/main" id="{16334920-0144-B2ED-C61E-F74AAEE1C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5946" y="3671404"/>
              <a:ext cx="1144862" cy="917165"/>
            </a:xfrm>
            <a:custGeom>
              <a:avLst/>
              <a:gdLst>
                <a:gd name="T0" fmla="*/ 242 w 602"/>
                <a:gd name="T1" fmla="*/ 14 h 513"/>
                <a:gd name="T2" fmla="*/ 225 w 602"/>
                <a:gd name="T3" fmla="*/ 10 h 513"/>
                <a:gd name="T4" fmla="*/ 235 w 602"/>
                <a:gd name="T5" fmla="*/ 34 h 513"/>
                <a:gd name="T6" fmla="*/ 284 w 602"/>
                <a:gd name="T7" fmla="*/ 32 h 513"/>
                <a:gd name="T8" fmla="*/ 436 w 602"/>
                <a:gd name="T9" fmla="*/ 14 h 513"/>
                <a:gd name="T10" fmla="*/ 474 w 602"/>
                <a:gd name="T11" fmla="*/ 7 h 513"/>
                <a:gd name="T12" fmla="*/ 499 w 602"/>
                <a:gd name="T13" fmla="*/ 19 h 513"/>
                <a:gd name="T14" fmla="*/ 510 w 602"/>
                <a:gd name="T15" fmla="*/ 46 h 513"/>
                <a:gd name="T16" fmla="*/ 532 w 602"/>
                <a:gd name="T17" fmla="*/ 90 h 513"/>
                <a:gd name="T18" fmla="*/ 546 w 602"/>
                <a:gd name="T19" fmla="*/ 120 h 513"/>
                <a:gd name="T20" fmla="*/ 545 w 602"/>
                <a:gd name="T21" fmla="*/ 159 h 513"/>
                <a:gd name="T22" fmla="*/ 528 w 602"/>
                <a:gd name="T23" fmla="*/ 201 h 513"/>
                <a:gd name="T24" fmla="*/ 551 w 602"/>
                <a:gd name="T25" fmla="*/ 216 h 513"/>
                <a:gd name="T26" fmla="*/ 550 w 602"/>
                <a:gd name="T27" fmla="*/ 244 h 513"/>
                <a:gd name="T28" fmla="*/ 560 w 602"/>
                <a:gd name="T29" fmla="*/ 268 h 513"/>
                <a:gd name="T30" fmla="*/ 578 w 602"/>
                <a:gd name="T31" fmla="*/ 295 h 513"/>
                <a:gd name="T32" fmla="*/ 597 w 602"/>
                <a:gd name="T33" fmla="*/ 320 h 513"/>
                <a:gd name="T34" fmla="*/ 599 w 602"/>
                <a:gd name="T35" fmla="*/ 335 h 513"/>
                <a:gd name="T36" fmla="*/ 583 w 602"/>
                <a:gd name="T37" fmla="*/ 365 h 513"/>
                <a:gd name="T38" fmla="*/ 553 w 602"/>
                <a:gd name="T39" fmla="*/ 411 h 513"/>
                <a:gd name="T40" fmla="*/ 535 w 602"/>
                <a:gd name="T41" fmla="*/ 459 h 513"/>
                <a:gd name="T42" fmla="*/ 548 w 602"/>
                <a:gd name="T43" fmla="*/ 492 h 513"/>
                <a:gd name="T44" fmla="*/ 539 w 602"/>
                <a:gd name="T45" fmla="*/ 499 h 513"/>
                <a:gd name="T46" fmla="*/ 512 w 602"/>
                <a:gd name="T47" fmla="*/ 493 h 513"/>
                <a:gd name="T48" fmla="*/ 487 w 602"/>
                <a:gd name="T49" fmla="*/ 478 h 513"/>
                <a:gd name="T50" fmla="*/ 456 w 602"/>
                <a:gd name="T51" fmla="*/ 478 h 513"/>
                <a:gd name="T52" fmla="*/ 436 w 602"/>
                <a:gd name="T53" fmla="*/ 492 h 513"/>
                <a:gd name="T54" fmla="*/ 402 w 602"/>
                <a:gd name="T55" fmla="*/ 490 h 513"/>
                <a:gd name="T56" fmla="*/ 380 w 602"/>
                <a:gd name="T57" fmla="*/ 512 h 513"/>
                <a:gd name="T58" fmla="*/ 364 w 602"/>
                <a:gd name="T59" fmla="*/ 498 h 513"/>
                <a:gd name="T60" fmla="*/ 345 w 602"/>
                <a:gd name="T61" fmla="*/ 483 h 513"/>
                <a:gd name="T62" fmla="*/ 322 w 602"/>
                <a:gd name="T63" fmla="*/ 499 h 513"/>
                <a:gd name="T64" fmla="*/ 303 w 602"/>
                <a:gd name="T65" fmla="*/ 484 h 513"/>
                <a:gd name="T66" fmla="*/ 287 w 602"/>
                <a:gd name="T67" fmla="*/ 461 h 513"/>
                <a:gd name="T68" fmla="*/ 262 w 602"/>
                <a:gd name="T69" fmla="*/ 453 h 513"/>
                <a:gd name="T70" fmla="*/ 240 w 602"/>
                <a:gd name="T71" fmla="*/ 454 h 513"/>
                <a:gd name="T72" fmla="*/ 231 w 602"/>
                <a:gd name="T73" fmla="*/ 431 h 513"/>
                <a:gd name="T74" fmla="*/ 209 w 602"/>
                <a:gd name="T75" fmla="*/ 432 h 513"/>
                <a:gd name="T76" fmla="*/ 185 w 602"/>
                <a:gd name="T77" fmla="*/ 419 h 513"/>
                <a:gd name="T78" fmla="*/ 187 w 602"/>
                <a:gd name="T79" fmla="*/ 437 h 513"/>
                <a:gd name="T80" fmla="*/ 169 w 602"/>
                <a:gd name="T81" fmla="*/ 450 h 513"/>
                <a:gd name="T82" fmla="*/ 148 w 602"/>
                <a:gd name="T83" fmla="*/ 428 h 513"/>
                <a:gd name="T84" fmla="*/ 149 w 602"/>
                <a:gd name="T85" fmla="*/ 412 h 513"/>
                <a:gd name="T86" fmla="*/ 126 w 602"/>
                <a:gd name="T87" fmla="*/ 406 h 513"/>
                <a:gd name="T88" fmla="*/ 91 w 602"/>
                <a:gd name="T89" fmla="*/ 391 h 513"/>
                <a:gd name="T90" fmla="*/ 77 w 602"/>
                <a:gd name="T91" fmla="*/ 375 h 513"/>
                <a:gd name="T92" fmla="*/ 64 w 602"/>
                <a:gd name="T93" fmla="*/ 383 h 513"/>
                <a:gd name="T94" fmla="*/ 61 w 602"/>
                <a:gd name="T95" fmla="*/ 356 h 513"/>
                <a:gd name="T96" fmla="*/ 51 w 602"/>
                <a:gd name="T97" fmla="*/ 330 h 513"/>
                <a:gd name="T98" fmla="*/ 37 w 602"/>
                <a:gd name="T99" fmla="*/ 303 h 513"/>
                <a:gd name="T100" fmla="*/ 38 w 602"/>
                <a:gd name="T101" fmla="*/ 271 h 513"/>
                <a:gd name="T102" fmla="*/ 29 w 602"/>
                <a:gd name="T103" fmla="*/ 246 h 513"/>
                <a:gd name="T104" fmla="*/ 21 w 602"/>
                <a:gd name="T105" fmla="*/ 219 h 513"/>
                <a:gd name="T106" fmla="*/ 3 w 602"/>
                <a:gd name="T107" fmla="*/ 195 h 513"/>
                <a:gd name="T108" fmla="*/ 17 w 602"/>
                <a:gd name="T109" fmla="*/ 169 h 513"/>
                <a:gd name="T110" fmla="*/ 7 w 602"/>
                <a:gd name="T111" fmla="*/ 131 h 513"/>
                <a:gd name="T112" fmla="*/ 24 w 602"/>
                <a:gd name="T113" fmla="*/ 133 h 513"/>
                <a:gd name="T114" fmla="*/ 22 w 602"/>
                <a:gd name="T115" fmla="*/ 109 h 513"/>
                <a:gd name="T116" fmla="*/ 0 w 602"/>
                <a:gd name="T117" fmla="*/ 106 h 513"/>
                <a:gd name="T118" fmla="*/ 59 w 602"/>
                <a:gd name="T119" fmla="*/ 80 h 513"/>
                <a:gd name="T120" fmla="*/ 108 w 602"/>
                <a:gd name="T121" fmla="*/ 60 h 513"/>
                <a:gd name="T122" fmla="*/ 125 w 602"/>
                <a:gd name="T123" fmla="*/ 35 h 513"/>
                <a:gd name="T124" fmla="*/ 208 w 602"/>
                <a:gd name="T125" fmla="*/ 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2" h="513">
                  <a:moveTo>
                    <a:pt x="217" y="0"/>
                  </a:moveTo>
                  <a:lnTo>
                    <a:pt x="221" y="2"/>
                  </a:lnTo>
                  <a:lnTo>
                    <a:pt x="222" y="2"/>
                  </a:lnTo>
                  <a:lnTo>
                    <a:pt x="242" y="11"/>
                  </a:lnTo>
                  <a:lnTo>
                    <a:pt x="246" y="15"/>
                  </a:lnTo>
                  <a:lnTo>
                    <a:pt x="247" y="18"/>
                  </a:lnTo>
                  <a:lnTo>
                    <a:pt x="244" y="17"/>
                  </a:lnTo>
                  <a:lnTo>
                    <a:pt x="242" y="14"/>
                  </a:lnTo>
                  <a:lnTo>
                    <a:pt x="240" y="11"/>
                  </a:lnTo>
                  <a:lnTo>
                    <a:pt x="237" y="10"/>
                  </a:lnTo>
                  <a:lnTo>
                    <a:pt x="234" y="8"/>
                  </a:lnTo>
                  <a:lnTo>
                    <a:pt x="231" y="7"/>
                  </a:lnTo>
                  <a:lnTo>
                    <a:pt x="228" y="6"/>
                  </a:lnTo>
                  <a:lnTo>
                    <a:pt x="225" y="5"/>
                  </a:lnTo>
                  <a:lnTo>
                    <a:pt x="223" y="7"/>
                  </a:lnTo>
                  <a:lnTo>
                    <a:pt x="225" y="10"/>
                  </a:lnTo>
                  <a:lnTo>
                    <a:pt x="227" y="13"/>
                  </a:lnTo>
                  <a:lnTo>
                    <a:pt x="228" y="17"/>
                  </a:lnTo>
                  <a:lnTo>
                    <a:pt x="230" y="16"/>
                  </a:lnTo>
                  <a:lnTo>
                    <a:pt x="231" y="19"/>
                  </a:lnTo>
                  <a:lnTo>
                    <a:pt x="233" y="24"/>
                  </a:lnTo>
                  <a:lnTo>
                    <a:pt x="234" y="27"/>
                  </a:lnTo>
                  <a:lnTo>
                    <a:pt x="234" y="30"/>
                  </a:lnTo>
                  <a:lnTo>
                    <a:pt x="235" y="34"/>
                  </a:lnTo>
                  <a:lnTo>
                    <a:pt x="239" y="37"/>
                  </a:lnTo>
                  <a:lnTo>
                    <a:pt x="241" y="37"/>
                  </a:lnTo>
                  <a:lnTo>
                    <a:pt x="243" y="39"/>
                  </a:lnTo>
                  <a:lnTo>
                    <a:pt x="253" y="41"/>
                  </a:lnTo>
                  <a:lnTo>
                    <a:pt x="257" y="40"/>
                  </a:lnTo>
                  <a:lnTo>
                    <a:pt x="259" y="41"/>
                  </a:lnTo>
                  <a:lnTo>
                    <a:pt x="280" y="35"/>
                  </a:lnTo>
                  <a:lnTo>
                    <a:pt x="284" y="32"/>
                  </a:lnTo>
                  <a:lnTo>
                    <a:pt x="290" y="27"/>
                  </a:lnTo>
                  <a:lnTo>
                    <a:pt x="292" y="27"/>
                  </a:lnTo>
                  <a:lnTo>
                    <a:pt x="311" y="27"/>
                  </a:lnTo>
                  <a:lnTo>
                    <a:pt x="331" y="25"/>
                  </a:lnTo>
                  <a:lnTo>
                    <a:pt x="363" y="22"/>
                  </a:lnTo>
                  <a:lnTo>
                    <a:pt x="382" y="20"/>
                  </a:lnTo>
                  <a:lnTo>
                    <a:pt x="405" y="17"/>
                  </a:lnTo>
                  <a:lnTo>
                    <a:pt x="436" y="14"/>
                  </a:lnTo>
                  <a:lnTo>
                    <a:pt x="449" y="12"/>
                  </a:lnTo>
                  <a:lnTo>
                    <a:pt x="459" y="11"/>
                  </a:lnTo>
                  <a:lnTo>
                    <a:pt x="462" y="9"/>
                  </a:lnTo>
                  <a:lnTo>
                    <a:pt x="464" y="5"/>
                  </a:lnTo>
                  <a:lnTo>
                    <a:pt x="466" y="4"/>
                  </a:lnTo>
                  <a:lnTo>
                    <a:pt x="469" y="6"/>
                  </a:lnTo>
                  <a:lnTo>
                    <a:pt x="472" y="5"/>
                  </a:lnTo>
                  <a:lnTo>
                    <a:pt x="474" y="7"/>
                  </a:lnTo>
                  <a:lnTo>
                    <a:pt x="476" y="8"/>
                  </a:lnTo>
                  <a:lnTo>
                    <a:pt x="478" y="12"/>
                  </a:lnTo>
                  <a:lnTo>
                    <a:pt x="482" y="11"/>
                  </a:lnTo>
                  <a:lnTo>
                    <a:pt x="486" y="13"/>
                  </a:lnTo>
                  <a:lnTo>
                    <a:pt x="488" y="14"/>
                  </a:lnTo>
                  <a:lnTo>
                    <a:pt x="493" y="15"/>
                  </a:lnTo>
                  <a:lnTo>
                    <a:pt x="496" y="17"/>
                  </a:lnTo>
                  <a:lnTo>
                    <a:pt x="499" y="19"/>
                  </a:lnTo>
                  <a:lnTo>
                    <a:pt x="501" y="20"/>
                  </a:lnTo>
                  <a:lnTo>
                    <a:pt x="503" y="23"/>
                  </a:lnTo>
                  <a:lnTo>
                    <a:pt x="505" y="26"/>
                  </a:lnTo>
                  <a:lnTo>
                    <a:pt x="507" y="30"/>
                  </a:lnTo>
                  <a:lnTo>
                    <a:pt x="507" y="34"/>
                  </a:lnTo>
                  <a:lnTo>
                    <a:pt x="506" y="37"/>
                  </a:lnTo>
                  <a:lnTo>
                    <a:pt x="508" y="40"/>
                  </a:lnTo>
                  <a:lnTo>
                    <a:pt x="510" y="46"/>
                  </a:lnTo>
                  <a:lnTo>
                    <a:pt x="511" y="48"/>
                  </a:lnTo>
                  <a:lnTo>
                    <a:pt x="513" y="55"/>
                  </a:lnTo>
                  <a:lnTo>
                    <a:pt x="516" y="58"/>
                  </a:lnTo>
                  <a:lnTo>
                    <a:pt x="517" y="64"/>
                  </a:lnTo>
                  <a:lnTo>
                    <a:pt x="519" y="70"/>
                  </a:lnTo>
                  <a:lnTo>
                    <a:pt x="527" y="83"/>
                  </a:lnTo>
                  <a:lnTo>
                    <a:pt x="530" y="88"/>
                  </a:lnTo>
                  <a:lnTo>
                    <a:pt x="532" y="90"/>
                  </a:lnTo>
                  <a:lnTo>
                    <a:pt x="536" y="99"/>
                  </a:lnTo>
                  <a:lnTo>
                    <a:pt x="537" y="101"/>
                  </a:lnTo>
                  <a:lnTo>
                    <a:pt x="539" y="103"/>
                  </a:lnTo>
                  <a:lnTo>
                    <a:pt x="541" y="106"/>
                  </a:lnTo>
                  <a:lnTo>
                    <a:pt x="544" y="108"/>
                  </a:lnTo>
                  <a:lnTo>
                    <a:pt x="544" y="111"/>
                  </a:lnTo>
                  <a:lnTo>
                    <a:pt x="543" y="117"/>
                  </a:lnTo>
                  <a:lnTo>
                    <a:pt x="546" y="120"/>
                  </a:lnTo>
                  <a:lnTo>
                    <a:pt x="547" y="123"/>
                  </a:lnTo>
                  <a:lnTo>
                    <a:pt x="548" y="126"/>
                  </a:lnTo>
                  <a:lnTo>
                    <a:pt x="548" y="130"/>
                  </a:lnTo>
                  <a:lnTo>
                    <a:pt x="549" y="132"/>
                  </a:lnTo>
                  <a:lnTo>
                    <a:pt x="553" y="146"/>
                  </a:lnTo>
                  <a:lnTo>
                    <a:pt x="553" y="150"/>
                  </a:lnTo>
                  <a:lnTo>
                    <a:pt x="551" y="153"/>
                  </a:lnTo>
                  <a:lnTo>
                    <a:pt x="545" y="159"/>
                  </a:lnTo>
                  <a:lnTo>
                    <a:pt x="536" y="164"/>
                  </a:lnTo>
                  <a:lnTo>
                    <a:pt x="532" y="168"/>
                  </a:lnTo>
                  <a:lnTo>
                    <a:pt x="527" y="173"/>
                  </a:lnTo>
                  <a:lnTo>
                    <a:pt x="523" y="185"/>
                  </a:lnTo>
                  <a:lnTo>
                    <a:pt x="521" y="188"/>
                  </a:lnTo>
                  <a:lnTo>
                    <a:pt x="519" y="196"/>
                  </a:lnTo>
                  <a:lnTo>
                    <a:pt x="521" y="198"/>
                  </a:lnTo>
                  <a:lnTo>
                    <a:pt x="528" y="201"/>
                  </a:lnTo>
                  <a:lnTo>
                    <a:pt x="533" y="203"/>
                  </a:lnTo>
                  <a:lnTo>
                    <a:pt x="536" y="203"/>
                  </a:lnTo>
                  <a:lnTo>
                    <a:pt x="539" y="204"/>
                  </a:lnTo>
                  <a:lnTo>
                    <a:pt x="541" y="207"/>
                  </a:lnTo>
                  <a:lnTo>
                    <a:pt x="544" y="207"/>
                  </a:lnTo>
                  <a:lnTo>
                    <a:pt x="548" y="210"/>
                  </a:lnTo>
                  <a:lnTo>
                    <a:pt x="550" y="213"/>
                  </a:lnTo>
                  <a:lnTo>
                    <a:pt x="551" y="216"/>
                  </a:lnTo>
                  <a:lnTo>
                    <a:pt x="551" y="220"/>
                  </a:lnTo>
                  <a:lnTo>
                    <a:pt x="550" y="224"/>
                  </a:lnTo>
                  <a:lnTo>
                    <a:pt x="551" y="227"/>
                  </a:lnTo>
                  <a:lnTo>
                    <a:pt x="551" y="231"/>
                  </a:lnTo>
                  <a:lnTo>
                    <a:pt x="553" y="235"/>
                  </a:lnTo>
                  <a:lnTo>
                    <a:pt x="550" y="239"/>
                  </a:lnTo>
                  <a:lnTo>
                    <a:pt x="549" y="242"/>
                  </a:lnTo>
                  <a:lnTo>
                    <a:pt x="550" y="244"/>
                  </a:lnTo>
                  <a:lnTo>
                    <a:pt x="550" y="247"/>
                  </a:lnTo>
                  <a:lnTo>
                    <a:pt x="551" y="252"/>
                  </a:lnTo>
                  <a:lnTo>
                    <a:pt x="551" y="255"/>
                  </a:lnTo>
                  <a:lnTo>
                    <a:pt x="552" y="257"/>
                  </a:lnTo>
                  <a:lnTo>
                    <a:pt x="554" y="261"/>
                  </a:lnTo>
                  <a:lnTo>
                    <a:pt x="556" y="263"/>
                  </a:lnTo>
                  <a:lnTo>
                    <a:pt x="559" y="265"/>
                  </a:lnTo>
                  <a:lnTo>
                    <a:pt x="560" y="268"/>
                  </a:lnTo>
                  <a:lnTo>
                    <a:pt x="563" y="271"/>
                  </a:lnTo>
                  <a:lnTo>
                    <a:pt x="563" y="275"/>
                  </a:lnTo>
                  <a:lnTo>
                    <a:pt x="561" y="278"/>
                  </a:lnTo>
                  <a:lnTo>
                    <a:pt x="562" y="281"/>
                  </a:lnTo>
                  <a:lnTo>
                    <a:pt x="565" y="282"/>
                  </a:lnTo>
                  <a:lnTo>
                    <a:pt x="572" y="289"/>
                  </a:lnTo>
                  <a:lnTo>
                    <a:pt x="575" y="291"/>
                  </a:lnTo>
                  <a:lnTo>
                    <a:pt x="578" y="295"/>
                  </a:lnTo>
                  <a:lnTo>
                    <a:pt x="579" y="297"/>
                  </a:lnTo>
                  <a:lnTo>
                    <a:pt x="582" y="300"/>
                  </a:lnTo>
                  <a:lnTo>
                    <a:pt x="585" y="306"/>
                  </a:lnTo>
                  <a:lnTo>
                    <a:pt x="587" y="308"/>
                  </a:lnTo>
                  <a:lnTo>
                    <a:pt x="588" y="311"/>
                  </a:lnTo>
                  <a:lnTo>
                    <a:pt x="593" y="314"/>
                  </a:lnTo>
                  <a:lnTo>
                    <a:pt x="598" y="315"/>
                  </a:lnTo>
                  <a:lnTo>
                    <a:pt x="597" y="320"/>
                  </a:lnTo>
                  <a:lnTo>
                    <a:pt x="594" y="321"/>
                  </a:lnTo>
                  <a:lnTo>
                    <a:pt x="591" y="321"/>
                  </a:lnTo>
                  <a:lnTo>
                    <a:pt x="589" y="324"/>
                  </a:lnTo>
                  <a:lnTo>
                    <a:pt x="590" y="326"/>
                  </a:lnTo>
                  <a:lnTo>
                    <a:pt x="594" y="327"/>
                  </a:lnTo>
                  <a:lnTo>
                    <a:pt x="595" y="330"/>
                  </a:lnTo>
                  <a:lnTo>
                    <a:pt x="598" y="331"/>
                  </a:lnTo>
                  <a:lnTo>
                    <a:pt x="599" y="335"/>
                  </a:lnTo>
                  <a:lnTo>
                    <a:pt x="601" y="338"/>
                  </a:lnTo>
                  <a:lnTo>
                    <a:pt x="602" y="345"/>
                  </a:lnTo>
                  <a:lnTo>
                    <a:pt x="602" y="348"/>
                  </a:lnTo>
                  <a:lnTo>
                    <a:pt x="598" y="352"/>
                  </a:lnTo>
                  <a:lnTo>
                    <a:pt x="598" y="357"/>
                  </a:lnTo>
                  <a:lnTo>
                    <a:pt x="598" y="360"/>
                  </a:lnTo>
                  <a:lnTo>
                    <a:pt x="595" y="362"/>
                  </a:lnTo>
                  <a:lnTo>
                    <a:pt x="583" y="365"/>
                  </a:lnTo>
                  <a:lnTo>
                    <a:pt x="581" y="368"/>
                  </a:lnTo>
                  <a:lnTo>
                    <a:pt x="580" y="372"/>
                  </a:lnTo>
                  <a:lnTo>
                    <a:pt x="575" y="380"/>
                  </a:lnTo>
                  <a:lnTo>
                    <a:pt x="572" y="383"/>
                  </a:lnTo>
                  <a:lnTo>
                    <a:pt x="570" y="385"/>
                  </a:lnTo>
                  <a:lnTo>
                    <a:pt x="558" y="403"/>
                  </a:lnTo>
                  <a:lnTo>
                    <a:pt x="555" y="408"/>
                  </a:lnTo>
                  <a:lnTo>
                    <a:pt x="553" y="411"/>
                  </a:lnTo>
                  <a:lnTo>
                    <a:pt x="549" y="422"/>
                  </a:lnTo>
                  <a:lnTo>
                    <a:pt x="547" y="425"/>
                  </a:lnTo>
                  <a:lnTo>
                    <a:pt x="544" y="431"/>
                  </a:lnTo>
                  <a:lnTo>
                    <a:pt x="538" y="442"/>
                  </a:lnTo>
                  <a:lnTo>
                    <a:pt x="537" y="444"/>
                  </a:lnTo>
                  <a:lnTo>
                    <a:pt x="534" y="451"/>
                  </a:lnTo>
                  <a:lnTo>
                    <a:pt x="533" y="456"/>
                  </a:lnTo>
                  <a:lnTo>
                    <a:pt x="535" y="459"/>
                  </a:lnTo>
                  <a:lnTo>
                    <a:pt x="536" y="464"/>
                  </a:lnTo>
                  <a:lnTo>
                    <a:pt x="538" y="467"/>
                  </a:lnTo>
                  <a:lnTo>
                    <a:pt x="540" y="470"/>
                  </a:lnTo>
                  <a:lnTo>
                    <a:pt x="543" y="479"/>
                  </a:lnTo>
                  <a:lnTo>
                    <a:pt x="542" y="482"/>
                  </a:lnTo>
                  <a:lnTo>
                    <a:pt x="542" y="488"/>
                  </a:lnTo>
                  <a:lnTo>
                    <a:pt x="544" y="488"/>
                  </a:lnTo>
                  <a:lnTo>
                    <a:pt x="548" y="492"/>
                  </a:lnTo>
                  <a:lnTo>
                    <a:pt x="552" y="493"/>
                  </a:lnTo>
                  <a:lnTo>
                    <a:pt x="552" y="497"/>
                  </a:lnTo>
                  <a:lnTo>
                    <a:pt x="554" y="500"/>
                  </a:lnTo>
                  <a:lnTo>
                    <a:pt x="551" y="501"/>
                  </a:lnTo>
                  <a:lnTo>
                    <a:pt x="548" y="499"/>
                  </a:lnTo>
                  <a:lnTo>
                    <a:pt x="545" y="499"/>
                  </a:lnTo>
                  <a:lnTo>
                    <a:pt x="543" y="500"/>
                  </a:lnTo>
                  <a:lnTo>
                    <a:pt x="539" y="499"/>
                  </a:lnTo>
                  <a:lnTo>
                    <a:pt x="536" y="497"/>
                  </a:lnTo>
                  <a:lnTo>
                    <a:pt x="534" y="498"/>
                  </a:lnTo>
                  <a:lnTo>
                    <a:pt x="527" y="498"/>
                  </a:lnTo>
                  <a:lnTo>
                    <a:pt x="525" y="498"/>
                  </a:lnTo>
                  <a:lnTo>
                    <a:pt x="521" y="496"/>
                  </a:lnTo>
                  <a:lnTo>
                    <a:pt x="517" y="496"/>
                  </a:lnTo>
                  <a:lnTo>
                    <a:pt x="514" y="496"/>
                  </a:lnTo>
                  <a:lnTo>
                    <a:pt x="512" y="493"/>
                  </a:lnTo>
                  <a:lnTo>
                    <a:pt x="510" y="493"/>
                  </a:lnTo>
                  <a:lnTo>
                    <a:pt x="507" y="492"/>
                  </a:lnTo>
                  <a:lnTo>
                    <a:pt x="501" y="491"/>
                  </a:lnTo>
                  <a:lnTo>
                    <a:pt x="500" y="488"/>
                  </a:lnTo>
                  <a:lnTo>
                    <a:pt x="499" y="485"/>
                  </a:lnTo>
                  <a:lnTo>
                    <a:pt x="495" y="483"/>
                  </a:lnTo>
                  <a:lnTo>
                    <a:pt x="493" y="481"/>
                  </a:lnTo>
                  <a:lnTo>
                    <a:pt x="487" y="478"/>
                  </a:lnTo>
                  <a:lnTo>
                    <a:pt x="485" y="478"/>
                  </a:lnTo>
                  <a:lnTo>
                    <a:pt x="483" y="481"/>
                  </a:lnTo>
                  <a:lnTo>
                    <a:pt x="478" y="477"/>
                  </a:lnTo>
                  <a:lnTo>
                    <a:pt x="475" y="477"/>
                  </a:lnTo>
                  <a:lnTo>
                    <a:pt x="472" y="475"/>
                  </a:lnTo>
                  <a:lnTo>
                    <a:pt x="468" y="477"/>
                  </a:lnTo>
                  <a:lnTo>
                    <a:pt x="462" y="479"/>
                  </a:lnTo>
                  <a:lnTo>
                    <a:pt x="456" y="478"/>
                  </a:lnTo>
                  <a:lnTo>
                    <a:pt x="453" y="477"/>
                  </a:lnTo>
                  <a:lnTo>
                    <a:pt x="446" y="482"/>
                  </a:lnTo>
                  <a:lnTo>
                    <a:pt x="443" y="480"/>
                  </a:lnTo>
                  <a:lnTo>
                    <a:pt x="441" y="481"/>
                  </a:lnTo>
                  <a:lnTo>
                    <a:pt x="440" y="484"/>
                  </a:lnTo>
                  <a:lnTo>
                    <a:pt x="442" y="487"/>
                  </a:lnTo>
                  <a:lnTo>
                    <a:pt x="438" y="489"/>
                  </a:lnTo>
                  <a:lnTo>
                    <a:pt x="436" y="492"/>
                  </a:lnTo>
                  <a:lnTo>
                    <a:pt x="434" y="494"/>
                  </a:lnTo>
                  <a:lnTo>
                    <a:pt x="430" y="493"/>
                  </a:lnTo>
                  <a:lnTo>
                    <a:pt x="427" y="492"/>
                  </a:lnTo>
                  <a:lnTo>
                    <a:pt x="425" y="492"/>
                  </a:lnTo>
                  <a:lnTo>
                    <a:pt x="417" y="486"/>
                  </a:lnTo>
                  <a:lnTo>
                    <a:pt x="413" y="487"/>
                  </a:lnTo>
                  <a:lnTo>
                    <a:pt x="409" y="490"/>
                  </a:lnTo>
                  <a:lnTo>
                    <a:pt x="402" y="490"/>
                  </a:lnTo>
                  <a:lnTo>
                    <a:pt x="399" y="491"/>
                  </a:lnTo>
                  <a:lnTo>
                    <a:pt x="395" y="492"/>
                  </a:lnTo>
                  <a:lnTo>
                    <a:pt x="394" y="495"/>
                  </a:lnTo>
                  <a:lnTo>
                    <a:pt x="389" y="497"/>
                  </a:lnTo>
                  <a:lnTo>
                    <a:pt x="386" y="499"/>
                  </a:lnTo>
                  <a:lnTo>
                    <a:pt x="384" y="506"/>
                  </a:lnTo>
                  <a:lnTo>
                    <a:pt x="383" y="511"/>
                  </a:lnTo>
                  <a:lnTo>
                    <a:pt x="380" y="512"/>
                  </a:lnTo>
                  <a:lnTo>
                    <a:pt x="375" y="508"/>
                  </a:lnTo>
                  <a:lnTo>
                    <a:pt x="372" y="510"/>
                  </a:lnTo>
                  <a:lnTo>
                    <a:pt x="369" y="513"/>
                  </a:lnTo>
                  <a:lnTo>
                    <a:pt x="366" y="513"/>
                  </a:lnTo>
                  <a:lnTo>
                    <a:pt x="364" y="512"/>
                  </a:lnTo>
                  <a:lnTo>
                    <a:pt x="366" y="506"/>
                  </a:lnTo>
                  <a:lnTo>
                    <a:pt x="365" y="504"/>
                  </a:lnTo>
                  <a:lnTo>
                    <a:pt x="364" y="498"/>
                  </a:lnTo>
                  <a:lnTo>
                    <a:pt x="363" y="494"/>
                  </a:lnTo>
                  <a:lnTo>
                    <a:pt x="360" y="495"/>
                  </a:lnTo>
                  <a:lnTo>
                    <a:pt x="358" y="495"/>
                  </a:lnTo>
                  <a:lnTo>
                    <a:pt x="354" y="495"/>
                  </a:lnTo>
                  <a:lnTo>
                    <a:pt x="354" y="492"/>
                  </a:lnTo>
                  <a:lnTo>
                    <a:pt x="348" y="490"/>
                  </a:lnTo>
                  <a:lnTo>
                    <a:pt x="347" y="487"/>
                  </a:lnTo>
                  <a:lnTo>
                    <a:pt x="345" y="483"/>
                  </a:lnTo>
                  <a:lnTo>
                    <a:pt x="342" y="480"/>
                  </a:lnTo>
                  <a:lnTo>
                    <a:pt x="340" y="478"/>
                  </a:lnTo>
                  <a:lnTo>
                    <a:pt x="333" y="486"/>
                  </a:lnTo>
                  <a:lnTo>
                    <a:pt x="330" y="487"/>
                  </a:lnTo>
                  <a:lnTo>
                    <a:pt x="329" y="488"/>
                  </a:lnTo>
                  <a:lnTo>
                    <a:pt x="327" y="496"/>
                  </a:lnTo>
                  <a:lnTo>
                    <a:pt x="325" y="499"/>
                  </a:lnTo>
                  <a:lnTo>
                    <a:pt x="322" y="499"/>
                  </a:lnTo>
                  <a:lnTo>
                    <a:pt x="319" y="499"/>
                  </a:lnTo>
                  <a:lnTo>
                    <a:pt x="314" y="501"/>
                  </a:lnTo>
                  <a:lnTo>
                    <a:pt x="313" y="497"/>
                  </a:lnTo>
                  <a:lnTo>
                    <a:pt x="313" y="494"/>
                  </a:lnTo>
                  <a:lnTo>
                    <a:pt x="311" y="491"/>
                  </a:lnTo>
                  <a:lnTo>
                    <a:pt x="305" y="491"/>
                  </a:lnTo>
                  <a:lnTo>
                    <a:pt x="305" y="487"/>
                  </a:lnTo>
                  <a:lnTo>
                    <a:pt x="303" y="484"/>
                  </a:lnTo>
                  <a:lnTo>
                    <a:pt x="302" y="480"/>
                  </a:lnTo>
                  <a:lnTo>
                    <a:pt x="301" y="477"/>
                  </a:lnTo>
                  <a:lnTo>
                    <a:pt x="297" y="475"/>
                  </a:lnTo>
                  <a:lnTo>
                    <a:pt x="293" y="475"/>
                  </a:lnTo>
                  <a:lnTo>
                    <a:pt x="290" y="474"/>
                  </a:lnTo>
                  <a:lnTo>
                    <a:pt x="289" y="471"/>
                  </a:lnTo>
                  <a:lnTo>
                    <a:pt x="286" y="466"/>
                  </a:lnTo>
                  <a:lnTo>
                    <a:pt x="287" y="461"/>
                  </a:lnTo>
                  <a:lnTo>
                    <a:pt x="285" y="458"/>
                  </a:lnTo>
                  <a:lnTo>
                    <a:pt x="283" y="456"/>
                  </a:lnTo>
                  <a:lnTo>
                    <a:pt x="274" y="456"/>
                  </a:lnTo>
                  <a:lnTo>
                    <a:pt x="272" y="456"/>
                  </a:lnTo>
                  <a:lnTo>
                    <a:pt x="270" y="456"/>
                  </a:lnTo>
                  <a:lnTo>
                    <a:pt x="268" y="458"/>
                  </a:lnTo>
                  <a:lnTo>
                    <a:pt x="265" y="454"/>
                  </a:lnTo>
                  <a:lnTo>
                    <a:pt x="262" y="453"/>
                  </a:lnTo>
                  <a:lnTo>
                    <a:pt x="259" y="451"/>
                  </a:lnTo>
                  <a:lnTo>
                    <a:pt x="255" y="451"/>
                  </a:lnTo>
                  <a:lnTo>
                    <a:pt x="255" y="449"/>
                  </a:lnTo>
                  <a:lnTo>
                    <a:pt x="251" y="447"/>
                  </a:lnTo>
                  <a:lnTo>
                    <a:pt x="250" y="451"/>
                  </a:lnTo>
                  <a:lnTo>
                    <a:pt x="247" y="451"/>
                  </a:lnTo>
                  <a:lnTo>
                    <a:pt x="242" y="454"/>
                  </a:lnTo>
                  <a:lnTo>
                    <a:pt x="240" y="454"/>
                  </a:lnTo>
                  <a:lnTo>
                    <a:pt x="236" y="451"/>
                  </a:lnTo>
                  <a:lnTo>
                    <a:pt x="232" y="444"/>
                  </a:lnTo>
                  <a:lnTo>
                    <a:pt x="229" y="443"/>
                  </a:lnTo>
                  <a:lnTo>
                    <a:pt x="227" y="443"/>
                  </a:lnTo>
                  <a:lnTo>
                    <a:pt x="224" y="438"/>
                  </a:lnTo>
                  <a:lnTo>
                    <a:pt x="229" y="437"/>
                  </a:lnTo>
                  <a:lnTo>
                    <a:pt x="231" y="435"/>
                  </a:lnTo>
                  <a:lnTo>
                    <a:pt x="231" y="431"/>
                  </a:lnTo>
                  <a:lnTo>
                    <a:pt x="231" y="426"/>
                  </a:lnTo>
                  <a:lnTo>
                    <a:pt x="228" y="425"/>
                  </a:lnTo>
                  <a:lnTo>
                    <a:pt x="226" y="428"/>
                  </a:lnTo>
                  <a:lnTo>
                    <a:pt x="224" y="430"/>
                  </a:lnTo>
                  <a:lnTo>
                    <a:pt x="219" y="429"/>
                  </a:lnTo>
                  <a:lnTo>
                    <a:pt x="216" y="430"/>
                  </a:lnTo>
                  <a:lnTo>
                    <a:pt x="212" y="430"/>
                  </a:lnTo>
                  <a:lnTo>
                    <a:pt x="209" y="432"/>
                  </a:lnTo>
                  <a:lnTo>
                    <a:pt x="208" y="429"/>
                  </a:lnTo>
                  <a:lnTo>
                    <a:pt x="205" y="426"/>
                  </a:lnTo>
                  <a:lnTo>
                    <a:pt x="203" y="426"/>
                  </a:lnTo>
                  <a:lnTo>
                    <a:pt x="199" y="425"/>
                  </a:lnTo>
                  <a:lnTo>
                    <a:pt x="197" y="422"/>
                  </a:lnTo>
                  <a:lnTo>
                    <a:pt x="195" y="421"/>
                  </a:lnTo>
                  <a:lnTo>
                    <a:pt x="192" y="420"/>
                  </a:lnTo>
                  <a:lnTo>
                    <a:pt x="185" y="419"/>
                  </a:lnTo>
                  <a:lnTo>
                    <a:pt x="181" y="418"/>
                  </a:lnTo>
                  <a:lnTo>
                    <a:pt x="178" y="419"/>
                  </a:lnTo>
                  <a:lnTo>
                    <a:pt x="180" y="423"/>
                  </a:lnTo>
                  <a:lnTo>
                    <a:pt x="182" y="426"/>
                  </a:lnTo>
                  <a:lnTo>
                    <a:pt x="184" y="429"/>
                  </a:lnTo>
                  <a:lnTo>
                    <a:pt x="186" y="431"/>
                  </a:lnTo>
                  <a:lnTo>
                    <a:pt x="187" y="435"/>
                  </a:lnTo>
                  <a:lnTo>
                    <a:pt x="187" y="437"/>
                  </a:lnTo>
                  <a:lnTo>
                    <a:pt x="185" y="437"/>
                  </a:lnTo>
                  <a:lnTo>
                    <a:pt x="183" y="437"/>
                  </a:lnTo>
                  <a:lnTo>
                    <a:pt x="181" y="440"/>
                  </a:lnTo>
                  <a:lnTo>
                    <a:pt x="178" y="440"/>
                  </a:lnTo>
                  <a:lnTo>
                    <a:pt x="176" y="442"/>
                  </a:lnTo>
                  <a:lnTo>
                    <a:pt x="175" y="445"/>
                  </a:lnTo>
                  <a:lnTo>
                    <a:pt x="171" y="450"/>
                  </a:lnTo>
                  <a:lnTo>
                    <a:pt x="169" y="450"/>
                  </a:lnTo>
                  <a:lnTo>
                    <a:pt x="166" y="449"/>
                  </a:lnTo>
                  <a:lnTo>
                    <a:pt x="162" y="445"/>
                  </a:lnTo>
                  <a:lnTo>
                    <a:pt x="160" y="440"/>
                  </a:lnTo>
                  <a:lnTo>
                    <a:pt x="157" y="436"/>
                  </a:lnTo>
                  <a:lnTo>
                    <a:pt x="155" y="434"/>
                  </a:lnTo>
                  <a:lnTo>
                    <a:pt x="153" y="432"/>
                  </a:lnTo>
                  <a:lnTo>
                    <a:pt x="150" y="431"/>
                  </a:lnTo>
                  <a:lnTo>
                    <a:pt x="148" y="428"/>
                  </a:lnTo>
                  <a:lnTo>
                    <a:pt x="145" y="426"/>
                  </a:lnTo>
                  <a:lnTo>
                    <a:pt x="142" y="427"/>
                  </a:lnTo>
                  <a:lnTo>
                    <a:pt x="141" y="424"/>
                  </a:lnTo>
                  <a:lnTo>
                    <a:pt x="138" y="422"/>
                  </a:lnTo>
                  <a:lnTo>
                    <a:pt x="140" y="419"/>
                  </a:lnTo>
                  <a:lnTo>
                    <a:pt x="145" y="415"/>
                  </a:lnTo>
                  <a:lnTo>
                    <a:pt x="147" y="415"/>
                  </a:lnTo>
                  <a:lnTo>
                    <a:pt x="149" y="412"/>
                  </a:lnTo>
                  <a:lnTo>
                    <a:pt x="150" y="409"/>
                  </a:lnTo>
                  <a:lnTo>
                    <a:pt x="150" y="406"/>
                  </a:lnTo>
                  <a:lnTo>
                    <a:pt x="145" y="401"/>
                  </a:lnTo>
                  <a:lnTo>
                    <a:pt x="141" y="400"/>
                  </a:lnTo>
                  <a:lnTo>
                    <a:pt x="137" y="404"/>
                  </a:lnTo>
                  <a:lnTo>
                    <a:pt x="132" y="402"/>
                  </a:lnTo>
                  <a:lnTo>
                    <a:pt x="130" y="402"/>
                  </a:lnTo>
                  <a:lnTo>
                    <a:pt x="126" y="406"/>
                  </a:lnTo>
                  <a:lnTo>
                    <a:pt x="124" y="407"/>
                  </a:lnTo>
                  <a:lnTo>
                    <a:pt x="124" y="401"/>
                  </a:lnTo>
                  <a:lnTo>
                    <a:pt x="121" y="399"/>
                  </a:lnTo>
                  <a:lnTo>
                    <a:pt x="116" y="401"/>
                  </a:lnTo>
                  <a:lnTo>
                    <a:pt x="110" y="395"/>
                  </a:lnTo>
                  <a:lnTo>
                    <a:pt x="106" y="396"/>
                  </a:lnTo>
                  <a:lnTo>
                    <a:pt x="103" y="394"/>
                  </a:lnTo>
                  <a:lnTo>
                    <a:pt x="91" y="391"/>
                  </a:lnTo>
                  <a:lnTo>
                    <a:pt x="89" y="392"/>
                  </a:lnTo>
                  <a:lnTo>
                    <a:pt x="86" y="394"/>
                  </a:lnTo>
                  <a:lnTo>
                    <a:pt x="86" y="390"/>
                  </a:lnTo>
                  <a:lnTo>
                    <a:pt x="83" y="388"/>
                  </a:lnTo>
                  <a:lnTo>
                    <a:pt x="80" y="383"/>
                  </a:lnTo>
                  <a:lnTo>
                    <a:pt x="79" y="381"/>
                  </a:lnTo>
                  <a:lnTo>
                    <a:pt x="80" y="377"/>
                  </a:lnTo>
                  <a:lnTo>
                    <a:pt x="77" y="375"/>
                  </a:lnTo>
                  <a:lnTo>
                    <a:pt x="74" y="375"/>
                  </a:lnTo>
                  <a:lnTo>
                    <a:pt x="72" y="372"/>
                  </a:lnTo>
                  <a:lnTo>
                    <a:pt x="71" y="375"/>
                  </a:lnTo>
                  <a:lnTo>
                    <a:pt x="68" y="373"/>
                  </a:lnTo>
                  <a:lnTo>
                    <a:pt x="64" y="373"/>
                  </a:lnTo>
                  <a:lnTo>
                    <a:pt x="61" y="374"/>
                  </a:lnTo>
                  <a:lnTo>
                    <a:pt x="64" y="377"/>
                  </a:lnTo>
                  <a:lnTo>
                    <a:pt x="64" y="383"/>
                  </a:lnTo>
                  <a:lnTo>
                    <a:pt x="64" y="388"/>
                  </a:lnTo>
                  <a:lnTo>
                    <a:pt x="53" y="388"/>
                  </a:lnTo>
                  <a:lnTo>
                    <a:pt x="54" y="384"/>
                  </a:lnTo>
                  <a:lnTo>
                    <a:pt x="58" y="375"/>
                  </a:lnTo>
                  <a:lnTo>
                    <a:pt x="60" y="367"/>
                  </a:lnTo>
                  <a:lnTo>
                    <a:pt x="60" y="364"/>
                  </a:lnTo>
                  <a:lnTo>
                    <a:pt x="61" y="361"/>
                  </a:lnTo>
                  <a:lnTo>
                    <a:pt x="61" y="356"/>
                  </a:lnTo>
                  <a:lnTo>
                    <a:pt x="63" y="351"/>
                  </a:lnTo>
                  <a:lnTo>
                    <a:pt x="63" y="349"/>
                  </a:lnTo>
                  <a:lnTo>
                    <a:pt x="60" y="345"/>
                  </a:lnTo>
                  <a:lnTo>
                    <a:pt x="58" y="341"/>
                  </a:lnTo>
                  <a:lnTo>
                    <a:pt x="57" y="335"/>
                  </a:lnTo>
                  <a:lnTo>
                    <a:pt x="56" y="332"/>
                  </a:lnTo>
                  <a:lnTo>
                    <a:pt x="54" y="330"/>
                  </a:lnTo>
                  <a:lnTo>
                    <a:pt x="51" y="330"/>
                  </a:lnTo>
                  <a:lnTo>
                    <a:pt x="48" y="328"/>
                  </a:lnTo>
                  <a:lnTo>
                    <a:pt x="44" y="327"/>
                  </a:lnTo>
                  <a:lnTo>
                    <a:pt x="43" y="324"/>
                  </a:lnTo>
                  <a:lnTo>
                    <a:pt x="44" y="321"/>
                  </a:lnTo>
                  <a:lnTo>
                    <a:pt x="44" y="316"/>
                  </a:lnTo>
                  <a:lnTo>
                    <a:pt x="43" y="312"/>
                  </a:lnTo>
                  <a:lnTo>
                    <a:pt x="39" y="308"/>
                  </a:lnTo>
                  <a:lnTo>
                    <a:pt x="37" y="303"/>
                  </a:lnTo>
                  <a:lnTo>
                    <a:pt x="34" y="300"/>
                  </a:lnTo>
                  <a:lnTo>
                    <a:pt x="35" y="297"/>
                  </a:lnTo>
                  <a:lnTo>
                    <a:pt x="39" y="292"/>
                  </a:lnTo>
                  <a:lnTo>
                    <a:pt x="40" y="288"/>
                  </a:lnTo>
                  <a:lnTo>
                    <a:pt x="40" y="282"/>
                  </a:lnTo>
                  <a:lnTo>
                    <a:pt x="41" y="278"/>
                  </a:lnTo>
                  <a:lnTo>
                    <a:pt x="43" y="275"/>
                  </a:lnTo>
                  <a:lnTo>
                    <a:pt x="38" y="271"/>
                  </a:lnTo>
                  <a:lnTo>
                    <a:pt x="39" y="267"/>
                  </a:lnTo>
                  <a:lnTo>
                    <a:pt x="39" y="265"/>
                  </a:lnTo>
                  <a:lnTo>
                    <a:pt x="39" y="260"/>
                  </a:lnTo>
                  <a:lnTo>
                    <a:pt x="36" y="258"/>
                  </a:lnTo>
                  <a:lnTo>
                    <a:pt x="33" y="257"/>
                  </a:lnTo>
                  <a:lnTo>
                    <a:pt x="32" y="254"/>
                  </a:lnTo>
                  <a:lnTo>
                    <a:pt x="30" y="251"/>
                  </a:lnTo>
                  <a:lnTo>
                    <a:pt x="29" y="246"/>
                  </a:lnTo>
                  <a:lnTo>
                    <a:pt x="28" y="243"/>
                  </a:lnTo>
                  <a:lnTo>
                    <a:pt x="32" y="238"/>
                  </a:lnTo>
                  <a:lnTo>
                    <a:pt x="33" y="235"/>
                  </a:lnTo>
                  <a:lnTo>
                    <a:pt x="32" y="232"/>
                  </a:lnTo>
                  <a:lnTo>
                    <a:pt x="31" y="227"/>
                  </a:lnTo>
                  <a:lnTo>
                    <a:pt x="28" y="223"/>
                  </a:lnTo>
                  <a:lnTo>
                    <a:pt x="24" y="222"/>
                  </a:lnTo>
                  <a:lnTo>
                    <a:pt x="21" y="219"/>
                  </a:lnTo>
                  <a:lnTo>
                    <a:pt x="19" y="215"/>
                  </a:lnTo>
                  <a:lnTo>
                    <a:pt x="11" y="210"/>
                  </a:lnTo>
                  <a:lnTo>
                    <a:pt x="8" y="207"/>
                  </a:lnTo>
                  <a:lnTo>
                    <a:pt x="6" y="207"/>
                  </a:lnTo>
                  <a:lnTo>
                    <a:pt x="3" y="206"/>
                  </a:lnTo>
                  <a:lnTo>
                    <a:pt x="5" y="202"/>
                  </a:lnTo>
                  <a:lnTo>
                    <a:pt x="4" y="199"/>
                  </a:lnTo>
                  <a:lnTo>
                    <a:pt x="3" y="195"/>
                  </a:lnTo>
                  <a:lnTo>
                    <a:pt x="6" y="193"/>
                  </a:lnTo>
                  <a:lnTo>
                    <a:pt x="9" y="191"/>
                  </a:lnTo>
                  <a:lnTo>
                    <a:pt x="12" y="188"/>
                  </a:lnTo>
                  <a:lnTo>
                    <a:pt x="14" y="183"/>
                  </a:lnTo>
                  <a:lnTo>
                    <a:pt x="16" y="177"/>
                  </a:lnTo>
                  <a:lnTo>
                    <a:pt x="15" y="174"/>
                  </a:lnTo>
                  <a:lnTo>
                    <a:pt x="15" y="172"/>
                  </a:lnTo>
                  <a:lnTo>
                    <a:pt x="17" y="169"/>
                  </a:lnTo>
                  <a:lnTo>
                    <a:pt x="18" y="166"/>
                  </a:lnTo>
                  <a:lnTo>
                    <a:pt x="16" y="164"/>
                  </a:lnTo>
                  <a:lnTo>
                    <a:pt x="15" y="160"/>
                  </a:lnTo>
                  <a:lnTo>
                    <a:pt x="13" y="153"/>
                  </a:lnTo>
                  <a:lnTo>
                    <a:pt x="11" y="145"/>
                  </a:lnTo>
                  <a:lnTo>
                    <a:pt x="9" y="141"/>
                  </a:lnTo>
                  <a:lnTo>
                    <a:pt x="8" y="135"/>
                  </a:lnTo>
                  <a:lnTo>
                    <a:pt x="7" y="131"/>
                  </a:lnTo>
                  <a:lnTo>
                    <a:pt x="6" y="128"/>
                  </a:lnTo>
                  <a:lnTo>
                    <a:pt x="6" y="125"/>
                  </a:lnTo>
                  <a:lnTo>
                    <a:pt x="8" y="122"/>
                  </a:lnTo>
                  <a:lnTo>
                    <a:pt x="10" y="124"/>
                  </a:lnTo>
                  <a:lnTo>
                    <a:pt x="12" y="125"/>
                  </a:lnTo>
                  <a:lnTo>
                    <a:pt x="17" y="127"/>
                  </a:lnTo>
                  <a:lnTo>
                    <a:pt x="20" y="128"/>
                  </a:lnTo>
                  <a:lnTo>
                    <a:pt x="24" y="133"/>
                  </a:lnTo>
                  <a:lnTo>
                    <a:pt x="26" y="130"/>
                  </a:lnTo>
                  <a:lnTo>
                    <a:pt x="21" y="124"/>
                  </a:lnTo>
                  <a:lnTo>
                    <a:pt x="22" y="118"/>
                  </a:lnTo>
                  <a:lnTo>
                    <a:pt x="25" y="118"/>
                  </a:lnTo>
                  <a:lnTo>
                    <a:pt x="25" y="114"/>
                  </a:lnTo>
                  <a:lnTo>
                    <a:pt x="25" y="109"/>
                  </a:lnTo>
                  <a:lnTo>
                    <a:pt x="23" y="112"/>
                  </a:lnTo>
                  <a:lnTo>
                    <a:pt x="22" y="109"/>
                  </a:lnTo>
                  <a:lnTo>
                    <a:pt x="15" y="108"/>
                  </a:lnTo>
                  <a:lnTo>
                    <a:pt x="14" y="105"/>
                  </a:lnTo>
                  <a:lnTo>
                    <a:pt x="12" y="106"/>
                  </a:lnTo>
                  <a:lnTo>
                    <a:pt x="13" y="109"/>
                  </a:lnTo>
                  <a:lnTo>
                    <a:pt x="10" y="111"/>
                  </a:lnTo>
                  <a:lnTo>
                    <a:pt x="6" y="112"/>
                  </a:lnTo>
                  <a:lnTo>
                    <a:pt x="3" y="109"/>
                  </a:lnTo>
                  <a:lnTo>
                    <a:pt x="0" y="106"/>
                  </a:lnTo>
                  <a:lnTo>
                    <a:pt x="2" y="103"/>
                  </a:lnTo>
                  <a:lnTo>
                    <a:pt x="5" y="104"/>
                  </a:lnTo>
                  <a:lnTo>
                    <a:pt x="10" y="104"/>
                  </a:lnTo>
                  <a:lnTo>
                    <a:pt x="14" y="102"/>
                  </a:lnTo>
                  <a:lnTo>
                    <a:pt x="18" y="99"/>
                  </a:lnTo>
                  <a:lnTo>
                    <a:pt x="32" y="92"/>
                  </a:lnTo>
                  <a:lnTo>
                    <a:pt x="44" y="88"/>
                  </a:lnTo>
                  <a:lnTo>
                    <a:pt x="59" y="80"/>
                  </a:lnTo>
                  <a:lnTo>
                    <a:pt x="69" y="77"/>
                  </a:lnTo>
                  <a:lnTo>
                    <a:pt x="80" y="73"/>
                  </a:lnTo>
                  <a:lnTo>
                    <a:pt x="90" y="68"/>
                  </a:lnTo>
                  <a:lnTo>
                    <a:pt x="98" y="66"/>
                  </a:lnTo>
                  <a:lnTo>
                    <a:pt x="101" y="66"/>
                  </a:lnTo>
                  <a:lnTo>
                    <a:pt x="107" y="65"/>
                  </a:lnTo>
                  <a:lnTo>
                    <a:pt x="104" y="63"/>
                  </a:lnTo>
                  <a:lnTo>
                    <a:pt x="108" y="60"/>
                  </a:lnTo>
                  <a:lnTo>
                    <a:pt x="109" y="59"/>
                  </a:lnTo>
                  <a:lnTo>
                    <a:pt x="112" y="58"/>
                  </a:lnTo>
                  <a:lnTo>
                    <a:pt x="114" y="56"/>
                  </a:lnTo>
                  <a:lnTo>
                    <a:pt x="112" y="55"/>
                  </a:lnTo>
                  <a:lnTo>
                    <a:pt x="113" y="52"/>
                  </a:lnTo>
                  <a:lnTo>
                    <a:pt x="119" y="42"/>
                  </a:lnTo>
                  <a:lnTo>
                    <a:pt x="122" y="38"/>
                  </a:lnTo>
                  <a:lnTo>
                    <a:pt x="125" y="35"/>
                  </a:lnTo>
                  <a:lnTo>
                    <a:pt x="137" y="33"/>
                  </a:lnTo>
                  <a:lnTo>
                    <a:pt x="141" y="30"/>
                  </a:lnTo>
                  <a:lnTo>
                    <a:pt x="144" y="30"/>
                  </a:lnTo>
                  <a:lnTo>
                    <a:pt x="150" y="23"/>
                  </a:lnTo>
                  <a:lnTo>
                    <a:pt x="165" y="14"/>
                  </a:lnTo>
                  <a:lnTo>
                    <a:pt x="185" y="8"/>
                  </a:lnTo>
                  <a:lnTo>
                    <a:pt x="194" y="4"/>
                  </a:lnTo>
                  <a:lnTo>
                    <a:pt x="208" y="1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6" name="PT">
              <a:extLst>
                <a:ext uri="{FF2B5EF4-FFF2-40B4-BE49-F238E27FC236}">
                  <a16:creationId xmlns:a16="http://schemas.microsoft.com/office/drawing/2014/main" id="{D06CA56A-F7C8-35B1-EB18-7F65D223BB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94" y="5548683"/>
              <a:ext cx="535261" cy="846507"/>
            </a:xfrm>
            <a:custGeom>
              <a:avLst/>
              <a:gdLst>
                <a:gd name="T0" fmla="*/ 164 w 283"/>
                <a:gd name="T1" fmla="*/ 9 h 474"/>
                <a:gd name="T2" fmla="*/ 155 w 283"/>
                <a:gd name="T3" fmla="*/ 32 h 474"/>
                <a:gd name="T4" fmla="*/ 174 w 283"/>
                <a:gd name="T5" fmla="*/ 32 h 474"/>
                <a:gd name="T6" fmla="*/ 195 w 283"/>
                <a:gd name="T7" fmla="*/ 35 h 474"/>
                <a:gd name="T8" fmla="*/ 208 w 283"/>
                <a:gd name="T9" fmla="*/ 42 h 474"/>
                <a:gd name="T10" fmla="*/ 230 w 283"/>
                <a:gd name="T11" fmla="*/ 34 h 474"/>
                <a:gd name="T12" fmla="*/ 253 w 283"/>
                <a:gd name="T13" fmla="*/ 43 h 474"/>
                <a:gd name="T14" fmla="*/ 264 w 283"/>
                <a:gd name="T15" fmla="*/ 61 h 474"/>
                <a:gd name="T16" fmla="*/ 275 w 283"/>
                <a:gd name="T17" fmla="*/ 73 h 474"/>
                <a:gd name="T18" fmla="*/ 274 w 283"/>
                <a:gd name="T19" fmla="*/ 97 h 474"/>
                <a:gd name="T20" fmla="*/ 249 w 283"/>
                <a:gd name="T21" fmla="*/ 106 h 474"/>
                <a:gd name="T22" fmla="*/ 227 w 283"/>
                <a:gd name="T23" fmla="*/ 121 h 474"/>
                <a:gd name="T24" fmla="*/ 227 w 283"/>
                <a:gd name="T25" fmla="*/ 143 h 474"/>
                <a:gd name="T26" fmla="*/ 222 w 283"/>
                <a:gd name="T27" fmla="*/ 164 h 474"/>
                <a:gd name="T28" fmla="*/ 219 w 283"/>
                <a:gd name="T29" fmla="*/ 184 h 474"/>
                <a:gd name="T30" fmla="*/ 205 w 283"/>
                <a:gd name="T31" fmla="*/ 194 h 474"/>
                <a:gd name="T32" fmla="*/ 207 w 283"/>
                <a:gd name="T33" fmla="*/ 220 h 474"/>
                <a:gd name="T34" fmla="*/ 197 w 283"/>
                <a:gd name="T35" fmla="*/ 236 h 474"/>
                <a:gd name="T36" fmla="*/ 170 w 283"/>
                <a:gd name="T37" fmla="*/ 240 h 474"/>
                <a:gd name="T38" fmla="*/ 164 w 283"/>
                <a:gd name="T39" fmla="*/ 257 h 474"/>
                <a:gd name="T40" fmla="*/ 168 w 283"/>
                <a:gd name="T41" fmla="*/ 277 h 474"/>
                <a:gd name="T42" fmla="*/ 174 w 283"/>
                <a:gd name="T43" fmla="*/ 296 h 474"/>
                <a:gd name="T44" fmla="*/ 178 w 283"/>
                <a:gd name="T45" fmla="*/ 312 h 474"/>
                <a:gd name="T46" fmla="*/ 157 w 283"/>
                <a:gd name="T47" fmla="*/ 326 h 474"/>
                <a:gd name="T48" fmla="*/ 148 w 283"/>
                <a:gd name="T49" fmla="*/ 349 h 474"/>
                <a:gd name="T50" fmla="*/ 163 w 283"/>
                <a:gd name="T51" fmla="*/ 380 h 474"/>
                <a:gd name="T52" fmla="*/ 163 w 283"/>
                <a:gd name="T53" fmla="*/ 392 h 474"/>
                <a:gd name="T54" fmla="*/ 143 w 283"/>
                <a:gd name="T55" fmla="*/ 395 h 474"/>
                <a:gd name="T56" fmla="*/ 125 w 283"/>
                <a:gd name="T57" fmla="*/ 417 h 474"/>
                <a:gd name="T58" fmla="*/ 120 w 283"/>
                <a:gd name="T59" fmla="*/ 438 h 474"/>
                <a:gd name="T60" fmla="*/ 118 w 283"/>
                <a:gd name="T61" fmla="*/ 464 h 474"/>
                <a:gd name="T62" fmla="*/ 83 w 283"/>
                <a:gd name="T63" fmla="*/ 474 h 474"/>
                <a:gd name="T64" fmla="*/ 62 w 283"/>
                <a:gd name="T65" fmla="*/ 462 h 474"/>
                <a:gd name="T66" fmla="*/ 28 w 283"/>
                <a:gd name="T67" fmla="*/ 449 h 474"/>
                <a:gd name="T68" fmla="*/ 4 w 283"/>
                <a:gd name="T69" fmla="*/ 454 h 474"/>
                <a:gd name="T70" fmla="*/ 11 w 283"/>
                <a:gd name="T71" fmla="*/ 435 h 474"/>
                <a:gd name="T72" fmla="*/ 23 w 283"/>
                <a:gd name="T73" fmla="*/ 403 h 474"/>
                <a:gd name="T74" fmla="*/ 30 w 283"/>
                <a:gd name="T75" fmla="*/ 376 h 474"/>
                <a:gd name="T76" fmla="*/ 38 w 283"/>
                <a:gd name="T77" fmla="*/ 351 h 474"/>
                <a:gd name="T78" fmla="*/ 41 w 283"/>
                <a:gd name="T79" fmla="*/ 325 h 474"/>
                <a:gd name="T80" fmla="*/ 47 w 283"/>
                <a:gd name="T81" fmla="*/ 323 h 474"/>
                <a:gd name="T82" fmla="*/ 36 w 283"/>
                <a:gd name="T83" fmla="*/ 318 h 474"/>
                <a:gd name="T84" fmla="*/ 16 w 283"/>
                <a:gd name="T85" fmla="*/ 309 h 474"/>
                <a:gd name="T86" fmla="*/ 28 w 283"/>
                <a:gd name="T87" fmla="*/ 299 h 474"/>
                <a:gd name="T88" fmla="*/ 38 w 283"/>
                <a:gd name="T89" fmla="*/ 282 h 474"/>
                <a:gd name="T90" fmla="*/ 53 w 283"/>
                <a:gd name="T91" fmla="*/ 270 h 474"/>
                <a:gd name="T92" fmla="*/ 27 w 283"/>
                <a:gd name="T93" fmla="*/ 289 h 474"/>
                <a:gd name="T94" fmla="*/ 5 w 283"/>
                <a:gd name="T95" fmla="*/ 292 h 474"/>
                <a:gd name="T96" fmla="*/ 8 w 283"/>
                <a:gd name="T97" fmla="*/ 269 h 474"/>
                <a:gd name="T98" fmla="*/ 20 w 283"/>
                <a:gd name="T99" fmla="*/ 244 h 474"/>
                <a:gd name="T100" fmla="*/ 31 w 283"/>
                <a:gd name="T101" fmla="*/ 229 h 474"/>
                <a:gd name="T102" fmla="*/ 45 w 283"/>
                <a:gd name="T103" fmla="*/ 214 h 474"/>
                <a:gd name="T104" fmla="*/ 75 w 283"/>
                <a:gd name="T105" fmla="*/ 171 h 474"/>
                <a:gd name="T106" fmla="*/ 88 w 283"/>
                <a:gd name="T107" fmla="*/ 131 h 474"/>
                <a:gd name="T108" fmla="*/ 106 w 283"/>
                <a:gd name="T109" fmla="*/ 121 h 474"/>
                <a:gd name="T110" fmla="*/ 96 w 283"/>
                <a:gd name="T111" fmla="*/ 119 h 474"/>
                <a:gd name="T112" fmla="*/ 107 w 283"/>
                <a:gd name="T113" fmla="*/ 85 h 474"/>
                <a:gd name="T114" fmla="*/ 105 w 283"/>
                <a:gd name="T115" fmla="*/ 62 h 474"/>
                <a:gd name="T116" fmla="*/ 106 w 283"/>
                <a:gd name="T117" fmla="*/ 35 h 474"/>
                <a:gd name="T118" fmla="*/ 105 w 283"/>
                <a:gd name="T119" fmla="*/ 26 h 474"/>
                <a:gd name="T120" fmla="*/ 124 w 283"/>
                <a:gd name="T121" fmla="*/ 6 h 474"/>
                <a:gd name="T122" fmla="*/ 153 w 283"/>
                <a:gd name="T123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3" h="474">
                  <a:moveTo>
                    <a:pt x="156" y="0"/>
                  </a:moveTo>
                  <a:lnTo>
                    <a:pt x="159" y="0"/>
                  </a:lnTo>
                  <a:lnTo>
                    <a:pt x="158" y="6"/>
                  </a:lnTo>
                  <a:lnTo>
                    <a:pt x="158" y="7"/>
                  </a:lnTo>
                  <a:lnTo>
                    <a:pt x="161" y="8"/>
                  </a:lnTo>
                  <a:lnTo>
                    <a:pt x="164" y="9"/>
                  </a:lnTo>
                  <a:lnTo>
                    <a:pt x="164" y="13"/>
                  </a:lnTo>
                  <a:lnTo>
                    <a:pt x="160" y="16"/>
                  </a:lnTo>
                  <a:lnTo>
                    <a:pt x="154" y="21"/>
                  </a:lnTo>
                  <a:lnTo>
                    <a:pt x="153" y="24"/>
                  </a:lnTo>
                  <a:lnTo>
                    <a:pt x="155" y="27"/>
                  </a:lnTo>
                  <a:lnTo>
                    <a:pt x="155" y="32"/>
                  </a:lnTo>
                  <a:lnTo>
                    <a:pt x="160" y="33"/>
                  </a:lnTo>
                  <a:lnTo>
                    <a:pt x="163" y="33"/>
                  </a:lnTo>
                  <a:lnTo>
                    <a:pt x="167" y="31"/>
                  </a:lnTo>
                  <a:lnTo>
                    <a:pt x="170" y="30"/>
                  </a:lnTo>
                  <a:lnTo>
                    <a:pt x="173" y="28"/>
                  </a:lnTo>
                  <a:lnTo>
                    <a:pt x="174" y="32"/>
                  </a:lnTo>
                  <a:lnTo>
                    <a:pt x="177" y="32"/>
                  </a:lnTo>
                  <a:lnTo>
                    <a:pt x="181" y="32"/>
                  </a:lnTo>
                  <a:lnTo>
                    <a:pt x="186" y="32"/>
                  </a:lnTo>
                  <a:lnTo>
                    <a:pt x="189" y="32"/>
                  </a:lnTo>
                  <a:lnTo>
                    <a:pt x="192" y="34"/>
                  </a:lnTo>
                  <a:lnTo>
                    <a:pt x="195" y="35"/>
                  </a:lnTo>
                  <a:lnTo>
                    <a:pt x="193" y="38"/>
                  </a:lnTo>
                  <a:lnTo>
                    <a:pt x="197" y="40"/>
                  </a:lnTo>
                  <a:lnTo>
                    <a:pt x="200" y="39"/>
                  </a:lnTo>
                  <a:lnTo>
                    <a:pt x="203" y="39"/>
                  </a:lnTo>
                  <a:lnTo>
                    <a:pt x="205" y="43"/>
                  </a:lnTo>
                  <a:lnTo>
                    <a:pt x="208" y="42"/>
                  </a:lnTo>
                  <a:lnTo>
                    <a:pt x="212" y="42"/>
                  </a:lnTo>
                  <a:lnTo>
                    <a:pt x="219" y="42"/>
                  </a:lnTo>
                  <a:lnTo>
                    <a:pt x="223" y="39"/>
                  </a:lnTo>
                  <a:lnTo>
                    <a:pt x="224" y="35"/>
                  </a:lnTo>
                  <a:lnTo>
                    <a:pt x="226" y="33"/>
                  </a:lnTo>
                  <a:lnTo>
                    <a:pt x="230" y="34"/>
                  </a:lnTo>
                  <a:lnTo>
                    <a:pt x="234" y="38"/>
                  </a:lnTo>
                  <a:lnTo>
                    <a:pt x="238" y="37"/>
                  </a:lnTo>
                  <a:lnTo>
                    <a:pt x="241" y="39"/>
                  </a:lnTo>
                  <a:lnTo>
                    <a:pt x="247" y="41"/>
                  </a:lnTo>
                  <a:lnTo>
                    <a:pt x="250" y="38"/>
                  </a:lnTo>
                  <a:lnTo>
                    <a:pt x="253" y="43"/>
                  </a:lnTo>
                  <a:lnTo>
                    <a:pt x="261" y="45"/>
                  </a:lnTo>
                  <a:lnTo>
                    <a:pt x="265" y="43"/>
                  </a:lnTo>
                  <a:lnTo>
                    <a:pt x="267" y="45"/>
                  </a:lnTo>
                  <a:lnTo>
                    <a:pt x="265" y="50"/>
                  </a:lnTo>
                  <a:lnTo>
                    <a:pt x="269" y="53"/>
                  </a:lnTo>
                  <a:lnTo>
                    <a:pt x="264" y="61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4" y="71"/>
                  </a:lnTo>
                  <a:lnTo>
                    <a:pt x="266" y="72"/>
                  </a:lnTo>
                  <a:lnTo>
                    <a:pt x="269" y="71"/>
                  </a:lnTo>
                  <a:lnTo>
                    <a:pt x="275" y="73"/>
                  </a:lnTo>
                  <a:lnTo>
                    <a:pt x="278" y="75"/>
                  </a:lnTo>
                  <a:lnTo>
                    <a:pt x="281" y="78"/>
                  </a:lnTo>
                  <a:lnTo>
                    <a:pt x="283" y="83"/>
                  </a:lnTo>
                  <a:lnTo>
                    <a:pt x="280" y="89"/>
                  </a:lnTo>
                  <a:lnTo>
                    <a:pt x="278" y="91"/>
                  </a:lnTo>
                  <a:lnTo>
                    <a:pt x="274" y="97"/>
                  </a:lnTo>
                  <a:lnTo>
                    <a:pt x="271" y="98"/>
                  </a:lnTo>
                  <a:lnTo>
                    <a:pt x="269" y="100"/>
                  </a:lnTo>
                  <a:lnTo>
                    <a:pt x="265" y="103"/>
                  </a:lnTo>
                  <a:lnTo>
                    <a:pt x="260" y="106"/>
                  </a:lnTo>
                  <a:lnTo>
                    <a:pt x="256" y="106"/>
                  </a:lnTo>
                  <a:lnTo>
                    <a:pt x="249" y="106"/>
                  </a:lnTo>
                  <a:lnTo>
                    <a:pt x="244" y="110"/>
                  </a:lnTo>
                  <a:lnTo>
                    <a:pt x="240" y="113"/>
                  </a:lnTo>
                  <a:lnTo>
                    <a:pt x="238" y="117"/>
                  </a:lnTo>
                  <a:lnTo>
                    <a:pt x="234" y="122"/>
                  </a:lnTo>
                  <a:lnTo>
                    <a:pt x="231" y="122"/>
                  </a:lnTo>
                  <a:lnTo>
                    <a:pt x="227" y="121"/>
                  </a:lnTo>
                  <a:lnTo>
                    <a:pt x="223" y="124"/>
                  </a:lnTo>
                  <a:lnTo>
                    <a:pt x="225" y="129"/>
                  </a:lnTo>
                  <a:lnTo>
                    <a:pt x="227" y="135"/>
                  </a:lnTo>
                  <a:lnTo>
                    <a:pt x="227" y="138"/>
                  </a:lnTo>
                  <a:lnTo>
                    <a:pt x="228" y="141"/>
                  </a:lnTo>
                  <a:lnTo>
                    <a:pt x="227" y="143"/>
                  </a:lnTo>
                  <a:lnTo>
                    <a:pt x="226" y="146"/>
                  </a:lnTo>
                  <a:lnTo>
                    <a:pt x="226" y="149"/>
                  </a:lnTo>
                  <a:lnTo>
                    <a:pt x="226" y="154"/>
                  </a:lnTo>
                  <a:lnTo>
                    <a:pt x="226" y="157"/>
                  </a:lnTo>
                  <a:lnTo>
                    <a:pt x="225" y="160"/>
                  </a:lnTo>
                  <a:lnTo>
                    <a:pt x="222" y="164"/>
                  </a:lnTo>
                  <a:lnTo>
                    <a:pt x="221" y="167"/>
                  </a:lnTo>
                  <a:lnTo>
                    <a:pt x="223" y="170"/>
                  </a:lnTo>
                  <a:lnTo>
                    <a:pt x="222" y="173"/>
                  </a:lnTo>
                  <a:lnTo>
                    <a:pt x="218" y="178"/>
                  </a:lnTo>
                  <a:lnTo>
                    <a:pt x="218" y="181"/>
                  </a:lnTo>
                  <a:lnTo>
                    <a:pt x="219" y="184"/>
                  </a:lnTo>
                  <a:lnTo>
                    <a:pt x="220" y="188"/>
                  </a:lnTo>
                  <a:lnTo>
                    <a:pt x="215" y="190"/>
                  </a:lnTo>
                  <a:lnTo>
                    <a:pt x="214" y="193"/>
                  </a:lnTo>
                  <a:lnTo>
                    <a:pt x="211" y="194"/>
                  </a:lnTo>
                  <a:lnTo>
                    <a:pt x="208" y="193"/>
                  </a:lnTo>
                  <a:lnTo>
                    <a:pt x="205" y="194"/>
                  </a:lnTo>
                  <a:lnTo>
                    <a:pt x="202" y="197"/>
                  </a:lnTo>
                  <a:lnTo>
                    <a:pt x="201" y="203"/>
                  </a:lnTo>
                  <a:lnTo>
                    <a:pt x="204" y="205"/>
                  </a:lnTo>
                  <a:lnTo>
                    <a:pt x="207" y="211"/>
                  </a:lnTo>
                  <a:lnTo>
                    <a:pt x="209" y="216"/>
                  </a:lnTo>
                  <a:lnTo>
                    <a:pt x="207" y="220"/>
                  </a:lnTo>
                  <a:lnTo>
                    <a:pt x="205" y="224"/>
                  </a:lnTo>
                  <a:lnTo>
                    <a:pt x="204" y="226"/>
                  </a:lnTo>
                  <a:lnTo>
                    <a:pt x="203" y="229"/>
                  </a:lnTo>
                  <a:lnTo>
                    <a:pt x="201" y="232"/>
                  </a:lnTo>
                  <a:lnTo>
                    <a:pt x="197" y="233"/>
                  </a:lnTo>
                  <a:lnTo>
                    <a:pt x="197" y="236"/>
                  </a:lnTo>
                  <a:lnTo>
                    <a:pt x="195" y="239"/>
                  </a:lnTo>
                  <a:lnTo>
                    <a:pt x="194" y="241"/>
                  </a:lnTo>
                  <a:lnTo>
                    <a:pt x="181" y="242"/>
                  </a:lnTo>
                  <a:lnTo>
                    <a:pt x="177" y="240"/>
                  </a:lnTo>
                  <a:lnTo>
                    <a:pt x="173" y="240"/>
                  </a:lnTo>
                  <a:lnTo>
                    <a:pt x="170" y="240"/>
                  </a:lnTo>
                  <a:lnTo>
                    <a:pt x="155" y="236"/>
                  </a:lnTo>
                  <a:lnTo>
                    <a:pt x="156" y="244"/>
                  </a:lnTo>
                  <a:lnTo>
                    <a:pt x="159" y="249"/>
                  </a:lnTo>
                  <a:lnTo>
                    <a:pt x="162" y="252"/>
                  </a:lnTo>
                  <a:lnTo>
                    <a:pt x="162" y="255"/>
                  </a:lnTo>
                  <a:lnTo>
                    <a:pt x="164" y="257"/>
                  </a:lnTo>
                  <a:lnTo>
                    <a:pt x="167" y="259"/>
                  </a:lnTo>
                  <a:lnTo>
                    <a:pt x="167" y="262"/>
                  </a:lnTo>
                  <a:lnTo>
                    <a:pt x="166" y="265"/>
                  </a:lnTo>
                  <a:lnTo>
                    <a:pt x="165" y="268"/>
                  </a:lnTo>
                  <a:lnTo>
                    <a:pt x="165" y="271"/>
                  </a:lnTo>
                  <a:lnTo>
                    <a:pt x="168" y="277"/>
                  </a:lnTo>
                  <a:lnTo>
                    <a:pt x="167" y="281"/>
                  </a:lnTo>
                  <a:lnTo>
                    <a:pt x="167" y="284"/>
                  </a:lnTo>
                  <a:lnTo>
                    <a:pt x="171" y="288"/>
                  </a:lnTo>
                  <a:lnTo>
                    <a:pt x="173" y="291"/>
                  </a:lnTo>
                  <a:lnTo>
                    <a:pt x="171" y="293"/>
                  </a:lnTo>
                  <a:lnTo>
                    <a:pt x="174" y="296"/>
                  </a:lnTo>
                  <a:lnTo>
                    <a:pt x="177" y="295"/>
                  </a:lnTo>
                  <a:lnTo>
                    <a:pt x="180" y="296"/>
                  </a:lnTo>
                  <a:lnTo>
                    <a:pt x="184" y="299"/>
                  </a:lnTo>
                  <a:lnTo>
                    <a:pt x="184" y="303"/>
                  </a:lnTo>
                  <a:lnTo>
                    <a:pt x="184" y="306"/>
                  </a:lnTo>
                  <a:lnTo>
                    <a:pt x="178" y="312"/>
                  </a:lnTo>
                  <a:lnTo>
                    <a:pt x="175" y="314"/>
                  </a:lnTo>
                  <a:lnTo>
                    <a:pt x="175" y="318"/>
                  </a:lnTo>
                  <a:lnTo>
                    <a:pt x="172" y="320"/>
                  </a:lnTo>
                  <a:lnTo>
                    <a:pt x="167" y="321"/>
                  </a:lnTo>
                  <a:lnTo>
                    <a:pt x="164" y="323"/>
                  </a:lnTo>
                  <a:lnTo>
                    <a:pt x="157" y="326"/>
                  </a:lnTo>
                  <a:lnTo>
                    <a:pt x="155" y="331"/>
                  </a:lnTo>
                  <a:lnTo>
                    <a:pt x="154" y="334"/>
                  </a:lnTo>
                  <a:lnTo>
                    <a:pt x="155" y="337"/>
                  </a:lnTo>
                  <a:lnTo>
                    <a:pt x="150" y="341"/>
                  </a:lnTo>
                  <a:lnTo>
                    <a:pt x="148" y="346"/>
                  </a:lnTo>
                  <a:lnTo>
                    <a:pt x="148" y="349"/>
                  </a:lnTo>
                  <a:lnTo>
                    <a:pt x="146" y="351"/>
                  </a:lnTo>
                  <a:lnTo>
                    <a:pt x="153" y="366"/>
                  </a:lnTo>
                  <a:lnTo>
                    <a:pt x="154" y="369"/>
                  </a:lnTo>
                  <a:lnTo>
                    <a:pt x="157" y="378"/>
                  </a:lnTo>
                  <a:lnTo>
                    <a:pt x="160" y="380"/>
                  </a:lnTo>
                  <a:lnTo>
                    <a:pt x="163" y="380"/>
                  </a:lnTo>
                  <a:lnTo>
                    <a:pt x="167" y="379"/>
                  </a:lnTo>
                  <a:lnTo>
                    <a:pt x="170" y="381"/>
                  </a:lnTo>
                  <a:lnTo>
                    <a:pt x="169" y="383"/>
                  </a:lnTo>
                  <a:lnTo>
                    <a:pt x="166" y="387"/>
                  </a:lnTo>
                  <a:lnTo>
                    <a:pt x="164" y="389"/>
                  </a:lnTo>
                  <a:lnTo>
                    <a:pt x="163" y="392"/>
                  </a:lnTo>
                  <a:lnTo>
                    <a:pt x="161" y="395"/>
                  </a:lnTo>
                  <a:lnTo>
                    <a:pt x="156" y="392"/>
                  </a:lnTo>
                  <a:lnTo>
                    <a:pt x="153" y="394"/>
                  </a:lnTo>
                  <a:lnTo>
                    <a:pt x="149" y="395"/>
                  </a:lnTo>
                  <a:lnTo>
                    <a:pt x="147" y="394"/>
                  </a:lnTo>
                  <a:lnTo>
                    <a:pt x="143" y="395"/>
                  </a:lnTo>
                  <a:lnTo>
                    <a:pt x="143" y="398"/>
                  </a:lnTo>
                  <a:lnTo>
                    <a:pt x="139" y="403"/>
                  </a:lnTo>
                  <a:lnTo>
                    <a:pt x="138" y="406"/>
                  </a:lnTo>
                  <a:lnTo>
                    <a:pt x="135" y="409"/>
                  </a:lnTo>
                  <a:lnTo>
                    <a:pt x="128" y="413"/>
                  </a:lnTo>
                  <a:lnTo>
                    <a:pt x="125" y="417"/>
                  </a:lnTo>
                  <a:lnTo>
                    <a:pt x="123" y="421"/>
                  </a:lnTo>
                  <a:lnTo>
                    <a:pt x="119" y="425"/>
                  </a:lnTo>
                  <a:lnTo>
                    <a:pt x="117" y="428"/>
                  </a:lnTo>
                  <a:lnTo>
                    <a:pt x="117" y="431"/>
                  </a:lnTo>
                  <a:lnTo>
                    <a:pt x="118" y="434"/>
                  </a:lnTo>
                  <a:lnTo>
                    <a:pt x="120" y="438"/>
                  </a:lnTo>
                  <a:lnTo>
                    <a:pt x="119" y="442"/>
                  </a:lnTo>
                  <a:lnTo>
                    <a:pt x="120" y="446"/>
                  </a:lnTo>
                  <a:lnTo>
                    <a:pt x="119" y="453"/>
                  </a:lnTo>
                  <a:lnTo>
                    <a:pt x="119" y="456"/>
                  </a:lnTo>
                  <a:lnTo>
                    <a:pt x="118" y="460"/>
                  </a:lnTo>
                  <a:lnTo>
                    <a:pt x="118" y="464"/>
                  </a:lnTo>
                  <a:lnTo>
                    <a:pt x="114" y="464"/>
                  </a:lnTo>
                  <a:lnTo>
                    <a:pt x="111" y="464"/>
                  </a:lnTo>
                  <a:lnTo>
                    <a:pt x="107" y="465"/>
                  </a:lnTo>
                  <a:lnTo>
                    <a:pt x="101" y="467"/>
                  </a:lnTo>
                  <a:lnTo>
                    <a:pt x="87" y="473"/>
                  </a:lnTo>
                  <a:lnTo>
                    <a:pt x="83" y="474"/>
                  </a:lnTo>
                  <a:lnTo>
                    <a:pt x="81" y="473"/>
                  </a:lnTo>
                  <a:lnTo>
                    <a:pt x="77" y="472"/>
                  </a:lnTo>
                  <a:lnTo>
                    <a:pt x="74" y="471"/>
                  </a:lnTo>
                  <a:lnTo>
                    <a:pt x="70" y="467"/>
                  </a:lnTo>
                  <a:lnTo>
                    <a:pt x="65" y="463"/>
                  </a:lnTo>
                  <a:lnTo>
                    <a:pt x="62" y="462"/>
                  </a:lnTo>
                  <a:lnTo>
                    <a:pt x="52" y="459"/>
                  </a:lnTo>
                  <a:lnTo>
                    <a:pt x="49" y="457"/>
                  </a:lnTo>
                  <a:lnTo>
                    <a:pt x="40" y="455"/>
                  </a:lnTo>
                  <a:lnTo>
                    <a:pt x="34" y="451"/>
                  </a:lnTo>
                  <a:lnTo>
                    <a:pt x="31" y="450"/>
                  </a:lnTo>
                  <a:lnTo>
                    <a:pt x="28" y="449"/>
                  </a:lnTo>
                  <a:lnTo>
                    <a:pt x="23" y="452"/>
                  </a:lnTo>
                  <a:lnTo>
                    <a:pt x="18" y="451"/>
                  </a:lnTo>
                  <a:lnTo>
                    <a:pt x="15" y="451"/>
                  </a:lnTo>
                  <a:lnTo>
                    <a:pt x="11" y="450"/>
                  </a:lnTo>
                  <a:lnTo>
                    <a:pt x="7" y="452"/>
                  </a:lnTo>
                  <a:lnTo>
                    <a:pt x="4" y="454"/>
                  </a:lnTo>
                  <a:lnTo>
                    <a:pt x="1" y="452"/>
                  </a:lnTo>
                  <a:lnTo>
                    <a:pt x="0" y="449"/>
                  </a:lnTo>
                  <a:lnTo>
                    <a:pt x="5" y="443"/>
                  </a:lnTo>
                  <a:lnTo>
                    <a:pt x="8" y="440"/>
                  </a:lnTo>
                  <a:lnTo>
                    <a:pt x="8" y="437"/>
                  </a:lnTo>
                  <a:lnTo>
                    <a:pt x="11" y="435"/>
                  </a:lnTo>
                  <a:lnTo>
                    <a:pt x="14" y="428"/>
                  </a:lnTo>
                  <a:lnTo>
                    <a:pt x="17" y="423"/>
                  </a:lnTo>
                  <a:lnTo>
                    <a:pt x="20" y="418"/>
                  </a:lnTo>
                  <a:lnTo>
                    <a:pt x="22" y="414"/>
                  </a:lnTo>
                  <a:lnTo>
                    <a:pt x="23" y="406"/>
                  </a:lnTo>
                  <a:lnTo>
                    <a:pt x="23" y="403"/>
                  </a:lnTo>
                  <a:lnTo>
                    <a:pt x="25" y="398"/>
                  </a:lnTo>
                  <a:lnTo>
                    <a:pt x="27" y="394"/>
                  </a:lnTo>
                  <a:lnTo>
                    <a:pt x="30" y="394"/>
                  </a:lnTo>
                  <a:lnTo>
                    <a:pt x="27" y="391"/>
                  </a:lnTo>
                  <a:lnTo>
                    <a:pt x="29" y="380"/>
                  </a:lnTo>
                  <a:lnTo>
                    <a:pt x="30" y="376"/>
                  </a:lnTo>
                  <a:lnTo>
                    <a:pt x="28" y="372"/>
                  </a:lnTo>
                  <a:lnTo>
                    <a:pt x="25" y="369"/>
                  </a:lnTo>
                  <a:lnTo>
                    <a:pt x="32" y="360"/>
                  </a:lnTo>
                  <a:lnTo>
                    <a:pt x="33" y="358"/>
                  </a:lnTo>
                  <a:lnTo>
                    <a:pt x="35" y="353"/>
                  </a:lnTo>
                  <a:lnTo>
                    <a:pt x="38" y="351"/>
                  </a:lnTo>
                  <a:lnTo>
                    <a:pt x="39" y="342"/>
                  </a:lnTo>
                  <a:lnTo>
                    <a:pt x="40" y="330"/>
                  </a:lnTo>
                  <a:lnTo>
                    <a:pt x="36" y="324"/>
                  </a:lnTo>
                  <a:lnTo>
                    <a:pt x="34" y="322"/>
                  </a:lnTo>
                  <a:lnTo>
                    <a:pt x="38" y="323"/>
                  </a:lnTo>
                  <a:lnTo>
                    <a:pt x="41" y="325"/>
                  </a:lnTo>
                  <a:lnTo>
                    <a:pt x="46" y="328"/>
                  </a:lnTo>
                  <a:lnTo>
                    <a:pt x="52" y="332"/>
                  </a:lnTo>
                  <a:lnTo>
                    <a:pt x="56" y="332"/>
                  </a:lnTo>
                  <a:lnTo>
                    <a:pt x="52" y="330"/>
                  </a:lnTo>
                  <a:lnTo>
                    <a:pt x="48" y="327"/>
                  </a:lnTo>
                  <a:lnTo>
                    <a:pt x="47" y="323"/>
                  </a:lnTo>
                  <a:lnTo>
                    <a:pt x="49" y="320"/>
                  </a:lnTo>
                  <a:lnTo>
                    <a:pt x="48" y="317"/>
                  </a:lnTo>
                  <a:lnTo>
                    <a:pt x="44" y="318"/>
                  </a:lnTo>
                  <a:lnTo>
                    <a:pt x="45" y="322"/>
                  </a:lnTo>
                  <a:lnTo>
                    <a:pt x="41" y="322"/>
                  </a:lnTo>
                  <a:lnTo>
                    <a:pt x="36" y="318"/>
                  </a:lnTo>
                  <a:lnTo>
                    <a:pt x="33" y="318"/>
                  </a:lnTo>
                  <a:lnTo>
                    <a:pt x="24" y="320"/>
                  </a:lnTo>
                  <a:lnTo>
                    <a:pt x="15" y="320"/>
                  </a:lnTo>
                  <a:lnTo>
                    <a:pt x="12" y="320"/>
                  </a:lnTo>
                  <a:lnTo>
                    <a:pt x="15" y="315"/>
                  </a:lnTo>
                  <a:lnTo>
                    <a:pt x="16" y="309"/>
                  </a:lnTo>
                  <a:lnTo>
                    <a:pt x="15" y="305"/>
                  </a:lnTo>
                  <a:lnTo>
                    <a:pt x="14" y="301"/>
                  </a:lnTo>
                  <a:lnTo>
                    <a:pt x="13" y="297"/>
                  </a:lnTo>
                  <a:lnTo>
                    <a:pt x="19" y="297"/>
                  </a:lnTo>
                  <a:lnTo>
                    <a:pt x="24" y="300"/>
                  </a:lnTo>
                  <a:lnTo>
                    <a:pt x="28" y="299"/>
                  </a:lnTo>
                  <a:lnTo>
                    <a:pt x="30" y="296"/>
                  </a:lnTo>
                  <a:lnTo>
                    <a:pt x="33" y="294"/>
                  </a:lnTo>
                  <a:lnTo>
                    <a:pt x="36" y="294"/>
                  </a:lnTo>
                  <a:lnTo>
                    <a:pt x="39" y="290"/>
                  </a:lnTo>
                  <a:lnTo>
                    <a:pt x="40" y="286"/>
                  </a:lnTo>
                  <a:lnTo>
                    <a:pt x="38" y="282"/>
                  </a:lnTo>
                  <a:lnTo>
                    <a:pt x="42" y="274"/>
                  </a:lnTo>
                  <a:lnTo>
                    <a:pt x="44" y="272"/>
                  </a:lnTo>
                  <a:lnTo>
                    <a:pt x="49" y="270"/>
                  </a:lnTo>
                  <a:lnTo>
                    <a:pt x="52" y="271"/>
                  </a:lnTo>
                  <a:lnTo>
                    <a:pt x="56" y="269"/>
                  </a:lnTo>
                  <a:lnTo>
                    <a:pt x="53" y="270"/>
                  </a:lnTo>
                  <a:lnTo>
                    <a:pt x="47" y="269"/>
                  </a:lnTo>
                  <a:lnTo>
                    <a:pt x="44" y="272"/>
                  </a:lnTo>
                  <a:lnTo>
                    <a:pt x="39" y="276"/>
                  </a:lnTo>
                  <a:lnTo>
                    <a:pt x="32" y="282"/>
                  </a:lnTo>
                  <a:lnTo>
                    <a:pt x="29" y="285"/>
                  </a:lnTo>
                  <a:lnTo>
                    <a:pt x="27" y="289"/>
                  </a:lnTo>
                  <a:lnTo>
                    <a:pt x="26" y="292"/>
                  </a:lnTo>
                  <a:lnTo>
                    <a:pt x="25" y="295"/>
                  </a:lnTo>
                  <a:lnTo>
                    <a:pt x="17" y="296"/>
                  </a:lnTo>
                  <a:lnTo>
                    <a:pt x="12" y="294"/>
                  </a:lnTo>
                  <a:lnTo>
                    <a:pt x="9" y="295"/>
                  </a:lnTo>
                  <a:lnTo>
                    <a:pt x="5" y="292"/>
                  </a:lnTo>
                  <a:lnTo>
                    <a:pt x="0" y="291"/>
                  </a:lnTo>
                  <a:lnTo>
                    <a:pt x="0" y="286"/>
                  </a:lnTo>
                  <a:lnTo>
                    <a:pt x="0" y="282"/>
                  </a:lnTo>
                  <a:lnTo>
                    <a:pt x="1" y="279"/>
                  </a:lnTo>
                  <a:lnTo>
                    <a:pt x="3" y="277"/>
                  </a:lnTo>
                  <a:lnTo>
                    <a:pt x="8" y="269"/>
                  </a:lnTo>
                  <a:lnTo>
                    <a:pt x="9" y="265"/>
                  </a:lnTo>
                  <a:lnTo>
                    <a:pt x="9" y="261"/>
                  </a:lnTo>
                  <a:lnTo>
                    <a:pt x="13" y="253"/>
                  </a:lnTo>
                  <a:lnTo>
                    <a:pt x="16" y="250"/>
                  </a:lnTo>
                  <a:lnTo>
                    <a:pt x="18" y="247"/>
                  </a:lnTo>
                  <a:lnTo>
                    <a:pt x="20" y="244"/>
                  </a:lnTo>
                  <a:lnTo>
                    <a:pt x="21" y="241"/>
                  </a:lnTo>
                  <a:lnTo>
                    <a:pt x="21" y="237"/>
                  </a:lnTo>
                  <a:lnTo>
                    <a:pt x="19" y="232"/>
                  </a:lnTo>
                  <a:lnTo>
                    <a:pt x="25" y="232"/>
                  </a:lnTo>
                  <a:lnTo>
                    <a:pt x="29" y="229"/>
                  </a:lnTo>
                  <a:lnTo>
                    <a:pt x="31" y="229"/>
                  </a:lnTo>
                  <a:lnTo>
                    <a:pt x="34" y="231"/>
                  </a:lnTo>
                  <a:lnTo>
                    <a:pt x="32" y="228"/>
                  </a:lnTo>
                  <a:lnTo>
                    <a:pt x="36" y="224"/>
                  </a:lnTo>
                  <a:lnTo>
                    <a:pt x="40" y="223"/>
                  </a:lnTo>
                  <a:lnTo>
                    <a:pt x="44" y="217"/>
                  </a:lnTo>
                  <a:lnTo>
                    <a:pt x="45" y="214"/>
                  </a:lnTo>
                  <a:lnTo>
                    <a:pt x="47" y="211"/>
                  </a:lnTo>
                  <a:lnTo>
                    <a:pt x="58" y="196"/>
                  </a:lnTo>
                  <a:lnTo>
                    <a:pt x="73" y="173"/>
                  </a:lnTo>
                  <a:lnTo>
                    <a:pt x="75" y="174"/>
                  </a:lnTo>
                  <a:lnTo>
                    <a:pt x="78" y="175"/>
                  </a:lnTo>
                  <a:lnTo>
                    <a:pt x="75" y="171"/>
                  </a:lnTo>
                  <a:lnTo>
                    <a:pt x="72" y="170"/>
                  </a:lnTo>
                  <a:lnTo>
                    <a:pt x="71" y="165"/>
                  </a:lnTo>
                  <a:lnTo>
                    <a:pt x="76" y="159"/>
                  </a:lnTo>
                  <a:lnTo>
                    <a:pt x="84" y="142"/>
                  </a:lnTo>
                  <a:lnTo>
                    <a:pt x="87" y="134"/>
                  </a:lnTo>
                  <a:lnTo>
                    <a:pt x="88" y="131"/>
                  </a:lnTo>
                  <a:lnTo>
                    <a:pt x="91" y="128"/>
                  </a:lnTo>
                  <a:lnTo>
                    <a:pt x="94" y="127"/>
                  </a:lnTo>
                  <a:lnTo>
                    <a:pt x="97" y="127"/>
                  </a:lnTo>
                  <a:lnTo>
                    <a:pt x="99" y="124"/>
                  </a:lnTo>
                  <a:lnTo>
                    <a:pt x="102" y="122"/>
                  </a:lnTo>
                  <a:lnTo>
                    <a:pt x="106" y="121"/>
                  </a:lnTo>
                  <a:lnTo>
                    <a:pt x="103" y="121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2" y="113"/>
                  </a:lnTo>
                  <a:lnTo>
                    <a:pt x="99" y="114"/>
                  </a:lnTo>
                  <a:lnTo>
                    <a:pt x="96" y="119"/>
                  </a:lnTo>
                  <a:lnTo>
                    <a:pt x="95" y="122"/>
                  </a:lnTo>
                  <a:lnTo>
                    <a:pt x="93" y="126"/>
                  </a:lnTo>
                  <a:lnTo>
                    <a:pt x="105" y="98"/>
                  </a:lnTo>
                  <a:lnTo>
                    <a:pt x="106" y="95"/>
                  </a:lnTo>
                  <a:lnTo>
                    <a:pt x="106" y="88"/>
                  </a:lnTo>
                  <a:lnTo>
                    <a:pt x="107" y="85"/>
                  </a:lnTo>
                  <a:lnTo>
                    <a:pt x="106" y="79"/>
                  </a:lnTo>
                  <a:lnTo>
                    <a:pt x="105" y="75"/>
                  </a:lnTo>
                  <a:lnTo>
                    <a:pt x="105" y="73"/>
                  </a:lnTo>
                  <a:lnTo>
                    <a:pt x="105" y="69"/>
                  </a:lnTo>
                  <a:lnTo>
                    <a:pt x="106" y="65"/>
                  </a:lnTo>
                  <a:lnTo>
                    <a:pt x="105" y="62"/>
                  </a:lnTo>
                  <a:lnTo>
                    <a:pt x="105" y="59"/>
                  </a:lnTo>
                  <a:lnTo>
                    <a:pt x="106" y="51"/>
                  </a:lnTo>
                  <a:lnTo>
                    <a:pt x="106" y="47"/>
                  </a:lnTo>
                  <a:lnTo>
                    <a:pt x="107" y="42"/>
                  </a:lnTo>
                  <a:lnTo>
                    <a:pt x="107" y="39"/>
                  </a:lnTo>
                  <a:lnTo>
                    <a:pt x="106" y="35"/>
                  </a:lnTo>
                  <a:lnTo>
                    <a:pt x="108" y="32"/>
                  </a:lnTo>
                  <a:lnTo>
                    <a:pt x="115" y="32"/>
                  </a:lnTo>
                  <a:lnTo>
                    <a:pt x="118" y="31"/>
                  </a:lnTo>
                  <a:lnTo>
                    <a:pt x="109" y="31"/>
                  </a:lnTo>
                  <a:lnTo>
                    <a:pt x="107" y="31"/>
                  </a:lnTo>
                  <a:lnTo>
                    <a:pt x="105" y="26"/>
                  </a:lnTo>
                  <a:lnTo>
                    <a:pt x="105" y="23"/>
                  </a:lnTo>
                  <a:lnTo>
                    <a:pt x="108" y="17"/>
                  </a:lnTo>
                  <a:lnTo>
                    <a:pt x="115" y="12"/>
                  </a:lnTo>
                  <a:lnTo>
                    <a:pt x="118" y="10"/>
                  </a:lnTo>
                  <a:lnTo>
                    <a:pt x="120" y="7"/>
                  </a:lnTo>
                  <a:lnTo>
                    <a:pt x="124" y="6"/>
                  </a:lnTo>
                  <a:lnTo>
                    <a:pt x="128" y="3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7" y="1"/>
                  </a:lnTo>
                  <a:lnTo>
                    <a:pt x="149" y="2"/>
                  </a:lnTo>
                  <a:lnTo>
                    <a:pt x="153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7" name="RO">
              <a:extLst>
                <a:ext uri="{FF2B5EF4-FFF2-40B4-BE49-F238E27FC236}">
                  <a16:creationId xmlns:a16="http://schemas.microsoft.com/office/drawing/2014/main" id="{A6E899F6-21D2-3B4B-2096-B290A07D1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8165" y="4603809"/>
              <a:ext cx="1189468" cy="810485"/>
            </a:xfrm>
            <a:custGeom>
              <a:avLst/>
              <a:gdLst>
                <a:gd name="T0" fmla="*/ 392 w 623"/>
                <a:gd name="T1" fmla="*/ 14 h 456"/>
                <a:gd name="T2" fmla="*/ 409 w 623"/>
                <a:gd name="T3" fmla="*/ 33 h 456"/>
                <a:gd name="T4" fmla="*/ 430 w 623"/>
                <a:gd name="T5" fmla="*/ 59 h 456"/>
                <a:gd name="T6" fmla="*/ 450 w 623"/>
                <a:gd name="T7" fmla="*/ 76 h 456"/>
                <a:gd name="T8" fmla="*/ 474 w 623"/>
                <a:gd name="T9" fmla="*/ 94 h 456"/>
                <a:gd name="T10" fmla="*/ 496 w 623"/>
                <a:gd name="T11" fmla="*/ 127 h 456"/>
                <a:gd name="T12" fmla="*/ 500 w 623"/>
                <a:gd name="T13" fmla="*/ 156 h 456"/>
                <a:gd name="T14" fmla="*/ 503 w 623"/>
                <a:gd name="T15" fmla="*/ 191 h 456"/>
                <a:gd name="T16" fmla="*/ 514 w 623"/>
                <a:gd name="T17" fmla="*/ 219 h 456"/>
                <a:gd name="T18" fmla="*/ 526 w 623"/>
                <a:gd name="T19" fmla="*/ 236 h 456"/>
                <a:gd name="T20" fmla="*/ 561 w 623"/>
                <a:gd name="T21" fmla="*/ 245 h 456"/>
                <a:gd name="T22" fmla="*/ 577 w 623"/>
                <a:gd name="T23" fmla="*/ 229 h 456"/>
                <a:gd name="T24" fmla="*/ 607 w 623"/>
                <a:gd name="T25" fmla="*/ 218 h 456"/>
                <a:gd name="T26" fmla="*/ 620 w 623"/>
                <a:gd name="T27" fmla="*/ 241 h 456"/>
                <a:gd name="T28" fmla="*/ 605 w 623"/>
                <a:gd name="T29" fmla="*/ 276 h 456"/>
                <a:gd name="T30" fmla="*/ 593 w 623"/>
                <a:gd name="T31" fmla="*/ 276 h 456"/>
                <a:gd name="T32" fmla="*/ 581 w 623"/>
                <a:gd name="T33" fmla="*/ 262 h 456"/>
                <a:gd name="T34" fmla="*/ 581 w 623"/>
                <a:gd name="T35" fmla="*/ 283 h 456"/>
                <a:gd name="T36" fmla="*/ 580 w 623"/>
                <a:gd name="T37" fmla="*/ 291 h 456"/>
                <a:gd name="T38" fmla="*/ 576 w 623"/>
                <a:gd name="T39" fmla="*/ 302 h 456"/>
                <a:gd name="T40" fmla="*/ 584 w 623"/>
                <a:gd name="T41" fmla="*/ 302 h 456"/>
                <a:gd name="T42" fmla="*/ 575 w 623"/>
                <a:gd name="T43" fmla="*/ 338 h 456"/>
                <a:gd name="T44" fmla="*/ 580 w 623"/>
                <a:gd name="T45" fmla="*/ 371 h 456"/>
                <a:gd name="T46" fmla="*/ 532 w 623"/>
                <a:gd name="T47" fmla="*/ 372 h 456"/>
                <a:gd name="T48" fmla="*/ 494 w 623"/>
                <a:gd name="T49" fmla="*/ 376 h 456"/>
                <a:gd name="T50" fmla="*/ 454 w 623"/>
                <a:gd name="T51" fmla="*/ 380 h 456"/>
                <a:gd name="T52" fmla="*/ 411 w 623"/>
                <a:gd name="T53" fmla="*/ 405 h 456"/>
                <a:gd name="T54" fmla="*/ 384 w 623"/>
                <a:gd name="T55" fmla="*/ 436 h 456"/>
                <a:gd name="T56" fmla="*/ 350 w 623"/>
                <a:gd name="T57" fmla="*/ 439 h 456"/>
                <a:gd name="T58" fmla="*/ 264 w 623"/>
                <a:gd name="T59" fmla="*/ 447 h 456"/>
                <a:gd name="T60" fmla="*/ 220 w 623"/>
                <a:gd name="T61" fmla="*/ 452 h 456"/>
                <a:gd name="T62" fmla="*/ 210 w 623"/>
                <a:gd name="T63" fmla="*/ 434 h 456"/>
                <a:gd name="T64" fmla="*/ 176 w 623"/>
                <a:gd name="T65" fmla="*/ 415 h 456"/>
                <a:gd name="T66" fmla="*/ 173 w 623"/>
                <a:gd name="T67" fmla="*/ 392 h 456"/>
                <a:gd name="T68" fmla="*/ 164 w 623"/>
                <a:gd name="T69" fmla="*/ 379 h 456"/>
                <a:gd name="T70" fmla="*/ 137 w 623"/>
                <a:gd name="T71" fmla="*/ 397 h 456"/>
                <a:gd name="T72" fmla="*/ 107 w 623"/>
                <a:gd name="T73" fmla="*/ 389 h 456"/>
                <a:gd name="T74" fmla="*/ 94 w 623"/>
                <a:gd name="T75" fmla="*/ 376 h 456"/>
                <a:gd name="T76" fmla="*/ 90 w 623"/>
                <a:gd name="T77" fmla="*/ 360 h 456"/>
                <a:gd name="T78" fmla="*/ 73 w 623"/>
                <a:gd name="T79" fmla="*/ 345 h 456"/>
                <a:gd name="T80" fmla="*/ 42 w 623"/>
                <a:gd name="T81" fmla="*/ 327 h 456"/>
                <a:gd name="T82" fmla="*/ 36 w 623"/>
                <a:gd name="T83" fmla="*/ 302 h 456"/>
                <a:gd name="T84" fmla="*/ 5 w 623"/>
                <a:gd name="T85" fmla="*/ 280 h 456"/>
                <a:gd name="T86" fmla="*/ 28 w 623"/>
                <a:gd name="T87" fmla="*/ 264 h 456"/>
                <a:gd name="T88" fmla="*/ 46 w 623"/>
                <a:gd name="T89" fmla="*/ 253 h 456"/>
                <a:gd name="T90" fmla="*/ 61 w 623"/>
                <a:gd name="T91" fmla="*/ 234 h 456"/>
                <a:gd name="T92" fmla="*/ 68 w 623"/>
                <a:gd name="T93" fmla="*/ 211 h 456"/>
                <a:gd name="T94" fmla="*/ 75 w 623"/>
                <a:gd name="T95" fmla="*/ 187 h 456"/>
                <a:gd name="T96" fmla="*/ 85 w 623"/>
                <a:gd name="T97" fmla="*/ 158 h 456"/>
                <a:gd name="T98" fmla="*/ 91 w 623"/>
                <a:gd name="T99" fmla="*/ 129 h 456"/>
                <a:gd name="T100" fmla="*/ 107 w 623"/>
                <a:gd name="T101" fmla="*/ 103 h 456"/>
                <a:gd name="T102" fmla="*/ 133 w 623"/>
                <a:gd name="T103" fmla="*/ 87 h 456"/>
                <a:gd name="T104" fmla="*/ 153 w 623"/>
                <a:gd name="T105" fmla="*/ 61 h 456"/>
                <a:gd name="T106" fmla="*/ 188 w 623"/>
                <a:gd name="T107" fmla="*/ 64 h 456"/>
                <a:gd name="T108" fmla="*/ 227 w 623"/>
                <a:gd name="T109" fmla="*/ 63 h 456"/>
                <a:gd name="T110" fmla="*/ 250 w 623"/>
                <a:gd name="T111" fmla="*/ 64 h 456"/>
                <a:gd name="T112" fmla="*/ 285 w 623"/>
                <a:gd name="T113" fmla="*/ 56 h 456"/>
                <a:gd name="T114" fmla="*/ 338 w 623"/>
                <a:gd name="T115" fmla="*/ 35 h 456"/>
                <a:gd name="T116" fmla="*/ 346 w 623"/>
                <a:gd name="T117" fmla="*/ 11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3" h="456">
                  <a:moveTo>
                    <a:pt x="374" y="0"/>
                  </a:moveTo>
                  <a:lnTo>
                    <a:pt x="377" y="1"/>
                  </a:lnTo>
                  <a:lnTo>
                    <a:pt x="380" y="4"/>
                  </a:lnTo>
                  <a:lnTo>
                    <a:pt x="383" y="4"/>
                  </a:lnTo>
                  <a:lnTo>
                    <a:pt x="385" y="6"/>
                  </a:lnTo>
                  <a:lnTo>
                    <a:pt x="386" y="9"/>
                  </a:lnTo>
                  <a:lnTo>
                    <a:pt x="389" y="9"/>
                  </a:lnTo>
                  <a:lnTo>
                    <a:pt x="392" y="14"/>
                  </a:lnTo>
                  <a:lnTo>
                    <a:pt x="395" y="16"/>
                  </a:lnTo>
                  <a:lnTo>
                    <a:pt x="396" y="19"/>
                  </a:lnTo>
                  <a:lnTo>
                    <a:pt x="399" y="19"/>
                  </a:lnTo>
                  <a:lnTo>
                    <a:pt x="401" y="22"/>
                  </a:lnTo>
                  <a:lnTo>
                    <a:pt x="402" y="26"/>
                  </a:lnTo>
                  <a:lnTo>
                    <a:pt x="406" y="28"/>
                  </a:lnTo>
                  <a:lnTo>
                    <a:pt x="407" y="31"/>
                  </a:lnTo>
                  <a:lnTo>
                    <a:pt x="409" y="33"/>
                  </a:lnTo>
                  <a:lnTo>
                    <a:pt x="410" y="36"/>
                  </a:lnTo>
                  <a:lnTo>
                    <a:pt x="413" y="39"/>
                  </a:lnTo>
                  <a:lnTo>
                    <a:pt x="414" y="42"/>
                  </a:lnTo>
                  <a:lnTo>
                    <a:pt x="414" y="45"/>
                  </a:lnTo>
                  <a:lnTo>
                    <a:pt x="421" y="51"/>
                  </a:lnTo>
                  <a:lnTo>
                    <a:pt x="425" y="53"/>
                  </a:lnTo>
                  <a:lnTo>
                    <a:pt x="427" y="55"/>
                  </a:lnTo>
                  <a:lnTo>
                    <a:pt x="430" y="59"/>
                  </a:lnTo>
                  <a:lnTo>
                    <a:pt x="433" y="61"/>
                  </a:lnTo>
                  <a:lnTo>
                    <a:pt x="436" y="60"/>
                  </a:lnTo>
                  <a:lnTo>
                    <a:pt x="438" y="63"/>
                  </a:lnTo>
                  <a:lnTo>
                    <a:pt x="439" y="66"/>
                  </a:lnTo>
                  <a:lnTo>
                    <a:pt x="439" y="69"/>
                  </a:lnTo>
                  <a:lnTo>
                    <a:pt x="443" y="74"/>
                  </a:lnTo>
                  <a:lnTo>
                    <a:pt x="447" y="75"/>
                  </a:lnTo>
                  <a:lnTo>
                    <a:pt x="450" y="76"/>
                  </a:lnTo>
                  <a:lnTo>
                    <a:pt x="453" y="78"/>
                  </a:lnTo>
                  <a:lnTo>
                    <a:pt x="456" y="82"/>
                  </a:lnTo>
                  <a:lnTo>
                    <a:pt x="458" y="85"/>
                  </a:lnTo>
                  <a:lnTo>
                    <a:pt x="461" y="88"/>
                  </a:lnTo>
                  <a:lnTo>
                    <a:pt x="465" y="91"/>
                  </a:lnTo>
                  <a:lnTo>
                    <a:pt x="468" y="93"/>
                  </a:lnTo>
                  <a:lnTo>
                    <a:pt x="472" y="94"/>
                  </a:lnTo>
                  <a:lnTo>
                    <a:pt x="474" y="94"/>
                  </a:lnTo>
                  <a:lnTo>
                    <a:pt x="478" y="97"/>
                  </a:lnTo>
                  <a:lnTo>
                    <a:pt x="481" y="102"/>
                  </a:lnTo>
                  <a:lnTo>
                    <a:pt x="481" y="104"/>
                  </a:lnTo>
                  <a:lnTo>
                    <a:pt x="483" y="107"/>
                  </a:lnTo>
                  <a:lnTo>
                    <a:pt x="484" y="110"/>
                  </a:lnTo>
                  <a:lnTo>
                    <a:pt x="489" y="116"/>
                  </a:lnTo>
                  <a:lnTo>
                    <a:pt x="495" y="124"/>
                  </a:lnTo>
                  <a:lnTo>
                    <a:pt x="496" y="127"/>
                  </a:lnTo>
                  <a:lnTo>
                    <a:pt x="496" y="131"/>
                  </a:lnTo>
                  <a:lnTo>
                    <a:pt x="497" y="134"/>
                  </a:lnTo>
                  <a:lnTo>
                    <a:pt x="497" y="138"/>
                  </a:lnTo>
                  <a:lnTo>
                    <a:pt x="500" y="142"/>
                  </a:lnTo>
                  <a:lnTo>
                    <a:pt x="501" y="145"/>
                  </a:lnTo>
                  <a:lnTo>
                    <a:pt x="501" y="148"/>
                  </a:lnTo>
                  <a:lnTo>
                    <a:pt x="501" y="153"/>
                  </a:lnTo>
                  <a:lnTo>
                    <a:pt x="500" y="156"/>
                  </a:lnTo>
                  <a:lnTo>
                    <a:pt x="500" y="159"/>
                  </a:lnTo>
                  <a:lnTo>
                    <a:pt x="497" y="162"/>
                  </a:lnTo>
                  <a:lnTo>
                    <a:pt x="497" y="164"/>
                  </a:lnTo>
                  <a:lnTo>
                    <a:pt x="498" y="168"/>
                  </a:lnTo>
                  <a:lnTo>
                    <a:pt x="500" y="172"/>
                  </a:lnTo>
                  <a:lnTo>
                    <a:pt x="500" y="179"/>
                  </a:lnTo>
                  <a:lnTo>
                    <a:pt x="500" y="184"/>
                  </a:lnTo>
                  <a:lnTo>
                    <a:pt x="503" y="191"/>
                  </a:lnTo>
                  <a:lnTo>
                    <a:pt x="505" y="193"/>
                  </a:lnTo>
                  <a:lnTo>
                    <a:pt x="505" y="196"/>
                  </a:lnTo>
                  <a:lnTo>
                    <a:pt x="506" y="199"/>
                  </a:lnTo>
                  <a:lnTo>
                    <a:pt x="506" y="202"/>
                  </a:lnTo>
                  <a:lnTo>
                    <a:pt x="508" y="204"/>
                  </a:lnTo>
                  <a:lnTo>
                    <a:pt x="510" y="208"/>
                  </a:lnTo>
                  <a:lnTo>
                    <a:pt x="513" y="217"/>
                  </a:lnTo>
                  <a:lnTo>
                    <a:pt x="514" y="219"/>
                  </a:lnTo>
                  <a:lnTo>
                    <a:pt x="511" y="220"/>
                  </a:lnTo>
                  <a:lnTo>
                    <a:pt x="508" y="223"/>
                  </a:lnTo>
                  <a:lnTo>
                    <a:pt x="512" y="225"/>
                  </a:lnTo>
                  <a:lnTo>
                    <a:pt x="515" y="228"/>
                  </a:lnTo>
                  <a:lnTo>
                    <a:pt x="516" y="232"/>
                  </a:lnTo>
                  <a:lnTo>
                    <a:pt x="519" y="234"/>
                  </a:lnTo>
                  <a:lnTo>
                    <a:pt x="522" y="234"/>
                  </a:lnTo>
                  <a:lnTo>
                    <a:pt x="526" y="236"/>
                  </a:lnTo>
                  <a:lnTo>
                    <a:pt x="529" y="243"/>
                  </a:lnTo>
                  <a:lnTo>
                    <a:pt x="532" y="245"/>
                  </a:lnTo>
                  <a:lnTo>
                    <a:pt x="536" y="246"/>
                  </a:lnTo>
                  <a:lnTo>
                    <a:pt x="542" y="246"/>
                  </a:lnTo>
                  <a:lnTo>
                    <a:pt x="548" y="247"/>
                  </a:lnTo>
                  <a:lnTo>
                    <a:pt x="556" y="247"/>
                  </a:lnTo>
                  <a:lnTo>
                    <a:pt x="559" y="246"/>
                  </a:lnTo>
                  <a:lnTo>
                    <a:pt x="561" y="245"/>
                  </a:lnTo>
                  <a:lnTo>
                    <a:pt x="559" y="243"/>
                  </a:lnTo>
                  <a:lnTo>
                    <a:pt x="560" y="239"/>
                  </a:lnTo>
                  <a:lnTo>
                    <a:pt x="562" y="236"/>
                  </a:lnTo>
                  <a:lnTo>
                    <a:pt x="565" y="237"/>
                  </a:lnTo>
                  <a:lnTo>
                    <a:pt x="569" y="239"/>
                  </a:lnTo>
                  <a:lnTo>
                    <a:pt x="570" y="235"/>
                  </a:lnTo>
                  <a:lnTo>
                    <a:pt x="574" y="233"/>
                  </a:lnTo>
                  <a:lnTo>
                    <a:pt x="577" y="229"/>
                  </a:lnTo>
                  <a:lnTo>
                    <a:pt x="579" y="228"/>
                  </a:lnTo>
                  <a:lnTo>
                    <a:pt x="581" y="225"/>
                  </a:lnTo>
                  <a:lnTo>
                    <a:pt x="584" y="223"/>
                  </a:lnTo>
                  <a:lnTo>
                    <a:pt x="585" y="221"/>
                  </a:lnTo>
                  <a:lnTo>
                    <a:pt x="589" y="220"/>
                  </a:lnTo>
                  <a:lnTo>
                    <a:pt x="591" y="218"/>
                  </a:lnTo>
                  <a:lnTo>
                    <a:pt x="598" y="217"/>
                  </a:lnTo>
                  <a:lnTo>
                    <a:pt x="607" y="218"/>
                  </a:lnTo>
                  <a:lnTo>
                    <a:pt x="611" y="220"/>
                  </a:lnTo>
                  <a:lnTo>
                    <a:pt x="615" y="224"/>
                  </a:lnTo>
                  <a:lnTo>
                    <a:pt x="617" y="227"/>
                  </a:lnTo>
                  <a:lnTo>
                    <a:pt x="616" y="230"/>
                  </a:lnTo>
                  <a:lnTo>
                    <a:pt x="617" y="232"/>
                  </a:lnTo>
                  <a:lnTo>
                    <a:pt x="617" y="236"/>
                  </a:lnTo>
                  <a:lnTo>
                    <a:pt x="621" y="236"/>
                  </a:lnTo>
                  <a:lnTo>
                    <a:pt x="620" y="241"/>
                  </a:lnTo>
                  <a:lnTo>
                    <a:pt x="621" y="249"/>
                  </a:lnTo>
                  <a:lnTo>
                    <a:pt x="621" y="253"/>
                  </a:lnTo>
                  <a:lnTo>
                    <a:pt x="621" y="256"/>
                  </a:lnTo>
                  <a:lnTo>
                    <a:pt x="622" y="260"/>
                  </a:lnTo>
                  <a:lnTo>
                    <a:pt x="623" y="265"/>
                  </a:lnTo>
                  <a:lnTo>
                    <a:pt x="620" y="269"/>
                  </a:lnTo>
                  <a:lnTo>
                    <a:pt x="618" y="269"/>
                  </a:lnTo>
                  <a:lnTo>
                    <a:pt x="605" y="276"/>
                  </a:lnTo>
                  <a:lnTo>
                    <a:pt x="597" y="279"/>
                  </a:lnTo>
                  <a:lnTo>
                    <a:pt x="590" y="286"/>
                  </a:lnTo>
                  <a:lnTo>
                    <a:pt x="587" y="291"/>
                  </a:lnTo>
                  <a:lnTo>
                    <a:pt x="585" y="288"/>
                  </a:lnTo>
                  <a:lnTo>
                    <a:pt x="587" y="285"/>
                  </a:lnTo>
                  <a:lnTo>
                    <a:pt x="592" y="282"/>
                  </a:lnTo>
                  <a:lnTo>
                    <a:pt x="594" y="279"/>
                  </a:lnTo>
                  <a:lnTo>
                    <a:pt x="593" y="276"/>
                  </a:lnTo>
                  <a:lnTo>
                    <a:pt x="589" y="272"/>
                  </a:lnTo>
                  <a:lnTo>
                    <a:pt x="591" y="276"/>
                  </a:lnTo>
                  <a:lnTo>
                    <a:pt x="588" y="278"/>
                  </a:lnTo>
                  <a:lnTo>
                    <a:pt x="586" y="274"/>
                  </a:lnTo>
                  <a:lnTo>
                    <a:pt x="585" y="269"/>
                  </a:lnTo>
                  <a:lnTo>
                    <a:pt x="588" y="265"/>
                  </a:lnTo>
                  <a:lnTo>
                    <a:pt x="584" y="262"/>
                  </a:lnTo>
                  <a:lnTo>
                    <a:pt x="581" y="262"/>
                  </a:lnTo>
                  <a:lnTo>
                    <a:pt x="579" y="262"/>
                  </a:lnTo>
                  <a:lnTo>
                    <a:pt x="576" y="265"/>
                  </a:lnTo>
                  <a:lnTo>
                    <a:pt x="574" y="269"/>
                  </a:lnTo>
                  <a:lnTo>
                    <a:pt x="574" y="272"/>
                  </a:lnTo>
                  <a:lnTo>
                    <a:pt x="574" y="276"/>
                  </a:lnTo>
                  <a:lnTo>
                    <a:pt x="578" y="277"/>
                  </a:lnTo>
                  <a:lnTo>
                    <a:pt x="581" y="280"/>
                  </a:lnTo>
                  <a:lnTo>
                    <a:pt x="581" y="283"/>
                  </a:lnTo>
                  <a:lnTo>
                    <a:pt x="582" y="286"/>
                  </a:lnTo>
                  <a:lnTo>
                    <a:pt x="578" y="287"/>
                  </a:lnTo>
                  <a:lnTo>
                    <a:pt x="574" y="291"/>
                  </a:lnTo>
                  <a:lnTo>
                    <a:pt x="574" y="295"/>
                  </a:lnTo>
                  <a:lnTo>
                    <a:pt x="575" y="299"/>
                  </a:lnTo>
                  <a:lnTo>
                    <a:pt x="578" y="297"/>
                  </a:lnTo>
                  <a:lnTo>
                    <a:pt x="581" y="294"/>
                  </a:lnTo>
                  <a:lnTo>
                    <a:pt x="580" y="291"/>
                  </a:lnTo>
                  <a:lnTo>
                    <a:pt x="585" y="291"/>
                  </a:lnTo>
                  <a:lnTo>
                    <a:pt x="587" y="295"/>
                  </a:lnTo>
                  <a:lnTo>
                    <a:pt x="585" y="297"/>
                  </a:lnTo>
                  <a:lnTo>
                    <a:pt x="586" y="294"/>
                  </a:lnTo>
                  <a:lnTo>
                    <a:pt x="583" y="293"/>
                  </a:lnTo>
                  <a:lnTo>
                    <a:pt x="581" y="296"/>
                  </a:lnTo>
                  <a:lnTo>
                    <a:pt x="578" y="300"/>
                  </a:lnTo>
                  <a:lnTo>
                    <a:pt x="576" y="302"/>
                  </a:lnTo>
                  <a:lnTo>
                    <a:pt x="574" y="306"/>
                  </a:lnTo>
                  <a:lnTo>
                    <a:pt x="576" y="309"/>
                  </a:lnTo>
                  <a:lnTo>
                    <a:pt x="576" y="314"/>
                  </a:lnTo>
                  <a:lnTo>
                    <a:pt x="578" y="310"/>
                  </a:lnTo>
                  <a:lnTo>
                    <a:pt x="580" y="306"/>
                  </a:lnTo>
                  <a:lnTo>
                    <a:pt x="583" y="303"/>
                  </a:lnTo>
                  <a:lnTo>
                    <a:pt x="584" y="299"/>
                  </a:lnTo>
                  <a:lnTo>
                    <a:pt x="584" y="302"/>
                  </a:lnTo>
                  <a:lnTo>
                    <a:pt x="582" y="311"/>
                  </a:lnTo>
                  <a:lnTo>
                    <a:pt x="579" y="315"/>
                  </a:lnTo>
                  <a:lnTo>
                    <a:pt x="576" y="324"/>
                  </a:lnTo>
                  <a:lnTo>
                    <a:pt x="575" y="327"/>
                  </a:lnTo>
                  <a:lnTo>
                    <a:pt x="573" y="328"/>
                  </a:lnTo>
                  <a:lnTo>
                    <a:pt x="572" y="332"/>
                  </a:lnTo>
                  <a:lnTo>
                    <a:pt x="573" y="336"/>
                  </a:lnTo>
                  <a:lnTo>
                    <a:pt x="575" y="338"/>
                  </a:lnTo>
                  <a:lnTo>
                    <a:pt x="577" y="341"/>
                  </a:lnTo>
                  <a:lnTo>
                    <a:pt x="578" y="343"/>
                  </a:lnTo>
                  <a:lnTo>
                    <a:pt x="576" y="346"/>
                  </a:lnTo>
                  <a:lnTo>
                    <a:pt x="579" y="355"/>
                  </a:lnTo>
                  <a:lnTo>
                    <a:pt x="581" y="359"/>
                  </a:lnTo>
                  <a:lnTo>
                    <a:pt x="581" y="363"/>
                  </a:lnTo>
                  <a:lnTo>
                    <a:pt x="581" y="366"/>
                  </a:lnTo>
                  <a:lnTo>
                    <a:pt x="580" y="371"/>
                  </a:lnTo>
                  <a:lnTo>
                    <a:pt x="580" y="377"/>
                  </a:lnTo>
                  <a:lnTo>
                    <a:pt x="581" y="380"/>
                  </a:lnTo>
                  <a:lnTo>
                    <a:pt x="581" y="382"/>
                  </a:lnTo>
                  <a:lnTo>
                    <a:pt x="572" y="387"/>
                  </a:lnTo>
                  <a:lnTo>
                    <a:pt x="557" y="388"/>
                  </a:lnTo>
                  <a:lnTo>
                    <a:pt x="542" y="385"/>
                  </a:lnTo>
                  <a:lnTo>
                    <a:pt x="534" y="375"/>
                  </a:lnTo>
                  <a:lnTo>
                    <a:pt x="532" y="372"/>
                  </a:lnTo>
                  <a:lnTo>
                    <a:pt x="528" y="374"/>
                  </a:lnTo>
                  <a:lnTo>
                    <a:pt x="524" y="377"/>
                  </a:lnTo>
                  <a:lnTo>
                    <a:pt x="520" y="379"/>
                  </a:lnTo>
                  <a:lnTo>
                    <a:pt x="517" y="376"/>
                  </a:lnTo>
                  <a:lnTo>
                    <a:pt x="515" y="374"/>
                  </a:lnTo>
                  <a:lnTo>
                    <a:pt x="510" y="376"/>
                  </a:lnTo>
                  <a:lnTo>
                    <a:pt x="496" y="379"/>
                  </a:lnTo>
                  <a:lnTo>
                    <a:pt x="494" y="376"/>
                  </a:lnTo>
                  <a:lnTo>
                    <a:pt x="489" y="375"/>
                  </a:lnTo>
                  <a:lnTo>
                    <a:pt x="487" y="372"/>
                  </a:lnTo>
                  <a:lnTo>
                    <a:pt x="484" y="372"/>
                  </a:lnTo>
                  <a:lnTo>
                    <a:pt x="475" y="371"/>
                  </a:lnTo>
                  <a:lnTo>
                    <a:pt x="470" y="369"/>
                  </a:lnTo>
                  <a:lnTo>
                    <a:pt x="461" y="373"/>
                  </a:lnTo>
                  <a:lnTo>
                    <a:pt x="456" y="378"/>
                  </a:lnTo>
                  <a:lnTo>
                    <a:pt x="454" y="380"/>
                  </a:lnTo>
                  <a:lnTo>
                    <a:pt x="451" y="380"/>
                  </a:lnTo>
                  <a:lnTo>
                    <a:pt x="449" y="382"/>
                  </a:lnTo>
                  <a:lnTo>
                    <a:pt x="445" y="384"/>
                  </a:lnTo>
                  <a:lnTo>
                    <a:pt x="425" y="391"/>
                  </a:lnTo>
                  <a:lnTo>
                    <a:pt x="421" y="395"/>
                  </a:lnTo>
                  <a:lnTo>
                    <a:pt x="416" y="397"/>
                  </a:lnTo>
                  <a:lnTo>
                    <a:pt x="412" y="402"/>
                  </a:lnTo>
                  <a:lnTo>
                    <a:pt x="411" y="405"/>
                  </a:lnTo>
                  <a:lnTo>
                    <a:pt x="404" y="414"/>
                  </a:lnTo>
                  <a:lnTo>
                    <a:pt x="401" y="421"/>
                  </a:lnTo>
                  <a:lnTo>
                    <a:pt x="398" y="425"/>
                  </a:lnTo>
                  <a:lnTo>
                    <a:pt x="397" y="429"/>
                  </a:lnTo>
                  <a:lnTo>
                    <a:pt x="394" y="430"/>
                  </a:lnTo>
                  <a:lnTo>
                    <a:pt x="390" y="431"/>
                  </a:lnTo>
                  <a:lnTo>
                    <a:pt x="387" y="435"/>
                  </a:lnTo>
                  <a:lnTo>
                    <a:pt x="384" y="436"/>
                  </a:lnTo>
                  <a:lnTo>
                    <a:pt x="382" y="438"/>
                  </a:lnTo>
                  <a:lnTo>
                    <a:pt x="379" y="438"/>
                  </a:lnTo>
                  <a:lnTo>
                    <a:pt x="375" y="440"/>
                  </a:lnTo>
                  <a:lnTo>
                    <a:pt x="371" y="441"/>
                  </a:lnTo>
                  <a:lnTo>
                    <a:pt x="368" y="441"/>
                  </a:lnTo>
                  <a:lnTo>
                    <a:pt x="363" y="438"/>
                  </a:lnTo>
                  <a:lnTo>
                    <a:pt x="360" y="438"/>
                  </a:lnTo>
                  <a:lnTo>
                    <a:pt x="350" y="439"/>
                  </a:lnTo>
                  <a:lnTo>
                    <a:pt x="342" y="438"/>
                  </a:lnTo>
                  <a:lnTo>
                    <a:pt x="329" y="442"/>
                  </a:lnTo>
                  <a:lnTo>
                    <a:pt x="325" y="442"/>
                  </a:lnTo>
                  <a:lnTo>
                    <a:pt x="311" y="440"/>
                  </a:lnTo>
                  <a:lnTo>
                    <a:pt x="307" y="441"/>
                  </a:lnTo>
                  <a:lnTo>
                    <a:pt x="304" y="444"/>
                  </a:lnTo>
                  <a:lnTo>
                    <a:pt x="290" y="448"/>
                  </a:lnTo>
                  <a:lnTo>
                    <a:pt x="264" y="447"/>
                  </a:lnTo>
                  <a:lnTo>
                    <a:pt x="260" y="445"/>
                  </a:lnTo>
                  <a:lnTo>
                    <a:pt x="253" y="447"/>
                  </a:lnTo>
                  <a:lnTo>
                    <a:pt x="250" y="448"/>
                  </a:lnTo>
                  <a:lnTo>
                    <a:pt x="242" y="445"/>
                  </a:lnTo>
                  <a:lnTo>
                    <a:pt x="232" y="446"/>
                  </a:lnTo>
                  <a:lnTo>
                    <a:pt x="226" y="448"/>
                  </a:lnTo>
                  <a:lnTo>
                    <a:pt x="224" y="450"/>
                  </a:lnTo>
                  <a:lnTo>
                    <a:pt x="220" y="452"/>
                  </a:lnTo>
                  <a:lnTo>
                    <a:pt x="205" y="456"/>
                  </a:lnTo>
                  <a:lnTo>
                    <a:pt x="201" y="454"/>
                  </a:lnTo>
                  <a:lnTo>
                    <a:pt x="200" y="451"/>
                  </a:lnTo>
                  <a:lnTo>
                    <a:pt x="200" y="444"/>
                  </a:lnTo>
                  <a:lnTo>
                    <a:pt x="202" y="441"/>
                  </a:lnTo>
                  <a:lnTo>
                    <a:pt x="205" y="439"/>
                  </a:lnTo>
                  <a:lnTo>
                    <a:pt x="210" y="437"/>
                  </a:lnTo>
                  <a:lnTo>
                    <a:pt x="210" y="434"/>
                  </a:lnTo>
                  <a:lnTo>
                    <a:pt x="208" y="431"/>
                  </a:lnTo>
                  <a:lnTo>
                    <a:pt x="205" y="430"/>
                  </a:lnTo>
                  <a:lnTo>
                    <a:pt x="202" y="430"/>
                  </a:lnTo>
                  <a:lnTo>
                    <a:pt x="200" y="430"/>
                  </a:lnTo>
                  <a:lnTo>
                    <a:pt x="184" y="423"/>
                  </a:lnTo>
                  <a:lnTo>
                    <a:pt x="183" y="417"/>
                  </a:lnTo>
                  <a:lnTo>
                    <a:pt x="178" y="415"/>
                  </a:lnTo>
                  <a:lnTo>
                    <a:pt x="176" y="415"/>
                  </a:lnTo>
                  <a:lnTo>
                    <a:pt x="171" y="410"/>
                  </a:lnTo>
                  <a:lnTo>
                    <a:pt x="170" y="408"/>
                  </a:lnTo>
                  <a:lnTo>
                    <a:pt x="169" y="405"/>
                  </a:lnTo>
                  <a:lnTo>
                    <a:pt x="167" y="403"/>
                  </a:lnTo>
                  <a:lnTo>
                    <a:pt x="167" y="399"/>
                  </a:lnTo>
                  <a:lnTo>
                    <a:pt x="170" y="398"/>
                  </a:lnTo>
                  <a:lnTo>
                    <a:pt x="171" y="395"/>
                  </a:lnTo>
                  <a:lnTo>
                    <a:pt x="173" y="392"/>
                  </a:lnTo>
                  <a:lnTo>
                    <a:pt x="176" y="392"/>
                  </a:lnTo>
                  <a:lnTo>
                    <a:pt x="179" y="393"/>
                  </a:lnTo>
                  <a:lnTo>
                    <a:pt x="181" y="393"/>
                  </a:lnTo>
                  <a:lnTo>
                    <a:pt x="184" y="390"/>
                  </a:lnTo>
                  <a:lnTo>
                    <a:pt x="180" y="386"/>
                  </a:lnTo>
                  <a:lnTo>
                    <a:pt x="174" y="385"/>
                  </a:lnTo>
                  <a:lnTo>
                    <a:pt x="169" y="383"/>
                  </a:lnTo>
                  <a:lnTo>
                    <a:pt x="164" y="379"/>
                  </a:lnTo>
                  <a:lnTo>
                    <a:pt x="160" y="379"/>
                  </a:lnTo>
                  <a:lnTo>
                    <a:pt x="157" y="382"/>
                  </a:lnTo>
                  <a:lnTo>
                    <a:pt x="154" y="384"/>
                  </a:lnTo>
                  <a:lnTo>
                    <a:pt x="147" y="401"/>
                  </a:lnTo>
                  <a:lnTo>
                    <a:pt x="145" y="403"/>
                  </a:lnTo>
                  <a:lnTo>
                    <a:pt x="142" y="402"/>
                  </a:lnTo>
                  <a:lnTo>
                    <a:pt x="140" y="399"/>
                  </a:lnTo>
                  <a:lnTo>
                    <a:pt x="137" y="397"/>
                  </a:lnTo>
                  <a:lnTo>
                    <a:pt x="133" y="391"/>
                  </a:lnTo>
                  <a:lnTo>
                    <a:pt x="130" y="390"/>
                  </a:lnTo>
                  <a:lnTo>
                    <a:pt x="123" y="388"/>
                  </a:lnTo>
                  <a:lnTo>
                    <a:pt x="119" y="390"/>
                  </a:lnTo>
                  <a:lnTo>
                    <a:pt x="116" y="391"/>
                  </a:lnTo>
                  <a:lnTo>
                    <a:pt x="113" y="391"/>
                  </a:lnTo>
                  <a:lnTo>
                    <a:pt x="110" y="391"/>
                  </a:lnTo>
                  <a:lnTo>
                    <a:pt x="107" y="389"/>
                  </a:lnTo>
                  <a:lnTo>
                    <a:pt x="105" y="386"/>
                  </a:lnTo>
                  <a:lnTo>
                    <a:pt x="102" y="383"/>
                  </a:lnTo>
                  <a:lnTo>
                    <a:pt x="98" y="384"/>
                  </a:lnTo>
                  <a:lnTo>
                    <a:pt x="92" y="385"/>
                  </a:lnTo>
                  <a:lnTo>
                    <a:pt x="90" y="382"/>
                  </a:lnTo>
                  <a:lnTo>
                    <a:pt x="87" y="381"/>
                  </a:lnTo>
                  <a:lnTo>
                    <a:pt x="89" y="378"/>
                  </a:lnTo>
                  <a:lnTo>
                    <a:pt x="94" y="376"/>
                  </a:lnTo>
                  <a:lnTo>
                    <a:pt x="98" y="375"/>
                  </a:lnTo>
                  <a:lnTo>
                    <a:pt x="98" y="371"/>
                  </a:lnTo>
                  <a:lnTo>
                    <a:pt x="95" y="369"/>
                  </a:lnTo>
                  <a:lnTo>
                    <a:pt x="90" y="369"/>
                  </a:lnTo>
                  <a:lnTo>
                    <a:pt x="88" y="367"/>
                  </a:lnTo>
                  <a:lnTo>
                    <a:pt x="86" y="364"/>
                  </a:lnTo>
                  <a:lnTo>
                    <a:pt x="89" y="363"/>
                  </a:lnTo>
                  <a:lnTo>
                    <a:pt x="90" y="360"/>
                  </a:lnTo>
                  <a:lnTo>
                    <a:pt x="90" y="356"/>
                  </a:lnTo>
                  <a:lnTo>
                    <a:pt x="92" y="354"/>
                  </a:lnTo>
                  <a:lnTo>
                    <a:pt x="93" y="351"/>
                  </a:lnTo>
                  <a:lnTo>
                    <a:pt x="90" y="349"/>
                  </a:lnTo>
                  <a:lnTo>
                    <a:pt x="86" y="347"/>
                  </a:lnTo>
                  <a:lnTo>
                    <a:pt x="79" y="346"/>
                  </a:lnTo>
                  <a:lnTo>
                    <a:pt x="77" y="346"/>
                  </a:lnTo>
                  <a:lnTo>
                    <a:pt x="73" y="345"/>
                  </a:lnTo>
                  <a:lnTo>
                    <a:pt x="70" y="342"/>
                  </a:lnTo>
                  <a:lnTo>
                    <a:pt x="66" y="341"/>
                  </a:lnTo>
                  <a:lnTo>
                    <a:pt x="63" y="340"/>
                  </a:lnTo>
                  <a:lnTo>
                    <a:pt x="56" y="338"/>
                  </a:lnTo>
                  <a:lnTo>
                    <a:pt x="52" y="334"/>
                  </a:lnTo>
                  <a:lnTo>
                    <a:pt x="48" y="331"/>
                  </a:lnTo>
                  <a:lnTo>
                    <a:pt x="45" y="328"/>
                  </a:lnTo>
                  <a:lnTo>
                    <a:pt x="42" y="327"/>
                  </a:lnTo>
                  <a:lnTo>
                    <a:pt x="42" y="324"/>
                  </a:lnTo>
                  <a:lnTo>
                    <a:pt x="41" y="320"/>
                  </a:lnTo>
                  <a:lnTo>
                    <a:pt x="39" y="317"/>
                  </a:lnTo>
                  <a:lnTo>
                    <a:pt x="39" y="313"/>
                  </a:lnTo>
                  <a:lnTo>
                    <a:pt x="39" y="309"/>
                  </a:lnTo>
                  <a:lnTo>
                    <a:pt x="39" y="304"/>
                  </a:lnTo>
                  <a:lnTo>
                    <a:pt x="39" y="302"/>
                  </a:lnTo>
                  <a:lnTo>
                    <a:pt x="36" y="302"/>
                  </a:lnTo>
                  <a:lnTo>
                    <a:pt x="33" y="304"/>
                  </a:lnTo>
                  <a:lnTo>
                    <a:pt x="30" y="301"/>
                  </a:lnTo>
                  <a:lnTo>
                    <a:pt x="28" y="297"/>
                  </a:lnTo>
                  <a:lnTo>
                    <a:pt x="23" y="291"/>
                  </a:lnTo>
                  <a:lnTo>
                    <a:pt x="18" y="290"/>
                  </a:lnTo>
                  <a:lnTo>
                    <a:pt x="13" y="287"/>
                  </a:lnTo>
                  <a:lnTo>
                    <a:pt x="9" y="286"/>
                  </a:lnTo>
                  <a:lnTo>
                    <a:pt x="5" y="280"/>
                  </a:lnTo>
                  <a:lnTo>
                    <a:pt x="0" y="273"/>
                  </a:lnTo>
                  <a:lnTo>
                    <a:pt x="2" y="270"/>
                  </a:lnTo>
                  <a:lnTo>
                    <a:pt x="13" y="265"/>
                  </a:lnTo>
                  <a:lnTo>
                    <a:pt x="16" y="265"/>
                  </a:lnTo>
                  <a:lnTo>
                    <a:pt x="18" y="266"/>
                  </a:lnTo>
                  <a:lnTo>
                    <a:pt x="21" y="268"/>
                  </a:lnTo>
                  <a:lnTo>
                    <a:pt x="26" y="267"/>
                  </a:lnTo>
                  <a:lnTo>
                    <a:pt x="28" y="264"/>
                  </a:lnTo>
                  <a:lnTo>
                    <a:pt x="30" y="261"/>
                  </a:lnTo>
                  <a:lnTo>
                    <a:pt x="29" y="258"/>
                  </a:lnTo>
                  <a:lnTo>
                    <a:pt x="32" y="254"/>
                  </a:lnTo>
                  <a:lnTo>
                    <a:pt x="34" y="253"/>
                  </a:lnTo>
                  <a:lnTo>
                    <a:pt x="37" y="254"/>
                  </a:lnTo>
                  <a:lnTo>
                    <a:pt x="40" y="253"/>
                  </a:lnTo>
                  <a:lnTo>
                    <a:pt x="43" y="254"/>
                  </a:lnTo>
                  <a:lnTo>
                    <a:pt x="46" y="253"/>
                  </a:lnTo>
                  <a:lnTo>
                    <a:pt x="49" y="254"/>
                  </a:lnTo>
                  <a:lnTo>
                    <a:pt x="52" y="250"/>
                  </a:lnTo>
                  <a:lnTo>
                    <a:pt x="54" y="249"/>
                  </a:lnTo>
                  <a:lnTo>
                    <a:pt x="55" y="246"/>
                  </a:lnTo>
                  <a:lnTo>
                    <a:pt x="55" y="241"/>
                  </a:lnTo>
                  <a:lnTo>
                    <a:pt x="56" y="238"/>
                  </a:lnTo>
                  <a:lnTo>
                    <a:pt x="60" y="237"/>
                  </a:lnTo>
                  <a:lnTo>
                    <a:pt x="61" y="234"/>
                  </a:lnTo>
                  <a:lnTo>
                    <a:pt x="58" y="230"/>
                  </a:lnTo>
                  <a:lnTo>
                    <a:pt x="59" y="227"/>
                  </a:lnTo>
                  <a:lnTo>
                    <a:pt x="60" y="224"/>
                  </a:lnTo>
                  <a:lnTo>
                    <a:pt x="60" y="220"/>
                  </a:lnTo>
                  <a:lnTo>
                    <a:pt x="61" y="217"/>
                  </a:lnTo>
                  <a:lnTo>
                    <a:pt x="65" y="216"/>
                  </a:lnTo>
                  <a:lnTo>
                    <a:pt x="68" y="213"/>
                  </a:lnTo>
                  <a:lnTo>
                    <a:pt x="68" y="211"/>
                  </a:lnTo>
                  <a:lnTo>
                    <a:pt x="71" y="209"/>
                  </a:lnTo>
                  <a:lnTo>
                    <a:pt x="72" y="204"/>
                  </a:lnTo>
                  <a:lnTo>
                    <a:pt x="70" y="202"/>
                  </a:lnTo>
                  <a:lnTo>
                    <a:pt x="71" y="197"/>
                  </a:lnTo>
                  <a:lnTo>
                    <a:pt x="73" y="194"/>
                  </a:lnTo>
                  <a:lnTo>
                    <a:pt x="75" y="193"/>
                  </a:lnTo>
                  <a:lnTo>
                    <a:pt x="75" y="190"/>
                  </a:lnTo>
                  <a:lnTo>
                    <a:pt x="75" y="187"/>
                  </a:lnTo>
                  <a:lnTo>
                    <a:pt x="78" y="184"/>
                  </a:lnTo>
                  <a:lnTo>
                    <a:pt x="79" y="178"/>
                  </a:lnTo>
                  <a:lnTo>
                    <a:pt x="76" y="176"/>
                  </a:lnTo>
                  <a:lnTo>
                    <a:pt x="78" y="173"/>
                  </a:lnTo>
                  <a:lnTo>
                    <a:pt x="82" y="169"/>
                  </a:lnTo>
                  <a:lnTo>
                    <a:pt x="83" y="165"/>
                  </a:lnTo>
                  <a:lnTo>
                    <a:pt x="85" y="161"/>
                  </a:lnTo>
                  <a:lnTo>
                    <a:pt x="85" y="158"/>
                  </a:lnTo>
                  <a:lnTo>
                    <a:pt x="85" y="155"/>
                  </a:lnTo>
                  <a:lnTo>
                    <a:pt x="86" y="150"/>
                  </a:lnTo>
                  <a:lnTo>
                    <a:pt x="88" y="145"/>
                  </a:lnTo>
                  <a:lnTo>
                    <a:pt x="90" y="142"/>
                  </a:lnTo>
                  <a:lnTo>
                    <a:pt x="93" y="141"/>
                  </a:lnTo>
                  <a:lnTo>
                    <a:pt x="93" y="134"/>
                  </a:lnTo>
                  <a:lnTo>
                    <a:pt x="92" y="131"/>
                  </a:lnTo>
                  <a:lnTo>
                    <a:pt x="91" y="129"/>
                  </a:lnTo>
                  <a:lnTo>
                    <a:pt x="94" y="124"/>
                  </a:lnTo>
                  <a:lnTo>
                    <a:pt x="97" y="120"/>
                  </a:lnTo>
                  <a:lnTo>
                    <a:pt x="100" y="119"/>
                  </a:lnTo>
                  <a:lnTo>
                    <a:pt x="101" y="116"/>
                  </a:lnTo>
                  <a:lnTo>
                    <a:pt x="102" y="113"/>
                  </a:lnTo>
                  <a:lnTo>
                    <a:pt x="102" y="110"/>
                  </a:lnTo>
                  <a:lnTo>
                    <a:pt x="105" y="106"/>
                  </a:lnTo>
                  <a:lnTo>
                    <a:pt x="107" y="103"/>
                  </a:lnTo>
                  <a:lnTo>
                    <a:pt x="111" y="103"/>
                  </a:lnTo>
                  <a:lnTo>
                    <a:pt x="113" y="102"/>
                  </a:lnTo>
                  <a:lnTo>
                    <a:pt x="114" y="98"/>
                  </a:lnTo>
                  <a:lnTo>
                    <a:pt x="120" y="99"/>
                  </a:lnTo>
                  <a:lnTo>
                    <a:pt x="125" y="98"/>
                  </a:lnTo>
                  <a:lnTo>
                    <a:pt x="130" y="92"/>
                  </a:lnTo>
                  <a:lnTo>
                    <a:pt x="133" y="91"/>
                  </a:lnTo>
                  <a:lnTo>
                    <a:pt x="133" y="87"/>
                  </a:lnTo>
                  <a:lnTo>
                    <a:pt x="137" y="84"/>
                  </a:lnTo>
                  <a:lnTo>
                    <a:pt x="139" y="79"/>
                  </a:lnTo>
                  <a:lnTo>
                    <a:pt x="141" y="74"/>
                  </a:lnTo>
                  <a:lnTo>
                    <a:pt x="144" y="72"/>
                  </a:lnTo>
                  <a:lnTo>
                    <a:pt x="147" y="73"/>
                  </a:lnTo>
                  <a:lnTo>
                    <a:pt x="150" y="71"/>
                  </a:lnTo>
                  <a:lnTo>
                    <a:pt x="151" y="63"/>
                  </a:lnTo>
                  <a:lnTo>
                    <a:pt x="153" y="61"/>
                  </a:lnTo>
                  <a:lnTo>
                    <a:pt x="159" y="61"/>
                  </a:lnTo>
                  <a:lnTo>
                    <a:pt x="163" y="64"/>
                  </a:lnTo>
                  <a:lnTo>
                    <a:pt x="167" y="66"/>
                  </a:lnTo>
                  <a:lnTo>
                    <a:pt x="169" y="68"/>
                  </a:lnTo>
                  <a:lnTo>
                    <a:pt x="175" y="68"/>
                  </a:lnTo>
                  <a:lnTo>
                    <a:pt x="180" y="64"/>
                  </a:lnTo>
                  <a:lnTo>
                    <a:pt x="186" y="64"/>
                  </a:lnTo>
                  <a:lnTo>
                    <a:pt x="188" y="64"/>
                  </a:lnTo>
                  <a:lnTo>
                    <a:pt x="194" y="63"/>
                  </a:lnTo>
                  <a:lnTo>
                    <a:pt x="199" y="66"/>
                  </a:lnTo>
                  <a:lnTo>
                    <a:pt x="206" y="63"/>
                  </a:lnTo>
                  <a:lnTo>
                    <a:pt x="210" y="64"/>
                  </a:lnTo>
                  <a:lnTo>
                    <a:pt x="214" y="64"/>
                  </a:lnTo>
                  <a:lnTo>
                    <a:pt x="217" y="66"/>
                  </a:lnTo>
                  <a:lnTo>
                    <a:pt x="222" y="67"/>
                  </a:lnTo>
                  <a:lnTo>
                    <a:pt x="227" y="63"/>
                  </a:lnTo>
                  <a:lnTo>
                    <a:pt x="230" y="63"/>
                  </a:lnTo>
                  <a:lnTo>
                    <a:pt x="232" y="60"/>
                  </a:lnTo>
                  <a:lnTo>
                    <a:pt x="235" y="59"/>
                  </a:lnTo>
                  <a:lnTo>
                    <a:pt x="238" y="59"/>
                  </a:lnTo>
                  <a:lnTo>
                    <a:pt x="242" y="58"/>
                  </a:lnTo>
                  <a:lnTo>
                    <a:pt x="246" y="60"/>
                  </a:lnTo>
                  <a:lnTo>
                    <a:pt x="249" y="61"/>
                  </a:lnTo>
                  <a:lnTo>
                    <a:pt x="250" y="64"/>
                  </a:lnTo>
                  <a:lnTo>
                    <a:pt x="254" y="67"/>
                  </a:lnTo>
                  <a:lnTo>
                    <a:pt x="259" y="68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74" y="73"/>
                  </a:lnTo>
                  <a:lnTo>
                    <a:pt x="278" y="71"/>
                  </a:lnTo>
                  <a:lnTo>
                    <a:pt x="280" y="67"/>
                  </a:lnTo>
                  <a:lnTo>
                    <a:pt x="285" y="56"/>
                  </a:lnTo>
                  <a:lnTo>
                    <a:pt x="287" y="54"/>
                  </a:lnTo>
                  <a:lnTo>
                    <a:pt x="316" y="44"/>
                  </a:lnTo>
                  <a:lnTo>
                    <a:pt x="320" y="41"/>
                  </a:lnTo>
                  <a:lnTo>
                    <a:pt x="323" y="40"/>
                  </a:lnTo>
                  <a:lnTo>
                    <a:pt x="325" y="39"/>
                  </a:lnTo>
                  <a:lnTo>
                    <a:pt x="328" y="38"/>
                  </a:lnTo>
                  <a:lnTo>
                    <a:pt x="332" y="36"/>
                  </a:lnTo>
                  <a:lnTo>
                    <a:pt x="338" y="35"/>
                  </a:lnTo>
                  <a:lnTo>
                    <a:pt x="340" y="33"/>
                  </a:lnTo>
                  <a:lnTo>
                    <a:pt x="341" y="29"/>
                  </a:lnTo>
                  <a:lnTo>
                    <a:pt x="343" y="26"/>
                  </a:lnTo>
                  <a:lnTo>
                    <a:pt x="344" y="23"/>
                  </a:lnTo>
                  <a:lnTo>
                    <a:pt x="344" y="20"/>
                  </a:lnTo>
                  <a:lnTo>
                    <a:pt x="344" y="17"/>
                  </a:lnTo>
                  <a:lnTo>
                    <a:pt x="344" y="12"/>
                  </a:lnTo>
                  <a:lnTo>
                    <a:pt x="346" y="11"/>
                  </a:lnTo>
                  <a:lnTo>
                    <a:pt x="349" y="9"/>
                  </a:lnTo>
                  <a:lnTo>
                    <a:pt x="352" y="8"/>
                  </a:lnTo>
                  <a:lnTo>
                    <a:pt x="361" y="4"/>
                  </a:lnTo>
                  <a:lnTo>
                    <a:pt x="365" y="0"/>
                  </a:lnTo>
                  <a:lnTo>
                    <a:pt x="368" y="1"/>
                  </a:lnTo>
                  <a:lnTo>
                    <a:pt x="371" y="1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8" name="RS">
              <a:extLst>
                <a:ext uri="{FF2B5EF4-FFF2-40B4-BE49-F238E27FC236}">
                  <a16:creationId xmlns:a16="http://schemas.microsoft.com/office/drawing/2014/main" id="{6021A493-0CF2-BF24-A174-36235A6B6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153" y="5079017"/>
              <a:ext cx="587300" cy="698265"/>
            </a:xfrm>
            <a:custGeom>
              <a:avLst/>
              <a:gdLst>
                <a:gd name="T0" fmla="*/ 95 w 308"/>
                <a:gd name="T1" fmla="*/ 14 h 393"/>
                <a:gd name="T2" fmla="*/ 120 w 308"/>
                <a:gd name="T3" fmla="*/ 32 h 393"/>
                <a:gd name="T4" fmla="*/ 127 w 308"/>
                <a:gd name="T5" fmla="*/ 47 h 393"/>
                <a:gd name="T6" fmla="*/ 140 w 308"/>
                <a:gd name="T7" fmla="*/ 64 h 393"/>
                <a:gd name="T8" fmla="*/ 167 w 308"/>
                <a:gd name="T9" fmla="*/ 76 h 393"/>
                <a:gd name="T10" fmla="*/ 178 w 308"/>
                <a:gd name="T11" fmla="*/ 89 h 393"/>
                <a:gd name="T12" fmla="*/ 185 w 308"/>
                <a:gd name="T13" fmla="*/ 100 h 393"/>
                <a:gd name="T14" fmla="*/ 179 w 308"/>
                <a:gd name="T15" fmla="*/ 114 h 393"/>
                <a:gd name="T16" fmla="*/ 201 w 308"/>
                <a:gd name="T17" fmla="*/ 121 h 393"/>
                <a:gd name="T18" fmla="*/ 223 w 308"/>
                <a:gd name="T19" fmla="*/ 125 h 393"/>
                <a:gd name="T20" fmla="*/ 244 w 308"/>
                <a:gd name="T21" fmla="*/ 113 h 393"/>
                <a:gd name="T22" fmla="*/ 272 w 308"/>
                <a:gd name="T23" fmla="*/ 119 h 393"/>
                <a:gd name="T24" fmla="*/ 258 w 308"/>
                <a:gd name="T25" fmla="*/ 128 h 393"/>
                <a:gd name="T26" fmla="*/ 264 w 308"/>
                <a:gd name="T27" fmla="*/ 145 h 393"/>
                <a:gd name="T28" fmla="*/ 268 w 308"/>
                <a:gd name="T29" fmla="*/ 163 h 393"/>
                <a:gd name="T30" fmla="*/ 257 w 308"/>
                <a:gd name="T31" fmla="*/ 181 h 393"/>
                <a:gd name="T32" fmla="*/ 260 w 308"/>
                <a:gd name="T33" fmla="*/ 202 h 393"/>
                <a:gd name="T34" fmla="*/ 271 w 308"/>
                <a:gd name="T35" fmla="*/ 222 h 393"/>
                <a:gd name="T36" fmla="*/ 293 w 308"/>
                <a:gd name="T37" fmla="*/ 234 h 393"/>
                <a:gd name="T38" fmla="*/ 308 w 308"/>
                <a:gd name="T39" fmla="*/ 249 h 393"/>
                <a:gd name="T40" fmla="*/ 295 w 308"/>
                <a:gd name="T41" fmla="*/ 272 h 393"/>
                <a:gd name="T42" fmla="*/ 275 w 308"/>
                <a:gd name="T43" fmla="*/ 286 h 393"/>
                <a:gd name="T44" fmla="*/ 283 w 308"/>
                <a:gd name="T45" fmla="*/ 310 h 393"/>
                <a:gd name="T46" fmla="*/ 278 w 308"/>
                <a:gd name="T47" fmla="*/ 331 h 393"/>
                <a:gd name="T48" fmla="*/ 249 w 308"/>
                <a:gd name="T49" fmla="*/ 335 h 393"/>
                <a:gd name="T50" fmla="*/ 222 w 308"/>
                <a:gd name="T51" fmla="*/ 348 h 393"/>
                <a:gd name="T52" fmla="*/ 207 w 308"/>
                <a:gd name="T53" fmla="*/ 359 h 393"/>
                <a:gd name="T54" fmla="*/ 187 w 308"/>
                <a:gd name="T55" fmla="*/ 363 h 393"/>
                <a:gd name="T56" fmla="*/ 168 w 308"/>
                <a:gd name="T57" fmla="*/ 393 h 393"/>
                <a:gd name="T58" fmla="*/ 148 w 308"/>
                <a:gd name="T59" fmla="*/ 358 h 393"/>
                <a:gd name="T60" fmla="*/ 119 w 308"/>
                <a:gd name="T61" fmla="*/ 326 h 393"/>
                <a:gd name="T62" fmla="*/ 125 w 308"/>
                <a:gd name="T63" fmla="*/ 312 h 393"/>
                <a:gd name="T64" fmla="*/ 128 w 308"/>
                <a:gd name="T65" fmla="*/ 297 h 393"/>
                <a:gd name="T66" fmla="*/ 100 w 308"/>
                <a:gd name="T67" fmla="*/ 286 h 393"/>
                <a:gd name="T68" fmla="*/ 81 w 308"/>
                <a:gd name="T69" fmla="*/ 281 h 393"/>
                <a:gd name="T70" fmla="*/ 61 w 308"/>
                <a:gd name="T71" fmla="*/ 263 h 393"/>
                <a:gd name="T72" fmla="*/ 53 w 308"/>
                <a:gd name="T73" fmla="*/ 245 h 393"/>
                <a:gd name="T74" fmla="*/ 66 w 308"/>
                <a:gd name="T75" fmla="*/ 242 h 393"/>
                <a:gd name="T76" fmla="*/ 49 w 308"/>
                <a:gd name="T77" fmla="*/ 214 h 393"/>
                <a:gd name="T78" fmla="*/ 60 w 308"/>
                <a:gd name="T79" fmla="*/ 207 h 393"/>
                <a:gd name="T80" fmla="*/ 63 w 308"/>
                <a:gd name="T81" fmla="*/ 197 h 393"/>
                <a:gd name="T82" fmla="*/ 49 w 308"/>
                <a:gd name="T83" fmla="*/ 182 h 393"/>
                <a:gd name="T84" fmla="*/ 33 w 308"/>
                <a:gd name="T85" fmla="*/ 173 h 393"/>
                <a:gd name="T86" fmla="*/ 40 w 308"/>
                <a:gd name="T87" fmla="*/ 148 h 393"/>
                <a:gd name="T88" fmla="*/ 42 w 308"/>
                <a:gd name="T89" fmla="*/ 123 h 393"/>
                <a:gd name="T90" fmla="*/ 20 w 308"/>
                <a:gd name="T91" fmla="*/ 126 h 393"/>
                <a:gd name="T92" fmla="*/ 25 w 308"/>
                <a:gd name="T93" fmla="*/ 115 h 393"/>
                <a:gd name="T94" fmla="*/ 29 w 308"/>
                <a:gd name="T95" fmla="*/ 99 h 393"/>
                <a:gd name="T96" fmla="*/ 40 w 308"/>
                <a:gd name="T97" fmla="*/ 91 h 393"/>
                <a:gd name="T98" fmla="*/ 14 w 308"/>
                <a:gd name="T99" fmla="*/ 81 h 393"/>
                <a:gd name="T100" fmla="*/ 17 w 308"/>
                <a:gd name="T101" fmla="*/ 66 h 393"/>
                <a:gd name="T102" fmla="*/ 10 w 308"/>
                <a:gd name="T103" fmla="*/ 56 h 393"/>
                <a:gd name="T104" fmla="*/ 0 w 308"/>
                <a:gd name="T105" fmla="*/ 38 h 393"/>
                <a:gd name="T106" fmla="*/ 24 w 308"/>
                <a:gd name="T107" fmla="*/ 24 h 393"/>
                <a:gd name="T108" fmla="*/ 39 w 308"/>
                <a:gd name="T109" fmla="*/ 10 h 393"/>
                <a:gd name="T110" fmla="*/ 57 w 308"/>
                <a:gd name="T111" fmla="*/ 6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8" h="393">
                  <a:moveTo>
                    <a:pt x="76" y="0"/>
                  </a:moveTo>
                  <a:lnTo>
                    <a:pt x="80" y="1"/>
                  </a:lnTo>
                  <a:lnTo>
                    <a:pt x="83" y="0"/>
                  </a:lnTo>
                  <a:lnTo>
                    <a:pt x="88" y="3"/>
                  </a:lnTo>
                  <a:lnTo>
                    <a:pt x="92" y="9"/>
                  </a:lnTo>
                  <a:lnTo>
                    <a:pt x="95" y="14"/>
                  </a:lnTo>
                  <a:lnTo>
                    <a:pt x="100" y="17"/>
                  </a:lnTo>
                  <a:lnTo>
                    <a:pt x="105" y="20"/>
                  </a:lnTo>
                  <a:lnTo>
                    <a:pt x="109" y="20"/>
                  </a:lnTo>
                  <a:lnTo>
                    <a:pt x="114" y="25"/>
                  </a:lnTo>
                  <a:lnTo>
                    <a:pt x="117" y="29"/>
                  </a:lnTo>
                  <a:lnTo>
                    <a:pt x="120" y="32"/>
                  </a:lnTo>
                  <a:lnTo>
                    <a:pt x="123" y="34"/>
                  </a:lnTo>
                  <a:lnTo>
                    <a:pt x="125" y="30"/>
                  </a:lnTo>
                  <a:lnTo>
                    <a:pt x="127" y="33"/>
                  </a:lnTo>
                  <a:lnTo>
                    <a:pt x="127" y="39"/>
                  </a:lnTo>
                  <a:lnTo>
                    <a:pt x="127" y="43"/>
                  </a:lnTo>
                  <a:lnTo>
                    <a:pt x="127" y="47"/>
                  </a:lnTo>
                  <a:lnTo>
                    <a:pt x="129" y="50"/>
                  </a:lnTo>
                  <a:lnTo>
                    <a:pt x="130" y="53"/>
                  </a:lnTo>
                  <a:lnTo>
                    <a:pt x="128" y="55"/>
                  </a:lnTo>
                  <a:lnTo>
                    <a:pt x="131" y="57"/>
                  </a:lnTo>
                  <a:lnTo>
                    <a:pt x="136" y="61"/>
                  </a:lnTo>
                  <a:lnTo>
                    <a:pt x="140" y="64"/>
                  </a:lnTo>
                  <a:lnTo>
                    <a:pt x="143" y="67"/>
                  </a:lnTo>
                  <a:lnTo>
                    <a:pt x="150" y="70"/>
                  </a:lnTo>
                  <a:lnTo>
                    <a:pt x="154" y="71"/>
                  </a:lnTo>
                  <a:lnTo>
                    <a:pt x="160" y="73"/>
                  </a:lnTo>
                  <a:lnTo>
                    <a:pt x="163" y="76"/>
                  </a:lnTo>
                  <a:lnTo>
                    <a:pt x="167" y="76"/>
                  </a:lnTo>
                  <a:lnTo>
                    <a:pt x="174" y="77"/>
                  </a:lnTo>
                  <a:lnTo>
                    <a:pt x="178" y="79"/>
                  </a:lnTo>
                  <a:lnTo>
                    <a:pt x="181" y="81"/>
                  </a:lnTo>
                  <a:lnTo>
                    <a:pt x="180" y="84"/>
                  </a:lnTo>
                  <a:lnTo>
                    <a:pt x="178" y="86"/>
                  </a:lnTo>
                  <a:lnTo>
                    <a:pt x="178" y="89"/>
                  </a:lnTo>
                  <a:lnTo>
                    <a:pt x="178" y="92"/>
                  </a:lnTo>
                  <a:lnTo>
                    <a:pt x="175" y="94"/>
                  </a:lnTo>
                  <a:lnTo>
                    <a:pt x="174" y="97"/>
                  </a:lnTo>
                  <a:lnTo>
                    <a:pt x="178" y="99"/>
                  </a:lnTo>
                  <a:lnTo>
                    <a:pt x="181" y="99"/>
                  </a:lnTo>
                  <a:lnTo>
                    <a:pt x="185" y="100"/>
                  </a:lnTo>
                  <a:lnTo>
                    <a:pt x="187" y="104"/>
                  </a:lnTo>
                  <a:lnTo>
                    <a:pt x="184" y="106"/>
                  </a:lnTo>
                  <a:lnTo>
                    <a:pt x="178" y="107"/>
                  </a:lnTo>
                  <a:lnTo>
                    <a:pt x="176" y="109"/>
                  </a:lnTo>
                  <a:lnTo>
                    <a:pt x="176" y="111"/>
                  </a:lnTo>
                  <a:lnTo>
                    <a:pt x="179" y="114"/>
                  </a:lnTo>
                  <a:lnTo>
                    <a:pt x="186" y="114"/>
                  </a:lnTo>
                  <a:lnTo>
                    <a:pt x="190" y="113"/>
                  </a:lnTo>
                  <a:lnTo>
                    <a:pt x="193" y="114"/>
                  </a:lnTo>
                  <a:lnTo>
                    <a:pt x="194" y="117"/>
                  </a:lnTo>
                  <a:lnTo>
                    <a:pt x="197" y="121"/>
                  </a:lnTo>
                  <a:lnTo>
                    <a:pt x="201" y="121"/>
                  </a:lnTo>
                  <a:lnTo>
                    <a:pt x="204" y="121"/>
                  </a:lnTo>
                  <a:lnTo>
                    <a:pt x="207" y="120"/>
                  </a:lnTo>
                  <a:lnTo>
                    <a:pt x="209" y="118"/>
                  </a:lnTo>
                  <a:lnTo>
                    <a:pt x="218" y="120"/>
                  </a:lnTo>
                  <a:lnTo>
                    <a:pt x="221" y="121"/>
                  </a:lnTo>
                  <a:lnTo>
                    <a:pt x="223" y="125"/>
                  </a:lnTo>
                  <a:lnTo>
                    <a:pt x="225" y="128"/>
                  </a:lnTo>
                  <a:lnTo>
                    <a:pt x="229" y="132"/>
                  </a:lnTo>
                  <a:lnTo>
                    <a:pt x="232" y="133"/>
                  </a:lnTo>
                  <a:lnTo>
                    <a:pt x="234" y="132"/>
                  </a:lnTo>
                  <a:lnTo>
                    <a:pt x="241" y="117"/>
                  </a:lnTo>
                  <a:lnTo>
                    <a:pt x="244" y="113"/>
                  </a:lnTo>
                  <a:lnTo>
                    <a:pt x="247" y="109"/>
                  </a:lnTo>
                  <a:lnTo>
                    <a:pt x="251" y="109"/>
                  </a:lnTo>
                  <a:lnTo>
                    <a:pt x="257" y="113"/>
                  </a:lnTo>
                  <a:lnTo>
                    <a:pt x="262" y="115"/>
                  </a:lnTo>
                  <a:lnTo>
                    <a:pt x="267" y="115"/>
                  </a:lnTo>
                  <a:lnTo>
                    <a:pt x="272" y="119"/>
                  </a:lnTo>
                  <a:lnTo>
                    <a:pt x="271" y="122"/>
                  </a:lnTo>
                  <a:lnTo>
                    <a:pt x="268" y="123"/>
                  </a:lnTo>
                  <a:lnTo>
                    <a:pt x="264" y="122"/>
                  </a:lnTo>
                  <a:lnTo>
                    <a:pt x="261" y="122"/>
                  </a:lnTo>
                  <a:lnTo>
                    <a:pt x="259" y="125"/>
                  </a:lnTo>
                  <a:lnTo>
                    <a:pt x="258" y="128"/>
                  </a:lnTo>
                  <a:lnTo>
                    <a:pt x="255" y="129"/>
                  </a:lnTo>
                  <a:lnTo>
                    <a:pt x="255" y="133"/>
                  </a:lnTo>
                  <a:lnTo>
                    <a:pt x="257" y="135"/>
                  </a:lnTo>
                  <a:lnTo>
                    <a:pt x="258" y="138"/>
                  </a:lnTo>
                  <a:lnTo>
                    <a:pt x="259" y="140"/>
                  </a:lnTo>
                  <a:lnTo>
                    <a:pt x="264" y="145"/>
                  </a:lnTo>
                  <a:lnTo>
                    <a:pt x="266" y="145"/>
                  </a:lnTo>
                  <a:lnTo>
                    <a:pt x="269" y="145"/>
                  </a:lnTo>
                  <a:lnTo>
                    <a:pt x="272" y="151"/>
                  </a:lnTo>
                  <a:lnTo>
                    <a:pt x="270" y="154"/>
                  </a:lnTo>
                  <a:lnTo>
                    <a:pt x="268" y="158"/>
                  </a:lnTo>
                  <a:lnTo>
                    <a:pt x="268" y="163"/>
                  </a:lnTo>
                  <a:lnTo>
                    <a:pt x="269" y="166"/>
                  </a:lnTo>
                  <a:lnTo>
                    <a:pt x="266" y="169"/>
                  </a:lnTo>
                  <a:lnTo>
                    <a:pt x="264" y="173"/>
                  </a:lnTo>
                  <a:lnTo>
                    <a:pt x="259" y="175"/>
                  </a:lnTo>
                  <a:lnTo>
                    <a:pt x="257" y="178"/>
                  </a:lnTo>
                  <a:lnTo>
                    <a:pt x="257" y="181"/>
                  </a:lnTo>
                  <a:lnTo>
                    <a:pt x="257" y="184"/>
                  </a:lnTo>
                  <a:lnTo>
                    <a:pt x="257" y="187"/>
                  </a:lnTo>
                  <a:lnTo>
                    <a:pt x="257" y="190"/>
                  </a:lnTo>
                  <a:lnTo>
                    <a:pt x="256" y="195"/>
                  </a:lnTo>
                  <a:lnTo>
                    <a:pt x="259" y="199"/>
                  </a:lnTo>
                  <a:lnTo>
                    <a:pt x="260" y="202"/>
                  </a:lnTo>
                  <a:lnTo>
                    <a:pt x="261" y="205"/>
                  </a:lnTo>
                  <a:lnTo>
                    <a:pt x="265" y="207"/>
                  </a:lnTo>
                  <a:lnTo>
                    <a:pt x="267" y="212"/>
                  </a:lnTo>
                  <a:lnTo>
                    <a:pt x="268" y="214"/>
                  </a:lnTo>
                  <a:lnTo>
                    <a:pt x="269" y="218"/>
                  </a:lnTo>
                  <a:lnTo>
                    <a:pt x="271" y="222"/>
                  </a:lnTo>
                  <a:lnTo>
                    <a:pt x="273" y="225"/>
                  </a:lnTo>
                  <a:lnTo>
                    <a:pt x="276" y="226"/>
                  </a:lnTo>
                  <a:lnTo>
                    <a:pt x="280" y="227"/>
                  </a:lnTo>
                  <a:lnTo>
                    <a:pt x="283" y="229"/>
                  </a:lnTo>
                  <a:lnTo>
                    <a:pt x="285" y="229"/>
                  </a:lnTo>
                  <a:lnTo>
                    <a:pt x="293" y="234"/>
                  </a:lnTo>
                  <a:lnTo>
                    <a:pt x="295" y="237"/>
                  </a:lnTo>
                  <a:lnTo>
                    <a:pt x="298" y="240"/>
                  </a:lnTo>
                  <a:lnTo>
                    <a:pt x="302" y="243"/>
                  </a:lnTo>
                  <a:lnTo>
                    <a:pt x="306" y="243"/>
                  </a:lnTo>
                  <a:lnTo>
                    <a:pt x="308" y="246"/>
                  </a:lnTo>
                  <a:lnTo>
                    <a:pt x="308" y="249"/>
                  </a:lnTo>
                  <a:lnTo>
                    <a:pt x="307" y="252"/>
                  </a:lnTo>
                  <a:lnTo>
                    <a:pt x="305" y="256"/>
                  </a:lnTo>
                  <a:lnTo>
                    <a:pt x="304" y="259"/>
                  </a:lnTo>
                  <a:lnTo>
                    <a:pt x="301" y="263"/>
                  </a:lnTo>
                  <a:lnTo>
                    <a:pt x="298" y="265"/>
                  </a:lnTo>
                  <a:lnTo>
                    <a:pt x="295" y="272"/>
                  </a:lnTo>
                  <a:lnTo>
                    <a:pt x="292" y="276"/>
                  </a:lnTo>
                  <a:lnTo>
                    <a:pt x="285" y="276"/>
                  </a:lnTo>
                  <a:lnTo>
                    <a:pt x="283" y="278"/>
                  </a:lnTo>
                  <a:lnTo>
                    <a:pt x="280" y="280"/>
                  </a:lnTo>
                  <a:lnTo>
                    <a:pt x="278" y="283"/>
                  </a:lnTo>
                  <a:lnTo>
                    <a:pt x="275" y="286"/>
                  </a:lnTo>
                  <a:lnTo>
                    <a:pt x="278" y="290"/>
                  </a:lnTo>
                  <a:lnTo>
                    <a:pt x="280" y="292"/>
                  </a:lnTo>
                  <a:lnTo>
                    <a:pt x="278" y="298"/>
                  </a:lnTo>
                  <a:lnTo>
                    <a:pt x="279" y="301"/>
                  </a:lnTo>
                  <a:lnTo>
                    <a:pt x="278" y="306"/>
                  </a:lnTo>
                  <a:lnTo>
                    <a:pt x="283" y="310"/>
                  </a:lnTo>
                  <a:lnTo>
                    <a:pt x="286" y="312"/>
                  </a:lnTo>
                  <a:lnTo>
                    <a:pt x="287" y="315"/>
                  </a:lnTo>
                  <a:lnTo>
                    <a:pt x="287" y="320"/>
                  </a:lnTo>
                  <a:lnTo>
                    <a:pt x="284" y="324"/>
                  </a:lnTo>
                  <a:lnTo>
                    <a:pt x="283" y="329"/>
                  </a:lnTo>
                  <a:lnTo>
                    <a:pt x="278" y="331"/>
                  </a:lnTo>
                  <a:lnTo>
                    <a:pt x="275" y="332"/>
                  </a:lnTo>
                  <a:lnTo>
                    <a:pt x="272" y="330"/>
                  </a:lnTo>
                  <a:lnTo>
                    <a:pt x="271" y="328"/>
                  </a:lnTo>
                  <a:lnTo>
                    <a:pt x="260" y="336"/>
                  </a:lnTo>
                  <a:lnTo>
                    <a:pt x="255" y="336"/>
                  </a:lnTo>
                  <a:lnTo>
                    <a:pt x="249" y="335"/>
                  </a:lnTo>
                  <a:lnTo>
                    <a:pt x="246" y="337"/>
                  </a:lnTo>
                  <a:lnTo>
                    <a:pt x="243" y="338"/>
                  </a:lnTo>
                  <a:lnTo>
                    <a:pt x="234" y="344"/>
                  </a:lnTo>
                  <a:lnTo>
                    <a:pt x="232" y="348"/>
                  </a:lnTo>
                  <a:lnTo>
                    <a:pt x="226" y="348"/>
                  </a:lnTo>
                  <a:lnTo>
                    <a:pt x="222" y="348"/>
                  </a:lnTo>
                  <a:lnTo>
                    <a:pt x="221" y="349"/>
                  </a:lnTo>
                  <a:lnTo>
                    <a:pt x="218" y="348"/>
                  </a:lnTo>
                  <a:lnTo>
                    <a:pt x="215" y="349"/>
                  </a:lnTo>
                  <a:lnTo>
                    <a:pt x="215" y="352"/>
                  </a:lnTo>
                  <a:lnTo>
                    <a:pt x="210" y="353"/>
                  </a:lnTo>
                  <a:lnTo>
                    <a:pt x="207" y="359"/>
                  </a:lnTo>
                  <a:lnTo>
                    <a:pt x="207" y="365"/>
                  </a:lnTo>
                  <a:lnTo>
                    <a:pt x="202" y="363"/>
                  </a:lnTo>
                  <a:lnTo>
                    <a:pt x="198" y="359"/>
                  </a:lnTo>
                  <a:lnTo>
                    <a:pt x="195" y="358"/>
                  </a:lnTo>
                  <a:lnTo>
                    <a:pt x="192" y="358"/>
                  </a:lnTo>
                  <a:lnTo>
                    <a:pt x="187" y="363"/>
                  </a:lnTo>
                  <a:lnTo>
                    <a:pt x="173" y="370"/>
                  </a:lnTo>
                  <a:lnTo>
                    <a:pt x="172" y="374"/>
                  </a:lnTo>
                  <a:lnTo>
                    <a:pt x="172" y="381"/>
                  </a:lnTo>
                  <a:lnTo>
                    <a:pt x="173" y="387"/>
                  </a:lnTo>
                  <a:lnTo>
                    <a:pt x="172" y="391"/>
                  </a:lnTo>
                  <a:lnTo>
                    <a:pt x="168" y="393"/>
                  </a:lnTo>
                  <a:lnTo>
                    <a:pt x="163" y="393"/>
                  </a:lnTo>
                  <a:lnTo>
                    <a:pt x="159" y="393"/>
                  </a:lnTo>
                  <a:lnTo>
                    <a:pt x="157" y="373"/>
                  </a:lnTo>
                  <a:lnTo>
                    <a:pt x="156" y="367"/>
                  </a:lnTo>
                  <a:lnTo>
                    <a:pt x="151" y="361"/>
                  </a:lnTo>
                  <a:lnTo>
                    <a:pt x="148" y="358"/>
                  </a:lnTo>
                  <a:lnTo>
                    <a:pt x="138" y="353"/>
                  </a:lnTo>
                  <a:lnTo>
                    <a:pt x="131" y="352"/>
                  </a:lnTo>
                  <a:lnTo>
                    <a:pt x="129" y="345"/>
                  </a:lnTo>
                  <a:lnTo>
                    <a:pt x="123" y="337"/>
                  </a:lnTo>
                  <a:lnTo>
                    <a:pt x="118" y="334"/>
                  </a:lnTo>
                  <a:lnTo>
                    <a:pt x="119" y="326"/>
                  </a:lnTo>
                  <a:lnTo>
                    <a:pt x="119" y="323"/>
                  </a:lnTo>
                  <a:lnTo>
                    <a:pt x="114" y="320"/>
                  </a:lnTo>
                  <a:lnTo>
                    <a:pt x="114" y="316"/>
                  </a:lnTo>
                  <a:lnTo>
                    <a:pt x="116" y="313"/>
                  </a:lnTo>
                  <a:lnTo>
                    <a:pt x="124" y="315"/>
                  </a:lnTo>
                  <a:lnTo>
                    <a:pt x="125" y="312"/>
                  </a:lnTo>
                  <a:lnTo>
                    <a:pt x="126" y="309"/>
                  </a:lnTo>
                  <a:lnTo>
                    <a:pt x="128" y="308"/>
                  </a:lnTo>
                  <a:lnTo>
                    <a:pt x="134" y="306"/>
                  </a:lnTo>
                  <a:lnTo>
                    <a:pt x="134" y="302"/>
                  </a:lnTo>
                  <a:lnTo>
                    <a:pt x="132" y="299"/>
                  </a:lnTo>
                  <a:lnTo>
                    <a:pt x="128" y="297"/>
                  </a:lnTo>
                  <a:lnTo>
                    <a:pt x="124" y="295"/>
                  </a:lnTo>
                  <a:lnTo>
                    <a:pt x="118" y="295"/>
                  </a:lnTo>
                  <a:lnTo>
                    <a:pt x="109" y="289"/>
                  </a:lnTo>
                  <a:lnTo>
                    <a:pt x="105" y="287"/>
                  </a:lnTo>
                  <a:lnTo>
                    <a:pt x="102" y="284"/>
                  </a:lnTo>
                  <a:lnTo>
                    <a:pt x="100" y="286"/>
                  </a:lnTo>
                  <a:lnTo>
                    <a:pt x="97" y="287"/>
                  </a:lnTo>
                  <a:lnTo>
                    <a:pt x="93" y="287"/>
                  </a:lnTo>
                  <a:lnTo>
                    <a:pt x="90" y="284"/>
                  </a:lnTo>
                  <a:lnTo>
                    <a:pt x="87" y="281"/>
                  </a:lnTo>
                  <a:lnTo>
                    <a:pt x="84" y="282"/>
                  </a:lnTo>
                  <a:lnTo>
                    <a:pt x="81" y="281"/>
                  </a:lnTo>
                  <a:lnTo>
                    <a:pt x="77" y="280"/>
                  </a:lnTo>
                  <a:lnTo>
                    <a:pt x="75" y="276"/>
                  </a:lnTo>
                  <a:lnTo>
                    <a:pt x="72" y="275"/>
                  </a:lnTo>
                  <a:lnTo>
                    <a:pt x="70" y="271"/>
                  </a:lnTo>
                  <a:lnTo>
                    <a:pt x="64" y="267"/>
                  </a:lnTo>
                  <a:lnTo>
                    <a:pt x="61" y="263"/>
                  </a:lnTo>
                  <a:lnTo>
                    <a:pt x="50" y="259"/>
                  </a:lnTo>
                  <a:lnTo>
                    <a:pt x="47" y="256"/>
                  </a:lnTo>
                  <a:lnTo>
                    <a:pt x="47" y="253"/>
                  </a:lnTo>
                  <a:lnTo>
                    <a:pt x="49" y="251"/>
                  </a:lnTo>
                  <a:lnTo>
                    <a:pt x="50" y="247"/>
                  </a:lnTo>
                  <a:lnTo>
                    <a:pt x="53" y="245"/>
                  </a:lnTo>
                  <a:lnTo>
                    <a:pt x="56" y="243"/>
                  </a:lnTo>
                  <a:lnTo>
                    <a:pt x="60" y="244"/>
                  </a:lnTo>
                  <a:lnTo>
                    <a:pt x="61" y="247"/>
                  </a:lnTo>
                  <a:lnTo>
                    <a:pt x="64" y="245"/>
                  </a:lnTo>
                  <a:lnTo>
                    <a:pt x="66" y="243"/>
                  </a:lnTo>
                  <a:lnTo>
                    <a:pt x="66" y="242"/>
                  </a:lnTo>
                  <a:lnTo>
                    <a:pt x="67" y="238"/>
                  </a:lnTo>
                  <a:lnTo>
                    <a:pt x="65" y="230"/>
                  </a:lnTo>
                  <a:lnTo>
                    <a:pt x="63" y="228"/>
                  </a:lnTo>
                  <a:lnTo>
                    <a:pt x="55" y="221"/>
                  </a:lnTo>
                  <a:lnTo>
                    <a:pt x="51" y="216"/>
                  </a:lnTo>
                  <a:lnTo>
                    <a:pt x="49" y="214"/>
                  </a:lnTo>
                  <a:lnTo>
                    <a:pt x="46" y="212"/>
                  </a:lnTo>
                  <a:lnTo>
                    <a:pt x="46" y="207"/>
                  </a:lnTo>
                  <a:lnTo>
                    <a:pt x="49" y="205"/>
                  </a:lnTo>
                  <a:lnTo>
                    <a:pt x="52" y="206"/>
                  </a:lnTo>
                  <a:lnTo>
                    <a:pt x="54" y="208"/>
                  </a:lnTo>
                  <a:lnTo>
                    <a:pt x="60" y="207"/>
                  </a:lnTo>
                  <a:lnTo>
                    <a:pt x="63" y="207"/>
                  </a:lnTo>
                  <a:lnTo>
                    <a:pt x="67" y="206"/>
                  </a:lnTo>
                  <a:lnTo>
                    <a:pt x="69" y="203"/>
                  </a:lnTo>
                  <a:lnTo>
                    <a:pt x="70" y="200"/>
                  </a:lnTo>
                  <a:lnTo>
                    <a:pt x="68" y="199"/>
                  </a:lnTo>
                  <a:lnTo>
                    <a:pt x="63" y="197"/>
                  </a:lnTo>
                  <a:lnTo>
                    <a:pt x="61" y="194"/>
                  </a:lnTo>
                  <a:lnTo>
                    <a:pt x="59" y="191"/>
                  </a:lnTo>
                  <a:lnTo>
                    <a:pt x="56" y="191"/>
                  </a:lnTo>
                  <a:lnTo>
                    <a:pt x="53" y="189"/>
                  </a:lnTo>
                  <a:lnTo>
                    <a:pt x="51" y="185"/>
                  </a:lnTo>
                  <a:lnTo>
                    <a:pt x="49" y="182"/>
                  </a:lnTo>
                  <a:lnTo>
                    <a:pt x="44" y="182"/>
                  </a:lnTo>
                  <a:lnTo>
                    <a:pt x="42" y="181"/>
                  </a:lnTo>
                  <a:lnTo>
                    <a:pt x="39" y="181"/>
                  </a:lnTo>
                  <a:lnTo>
                    <a:pt x="36" y="179"/>
                  </a:lnTo>
                  <a:lnTo>
                    <a:pt x="34" y="176"/>
                  </a:lnTo>
                  <a:lnTo>
                    <a:pt x="33" y="173"/>
                  </a:lnTo>
                  <a:lnTo>
                    <a:pt x="34" y="170"/>
                  </a:lnTo>
                  <a:lnTo>
                    <a:pt x="35" y="166"/>
                  </a:lnTo>
                  <a:lnTo>
                    <a:pt x="33" y="162"/>
                  </a:lnTo>
                  <a:lnTo>
                    <a:pt x="35" y="159"/>
                  </a:lnTo>
                  <a:lnTo>
                    <a:pt x="36" y="155"/>
                  </a:lnTo>
                  <a:lnTo>
                    <a:pt x="40" y="148"/>
                  </a:lnTo>
                  <a:lnTo>
                    <a:pt x="41" y="145"/>
                  </a:lnTo>
                  <a:lnTo>
                    <a:pt x="43" y="141"/>
                  </a:lnTo>
                  <a:lnTo>
                    <a:pt x="44" y="138"/>
                  </a:lnTo>
                  <a:lnTo>
                    <a:pt x="45" y="127"/>
                  </a:lnTo>
                  <a:lnTo>
                    <a:pt x="45" y="124"/>
                  </a:lnTo>
                  <a:lnTo>
                    <a:pt x="42" y="123"/>
                  </a:lnTo>
                  <a:lnTo>
                    <a:pt x="40" y="122"/>
                  </a:lnTo>
                  <a:lnTo>
                    <a:pt x="36" y="122"/>
                  </a:lnTo>
                  <a:lnTo>
                    <a:pt x="34" y="123"/>
                  </a:lnTo>
                  <a:lnTo>
                    <a:pt x="26" y="127"/>
                  </a:lnTo>
                  <a:lnTo>
                    <a:pt x="24" y="128"/>
                  </a:lnTo>
                  <a:lnTo>
                    <a:pt x="20" y="126"/>
                  </a:lnTo>
                  <a:lnTo>
                    <a:pt x="22" y="123"/>
                  </a:lnTo>
                  <a:lnTo>
                    <a:pt x="25" y="125"/>
                  </a:lnTo>
                  <a:lnTo>
                    <a:pt x="27" y="121"/>
                  </a:lnTo>
                  <a:lnTo>
                    <a:pt x="26" y="118"/>
                  </a:lnTo>
                  <a:lnTo>
                    <a:pt x="25" y="118"/>
                  </a:lnTo>
                  <a:lnTo>
                    <a:pt x="25" y="115"/>
                  </a:lnTo>
                  <a:lnTo>
                    <a:pt x="24" y="110"/>
                  </a:lnTo>
                  <a:lnTo>
                    <a:pt x="24" y="107"/>
                  </a:lnTo>
                  <a:lnTo>
                    <a:pt x="21" y="104"/>
                  </a:lnTo>
                  <a:lnTo>
                    <a:pt x="22" y="103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2" y="100"/>
                  </a:lnTo>
                  <a:lnTo>
                    <a:pt x="35" y="99"/>
                  </a:lnTo>
                  <a:lnTo>
                    <a:pt x="37" y="99"/>
                  </a:lnTo>
                  <a:lnTo>
                    <a:pt x="43" y="98"/>
                  </a:lnTo>
                  <a:lnTo>
                    <a:pt x="44" y="95"/>
                  </a:lnTo>
                  <a:lnTo>
                    <a:pt x="40" y="91"/>
                  </a:lnTo>
                  <a:lnTo>
                    <a:pt x="27" y="89"/>
                  </a:lnTo>
                  <a:lnTo>
                    <a:pt x="24" y="88"/>
                  </a:lnTo>
                  <a:lnTo>
                    <a:pt x="22" y="86"/>
                  </a:lnTo>
                  <a:lnTo>
                    <a:pt x="18" y="84"/>
                  </a:lnTo>
                  <a:lnTo>
                    <a:pt x="16" y="83"/>
                  </a:lnTo>
                  <a:lnTo>
                    <a:pt x="14" y="81"/>
                  </a:lnTo>
                  <a:lnTo>
                    <a:pt x="17" y="79"/>
                  </a:lnTo>
                  <a:lnTo>
                    <a:pt x="15" y="75"/>
                  </a:lnTo>
                  <a:lnTo>
                    <a:pt x="15" y="70"/>
                  </a:lnTo>
                  <a:lnTo>
                    <a:pt x="19" y="70"/>
                  </a:lnTo>
                  <a:lnTo>
                    <a:pt x="20" y="67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9" y="66"/>
                  </a:lnTo>
                  <a:lnTo>
                    <a:pt x="6" y="63"/>
                  </a:lnTo>
                  <a:lnTo>
                    <a:pt x="6" y="60"/>
                  </a:lnTo>
                  <a:lnTo>
                    <a:pt x="10" y="56"/>
                  </a:lnTo>
                  <a:lnTo>
                    <a:pt x="9" y="53"/>
                  </a:lnTo>
                  <a:lnTo>
                    <a:pt x="5" y="51"/>
                  </a:lnTo>
                  <a:lnTo>
                    <a:pt x="5" y="48"/>
                  </a:lnTo>
                  <a:lnTo>
                    <a:pt x="2" y="44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3" y="38"/>
                  </a:lnTo>
                  <a:lnTo>
                    <a:pt x="1" y="35"/>
                  </a:lnTo>
                  <a:lnTo>
                    <a:pt x="2" y="31"/>
                  </a:lnTo>
                  <a:lnTo>
                    <a:pt x="6" y="31"/>
                  </a:lnTo>
                  <a:lnTo>
                    <a:pt x="12" y="27"/>
                  </a:lnTo>
                  <a:lnTo>
                    <a:pt x="24" y="24"/>
                  </a:lnTo>
                  <a:lnTo>
                    <a:pt x="27" y="23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4" y="16"/>
                  </a:lnTo>
                  <a:lnTo>
                    <a:pt x="37" y="14"/>
                  </a:lnTo>
                  <a:lnTo>
                    <a:pt x="39" y="10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5" y="3"/>
                  </a:lnTo>
                  <a:lnTo>
                    <a:pt x="48" y="2"/>
                  </a:lnTo>
                  <a:lnTo>
                    <a:pt x="51" y="2"/>
                  </a:lnTo>
                  <a:lnTo>
                    <a:pt x="57" y="6"/>
                  </a:lnTo>
                  <a:lnTo>
                    <a:pt x="64" y="2"/>
                  </a:lnTo>
                  <a:lnTo>
                    <a:pt x="66" y="1"/>
                  </a:lnTo>
                  <a:lnTo>
                    <a:pt x="70" y="1"/>
                  </a:lnTo>
                  <a:lnTo>
                    <a:pt x="73" y="2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DDEBE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39" name="SK">
              <a:extLst>
                <a:ext uri="{FF2B5EF4-FFF2-40B4-BE49-F238E27FC236}">
                  <a16:creationId xmlns:a16="http://schemas.microsoft.com/office/drawing/2014/main" id="{08BFAACA-3DA5-964F-F8B4-7C72484E2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220" y="4517912"/>
              <a:ext cx="648260" cy="333891"/>
            </a:xfrm>
            <a:custGeom>
              <a:avLst/>
              <a:gdLst>
                <a:gd name="T0" fmla="*/ 289 w 340"/>
                <a:gd name="T1" fmla="*/ 6 h 187"/>
                <a:gd name="T2" fmla="*/ 301 w 340"/>
                <a:gd name="T3" fmla="*/ 8 h 187"/>
                <a:gd name="T4" fmla="*/ 313 w 340"/>
                <a:gd name="T5" fmla="*/ 17 h 187"/>
                <a:gd name="T6" fmla="*/ 323 w 340"/>
                <a:gd name="T7" fmla="*/ 21 h 187"/>
                <a:gd name="T8" fmla="*/ 340 w 340"/>
                <a:gd name="T9" fmla="*/ 23 h 187"/>
                <a:gd name="T10" fmla="*/ 336 w 340"/>
                <a:gd name="T11" fmla="*/ 38 h 187"/>
                <a:gd name="T12" fmla="*/ 332 w 340"/>
                <a:gd name="T13" fmla="*/ 57 h 187"/>
                <a:gd name="T14" fmla="*/ 328 w 340"/>
                <a:gd name="T15" fmla="*/ 69 h 187"/>
                <a:gd name="T16" fmla="*/ 325 w 340"/>
                <a:gd name="T17" fmla="*/ 83 h 187"/>
                <a:gd name="T18" fmla="*/ 314 w 340"/>
                <a:gd name="T19" fmla="*/ 94 h 187"/>
                <a:gd name="T20" fmla="*/ 301 w 340"/>
                <a:gd name="T21" fmla="*/ 99 h 187"/>
                <a:gd name="T22" fmla="*/ 286 w 340"/>
                <a:gd name="T23" fmla="*/ 86 h 187"/>
                <a:gd name="T24" fmla="*/ 272 w 340"/>
                <a:gd name="T25" fmla="*/ 88 h 187"/>
                <a:gd name="T26" fmla="*/ 259 w 340"/>
                <a:gd name="T27" fmla="*/ 90 h 187"/>
                <a:gd name="T28" fmla="*/ 245 w 340"/>
                <a:gd name="T29" fmla="*/ 89 h 187"/>
                <a:gd name="T30" fmla="*/ 223 w 340"/>
                <a:gd name="T31" fmla="*/ 97 h 187"/>
                <a:gd name="T32" fmla="*/ 217 w 340"/>
                <a:gd name="T33" fmla="*/ 115 h 187"/>
                <a:gd name="T34" fmla="*/ 205 w 340"/>
                <a:gd name="T35" fmla="*/ 123 h 187"/>
                <a:gd name="T36" fmla="*/ 194 w 340"/>
                <a:gd name="T37" fmla="*/ 135 h 187"/>
                <a:gd name="T38" fmla="*/ 184 w 340"/>
                <a:gd name="T39" fmla="*/ 132 h 187"/>
                <a:gd name="T40" fmla="*/ 169 w 340"/>
                <a:gd name="T41" fmla="*/ 131 h 187"/>
                <a:gd name="T42" fmla="*/ 154 w 340"/>
                <a:gd name="T43" fmla="*/ 144 h 187"/>
                <a:gd name="T44" fmla="*/ 136 w 340"/>
                <a:gd name="T45" fmla="*/ 149 h 187"/>
                <a:gd name="T46" fmla="*/ 123 w 340"/>
                <a:gd name="T47" fmla="*/ 161 h 187"/>
                <a:gd name="T48" fmla="*/ 124 w 340"/>
                <a:gd name="T49" fmla="*/ 174 h 187"/>
                <a:gd name="T50" fmla="*/ 112 w 340"/>
                <a:gd name="T51" fmla="*/ 177 h 187"/>
                <a:gd name="T52" fmla="*/ 84 w 340"/>
                <a:gd name="T53" fmla="*/ 183 h 187"/>
                <a:gd name="T54" fmla="*/ 55 w 340"/>
                <a:gd name="T55" fmla="*/ 181 h 187"/>
                <a:gd name="T56" fmla="*/ 44 w 340"/>
                <a:gd name="T57" fmla="*/ 175 h 187"/>
                <a:gd name="T58" fmla="*/ 23 w 340"/>
                <a:gd name="T59" fmla="*/ 167 h 187"/>
                <a:gd name="T60" fmla="*/ 15 w 340"/>
                <a:gd name="T61" fmla="*/ 156 h 187"/>
                <a:gd name="T62" fmla="*/ 8 w 340"/>
                <a:gd name="T63" fmla="*/ 145 h 187"/>
                <a:gd name="T64" fmla="*/ 1 w 340"/>
                <a:gd name="T65" fmla="*/ 136 h 187"/>
                <a:gd name="T66" fmla="*/ 4 w 340"/>
                <a:gd name="T67" fmla="*/ 120 h 187"/>
                <a:gd name="T68" fmla="*/ 8 w 340"/>
                <a:gd name="T69" fmla="*/ 98 h 187"/>
                <a:gd name="T70" fmla="*/ 19 w 340"/>
                <a:gd name="T71" fmla="*/ 86 h 187"/>
                <a:gd name="T72" fmla="*/ 35 w 340"/>
                <a:gd name="T73" fmla="*/ 87 h 187"/>
                <a:gd name="T74" fmla="*/ 58 w 340"/>
                <a:gd name="T75" fmla="*/ 77 h 187"/>
                <a:gd name="T76" fmla="*/ 66 w 340"/>
                <a:gd name="T77" fmla="*/ 67 h 187"/>
                <a:gd name="T78" fmla="*/ 70 w 340"/>
                <a:gd name="T79" fmla="*/ 50 h 187"/>
                <a:gd name="T80" fmla="*/ 86 w 340"/>
                <a:gd name="T81" fmla="*/ 34 h 187"/>
                <a:gd name="T82" fmla="*/ 93 w 340"/>
                <a:gd name="T83" fmla="*/ 24 h 187"/>
                <a:gd name="T84" fmla="*/ 105 w 340"/>
                <a:gd name="T85" fmla="*/ 19 h 187"/>
                <a:gd name="T86" fmla="*/ 119 w 340"/>
                <a:gd name="T87" fmla="*/ 19 h 187"/>
                <a:gd name="T88" fmla="*/ 128 w 340"/>
                <a:gd name="T89" fmla="*/ 24 h 187"/>
                <a:gd name="T90" fmla="*/ 136 w 340"/>
                <a:gd name="T91" fmla="*/ 12 h 187"/>
                <a:gd name="T92" fmla="*/ 151 w 340"/>
                <a:gd name="T93" fmla="*/ 8 h 187"/>
                <a:gd name="T94" fmla="*/ 160 w 340"/>
                <a:gd name="T95" fmla="*/ 20 h 187"/>
                <a:gd name="T96" fmla="*/ 170 w 340"/>
                <a:gd name="T97" fmla="*/ 23 h 187"/>
                <a:gd name="T98" fmla="*/ 172 w 340"/>
                <a:gd name="T99" fmla="*/ 38 h 187"/>
                <a:gd name="T100" fmla="*/ 186 w 340"/>
                <a:gd name="T101" fmla="*/ 37 h 187"/>
                <a:gd name="T102" fmla="*/ 192 w 340"/>
                <a:gd name="T103" fmla="*/ 24 h 187"/>
                <a:gd name="T104" fmla="*/ 205 w 340"/>
                <a:gd name="T105" fmla="*/ 16 h 187"/>
                <a:gd name="T106" fmla="*/ 223 w 340"/>
                <a:gd name="T107" fmla="*/ 11 h 187"/>
                <a:gd name="T108" fmla="*/ 240 w 340"/>
                <a:gd name="T109" fmla="*/ 19 h 187"/>
                <a:gd name="T110" fmla="*/ 246 w 340"/>
                <a:gd name="T111" fmla="*/ 9 h 187"/>
                <a:gd name="T112" fmla="*/ 259 w 340"/>
                <a:gd name="T113" fmla="*/ 2 h 187"/>
                <a:gd name="T114" fmla="*/ 278 w 340"/>
                <a:gd name="T11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0" h="187">
                  <a:moveTo>
                    <a:pt x="278" y="0"/>
                  </a:moveTo>
                  <a:lnTo>
                    <a:pt x="281" y="2"/>
                  </a:lnTo>
                  <a:lnTo>
                    <a:pt x="284" y="2"/>
                  </a:lnTo>
                  <a:lnTo>
                    <a:pt x="289" y="6"/>
                  </a:lnTo>
                  <a:lnTo>
                    <a:pt x="291" y="3"/>
                  </a:lnTo>
                  <a:lnTo>
                    <a:pt x="293" y="3"/>
                  </a:lnTo>
                  <a:lnTo>
                    <a:pt x="299" y="6"/>
                  </a:lnTo>
                  <a:lnTo>
                    <a:pt x="301" y="8"/>
                  </a:lnTo>
                  <a:lnTo>
                    <a:pt x="305" y="10"/>
                  </a:lnTo>
                  <a:lnTo>
                    <a:pt x="306" y="13"/>
                  </a:lnTo>
                  <a:lnTo>
                    <a:pt x="307" y="16"/>
                  </a:lnTo>
                  <a:lnTo>
                    <a:pt x="313" y="17"/>
                  </a:lnTo>
                  <a:lnTo>
                    <a:pt x="316" y="18"/>
                  </a:lnTo>
                  <a:lnTo>
                    <a:pt x="318" y="18"/>
                  </a:lnTo>
                  <a:lnTo>
                    <a:pt x="320" y="21"/>
                  </a:lnTo>
                  <a:lnTo>
                    <a:pt x="323" y="21"/>
                  </a:lnTo>
                  <a:lnTo>
                    <a:pt x="327" y="21"/>
                  </a:lnTo>
                  <a:lnTo>
                    <a:pt x="331" y="23"/>
                  </a:lnTo>
                  <a:lnTo>
                    <a:pt x="333" y="23"/>
                  </a:lnTo>
                  <a:lnTo>
                    <a:pt x="340" y="23"/>
                  </a:lnTo>
                  <a:lnTo>
                    <a:pt x="340" y="27"/>
                  </a:lnTo>
                  <a:lnTo>
                    <a:pt x="339" y="32"/>
                  </a:lnTo>
                  <a:lnTo>
                    <a:pt x="336" y="34"/>
                  </a:lnTo>
                  <a:lnTo>
                    <a:pt x="336" y="38"/>
                  </a:lnTo>
                  <a:lnTo>
                    <a:pt x="335" y="42"/>
                  </a:lnTo>
                  <a:lnTo>
                    <a:pt x="333" y="45"/>
                  </a:lnTo>
                  <a:lnTo>
                    <a:pt x="334" y="53"/>
                  </a:lnTo>
                  <a:lnTo>
                    <a:pt x="332" y="57"/>
                  </a:lnTo>
                  <a:lnTo>
                    <a:pt x="333" y="60"/>
                  </a:lnTo>
                  <a:lnTo>
                    <a:pt x="331" y="64"/>
                  </a:lnTo>
                  <a:lnTo>
                    <a:pt x="329" y="66"/>
                  </a:lnTo>
                  <a:lnTo>
                    <a:pt x="328" y="69"/>
                  </a:lnTo>
                  <a:lnTo>
                    <a:pt x="324" y="73"/>
                  </a:lnTo>
                  <a:lnTo>
                    <a:pt x="324" y="76"/>
                  </a:lnTo>
                  <a:lnTo>
                    <a:pt x="325" y="80"/>
                  </a:lnTo>
                  <a:lnTo>
                    <a:pt x="325" y="83"/>
                  </a:lnTo>
                  <a:lnTo>
                    <a:pt x="328" y="88"/>
                  </a:lnTo>
                  <a:lnTo>
                    <a:pt x="324" y="92"/>
                  </a:lnTo>
                  <a:lnTo>
                    <a:pt x="319" y="93"/>
                  </a:lnTo>
                  <a:lnTo>
                    <a:pt x="314" y="94"/>
                  </a:lnTo>
                  <a:lnTo>
                    <a:pt x="311" y="96"/>
                  </a:lnTo>
                  <a:lnTo>
                    <a:pt x="309" y="97"/>
                  </a:lnTo>
                  <a:lnTo>
                    <a:pt x="306" y="99"/>
                  </a:lnTo>
                  <a:lnTo>
                    <a:pt x="301" y="99"/>
                  </a:lnTo>
                  <a:lnTo>
                    <a:pt x="298" y="97"/>
                  </a:lnTo>
                  <a:lnTo>
                    <a:pt x="294" y="92"/>
                  </a:lnTo>
                  <a:lnTo>
                    <a:pt x="292" y="87"/>
                  </a:lnTo>
                  <a:lnTo>
                    <a:pt x="286" y="86"/>
                  </a:lnTo>
                  <a:lnTo>
                    <a:pt x="283" y="83"/>
                  </a:lnTo>
                  <a:lnTo>
                    <a:pt x="280" y="82"/>
                  </a:lnTo>
                  <a:lnTo>
                    <a:pt x="273" y="85"/>
                  </a:lnTo>
                  <a:lnTo>
                    <a:pt x="272" y="88"/>
                  </a:lnTo>
                  <a:lnTo>
                    <a:pt x="269" y="88"/>
                  </a:lnTo>
                  <a:lnTo>
                    <a:pt x="266" y="88"/>
                  </a:lnTo>
                  <a:lnTo>
                    <a:pt x="260" y="91"/>
                  </a:lnTo>
                  <a:lnTo>
                    <a:pt x="259" y="90"/>
                  </a:lnTo>
                  <a:lnTo>
                    <a:pt x="255" y="90"/>
                  </a:lnTo>
                  <a:lnTo>
                    <a:pt x="252" y="90"/>
                  </a:lnTo>
                  <a:lnTo>
                    <a:pt x="248" y="89"/>
                  </a:lnTo>
                  <a:lnTo>
                    <a:pt x="245" y="89"/>
                  </a:lnTo>
                  <a:lnTo>
                    <a:pt x="242" y="87"/>
                  </a:lnTo>
                  <a:lnTo>
                    <a:pt x="228" y="92"/>
                  </a:lnTo>
                  <a:lnTo>
                    <a:pt x="224" y="93"/>
                  </a:lnTo>
                  <a:lnTo>
                    <a:pt x="223" y="97"/>
                  </a:lnTo>
                  <a:lnTo>
                    <a:pt x="221" y="102"/>
                  </a:lnTo>
                  <a:lnTo>
                    <a:pt x="219" y="105"/>
                  </a:lnTo>
                  <a:lnTo>
                    <a:pt x="218" y="112"/>
                  </a:lnTo>
                  <a:lnTo>
                    <a:pt x="217" y="115"/>
                  </a:lnTo>
                  <a:lnTo>
                    <a:pt x="214" y="120"/>
                  </a:lnTo>
                  <a:lnTo>
                    <a:pt x="212" y="121"/>
                  </a:lnTo>
                  <a:lnTo>
                    <a:pt x="208" y="122"/>
                  </a:lnTo>
                  <a:lnTo>
                    <a:pt x="205" y="123"/>
                  </a:lnTo>
                  <a:lnTo>
                    <a:pt x="204" y="126"/>
                  </a:lnTo>
                  <a:lnTo>
                    <a:pt x="200" y="130"/>
                  </a:lnTo>
                  <a:lnTo>
                    <a:pt x="196" y="132"/>
                  </a:lnTo>
                  <a:lnTo>
                    <a:pt x="194" y="135"/>
                  </a:lnTo>
                  <a:lnTo>
                    <a:pt x="191" y="136"/>
                  </a:lnTo>
                  <a:lnTo>
                    <a:pt x="187" y="134"/>
                  </a:lnTo>
                  <a:lnTo>
                    <a:pt x="185" y="135"/>
                  </a:lnTo>
                  <a:lnTo>
                    <a:pt x="184" y="132"/>
                  </a:lnTo>
                  <a:lnTo>
                    <a:pt x="181" y="130"/>
                  </a:lnTo>
                  <a:lnTo>
                    <a:pt x="178" y="131"/>
                  </a:lnTo>
                  <a:lnTo>
                    <a:pt x="174" y="129"/>
                  </a:lnTo>
                  <a:lnTo>
                    <a:pt x="169" y="131"/>
                  </a:lnTo>
                  <a:lnTo>
                    <a:pt x="167" y="137"/>
                  </a:lnTo>
                  <a:lnTo>
                    <a:pt x="167" y="141"/>
                  </a:lnTo>
                  <a:lnTo>
                    <a:pt x="164" y="144"/>
                  </a:lnTo>
                  <a:lnTo>
                    <a:pt x="154" y="144"/>
                  </a:lnTo>
                  <a:lnTo>
                    <a:pt x="151" y="147"/>
                  </a:lnTo>
                  <a:lnTo>
                    <a:pt x="143" y="147"/>
                  </a:lnTo>
                  <a:lnTo>
                    <a:pt x="139" y="148"/>
                  </a:lnTo>
                  <a:lnTo>
                    <a:pt x="136" y="149"/>
                  </a:lnTo>
                  <a:lnTo>
                    <a:pt x="126" y="153"/>
                  </a:lnTo>
                  <a:lnTo>
                    <a:pt x="125" y="157"/>
                  </a:lnTo>
                  <a:lnTo>
                    <a:pt x="123" y="158"/>
                  </a:lnTo>
                  <a:lnTo>
                    <a:pt x="123" y="161"/>
                  </a:lnTo>
                  <a:lnTo>
                    <a:pt x="123" y="165"/>
                  </a:lnTo>
                  <a:lnTo>
                    <a:pt x="123" y="168"/>
                  </a:lnTo>
                  <a:lnTo>
                    <a:pt x="126" y="172"/>
                  </a:lnTo>
                  <a:lnTo>
                    <a:pt x="124" y="174"/>
                  </a:lnTo>
                  <a:lnTo>
                    <a:pt x="121" y="177"/>
                  </a:lnTo>
                  <a:lnTo>
                    <a:pt x="117" y="177"/>
                  </a:lnTo>
                  <a:lnTo>
                    <a:pt x="115" y="177"/>
                  </a:lnTo>
                  <a:lnTo>
                    <a:pt x="112" y="177"/>
                  </a:lnTo>
                  <a:lnTo>
                    <a:pt x="100" y="180"/>
                  </a:lnTo>
                  <a:lnTo>
                    <a:pt x="95" y="182"/>
                  </a:lnTo>
                  <a:lnTo>
                    <a:pt x="93" y="183"/>
                  </a:lnTo>
                  <a:lnTo>
                    <a:pt x="84" y="183"/>
                  </a:lnTo>
                  <a:lnTo>
                    <a:pt x="67" y="187"/>
                  </a:lnTo>
                  <a:lnTo>
                    <a:pt x="61" y="186"/>
                  </a:lnTo>
                  <a:lnTo>
                    <a:pt x="57" y="183"/>
                  </a:lnTo>
                  <a:lnTo>
                    <a:pt x="55" y="181"/>
                  </a:lnTo>
                  <a:lnTo>
                    <a:pt x="52" y="179"/>
                  </a:lnTo>
                  <a:lnTo>
                    <a:pt x="50" y="179"/>
                  </a:lnTo>
                  <a:lnTo>
                    <a:pt x="47" y="176"/>
                  </a:lnTo>
                  <a:lnTo>
                    <a:pt x="44" y="175"/>
                  </a:lnTo>
                  <a:lnTo>
                    <a:pt x="34" y="166"/>
                  </a:lnTo>
                  <a:lnTo>
                    <a:pt x="30" y="166"/>
                  </a:lnTo>
                  <a:lnTo>
                    <a:pt x="27" y="165"/>
                  </a:lnTo>
                  <a:lnTo>
                    <a:pt x="23" y="167"/>
                  </a:lnTo>
                  <a:lnTo>
                    <a:pt x="19" y="165"/>
                  </a:lnTo>
                  <a:lnTo>
                    <a:pt x="17" y="162"/>
                  </a:lnTo>
                  <a:lnTo>
                    <a:pt x="18" y="159"/>
                  </a:lnTo>
                  <a:lnTo>
                    <a:pt x="15" y="156"/>
                  </a:lnTo>
                  <a:lnTo>
                    <a:pt x="12" y="155"/>
                  </a:lnTo>
                  <a:lnTo>
                    <a:pt x="10" y="152"/>
                  </a:lnTo>
                  <a:lnTo>
                    <a:pt x="9" y="148"/>
                  </a:lnTo>
                  <a:lnTo>
                    <a:pt x="8" y="145"/>
                  </a:lnTo>
                  <a:lnTo>
                    <a:pt x="6" y="142"/>
                  </a:lnTo>
                  <a:lnTo>
                    <a:pt x="4" y="140"/>
                  </a:lnTo>
                  <a:lnTo>
                    <a:pt x="3" y="137"/>
                  </a:lnTo>
                  <a:lnTo>
                    <a:pt x="1" y="136"/>
                  </a:lnTo>
                  <a:lnTo>
                    <a:pt x="0" y="133"/>
                  </a:lnTo>
                  <a:lnTo>
                    <a:pt x="1" y="127"/>
                  </a:lnTo>
                  <a:lnTo>
                    <a:pt x="2" y="123"/>
                  </a:lnTo>
                  <a:lnTo>
                    <a:pt x="4" y="120"/>
                  </a:lnTo>
                  <a:lnTo>
                    <a:pt x="5" y="117"/>
                  </a:lnTo>
                  <a:lnTo>
                    <a:pt x="4" y="112"/>
                  </a:lnTo>
                  <a:lnTo>
                    <a:pt x="6" y="108"/>
                  </a:lnTo>
                  <a:lnTo>
                    <a:pt x="8" y="98"/>
                  </a:lnTo>
                  <a:lnTo>
                    <a:pt x="12" y="93"/>
                  </a:lnTo>
                  <a:lnTo>
                    <a:pt x="12" y="90"/>
                  </a:lnTo>
                  <a:lnTo>
                    <a:pt x="16" y="87"/>
                  </a:lnTo>
                  <a:lnTo>
                    <a:pt x="19" y="86"/>
                  </a:lnTo>
                  <a:lnTo>
                    <a:pt x="22" y="87"/>
                  </a:lnTo>
                  <a:lnTo>
                    <a:pt x="29" y="90"/>
                  </a:lnTo>
                  <a:lnTo>
                    <a:pt x="32" y="88"/>
                  </a:lnTo>
                  <a:lnTo>
                    <a:pt x="35" y="87"/>
                  </a:lnTo>
                  <a:lnTo>
                    <a:pt x="39" y="89"/>
                  </a:lnTo>
                  <a:lnTo>
                    <a:pt x="50" y="84"/>
                  </a:lnTo>
                  <a:lnTo>
                    <a:pt x="53" y="79"/>
                  </a:lnTo>
                  <a:lnTo>
                    <a:pt x="58" y="77"/>
                  </a:lnTo>
                  <a:lnTo>
                    <a:pt x="59" y="72"/>
                  </a:lnTo>
                  <a:lnTo>
                    <a:pt x="60" y="69"/>
                  </a:lnTo>
                  <a:lnTo>
                    <a:pt x="63" y="68"/>
                  </a:lnTo>
                  <a:lnTo>
                    <a:pt x="66" y="67"/>
                  </a:lnTo>
                  <a:lnTo>
                    <a:pt x="69" y="64"/>
                  </a:lnTo>
                  <a:lnTo>
                    <a:pt x="71" y="60"/>
                  </a:lnTo>
                  <a:lnTo>
                    <a:pt x="70" y="53"/>
                  </a:lnTo>
                  <a:lnTo>
                    <a:pt x="70" y="50"/>
                  </a:lnTo>
                  <a:lnTo>
                    <a:pt x="71" y="46"/>
                  </a:lnTo>
                  <a:lnTo>
                    <a:pt x="74" y="42"/>
                  </a:lnTo>
                  <a:lnTo>
                    <a:pt x="82" y="38"/>
                  </a:lnTo>
                  <a:lnTo>
                    <a:pt x="86" y="34"/>
                  </a:lnTo>
                  <a:lnTo>
                    <a:pt x="86" y="30"/>
                  </a:lnTo>
                  <a:lnTo>
                    <a:pt x="89" y="29"/>
                  </a:lnTo>
                  <a:lnTo>
                    <a:pt x="91" y="26"/>
                  </a:lnTo>
                  <a:lnTo>
                    <a:pt x="93" y="24"/>
                  </a:lnTo>
                  <a:lnTo>
                    <a:pt x="93" y="21"/>
                  </a:lnTo>
                  <a:lnTo>
                    <a:pt x="99" y="18"/>
                  </a:lnTo>
                  <a:lnTo>
                    <a:pt x="102" y="19"/>
                  </a:lnTo>
                  <a:lnTo>
                    <a:pt x="105" y="19"/>
                  </a:lnTo>
                  <a:lnTo>
                    <a:pt x="108" y="16"/>
                  </a:lnTo>
                  <a:lnTo>
                    <a:pt x="111" y="16"/>
                  </a:lnTo>
                  <a:lnTo>
                    <a:pt x="117" y="16"/>
                  </a:lnTo>
                  <a:lnTo>
                    <a:pt x="119" y="19"/>
                  </a:lnTo>
                  <a:lnTo>
                    <a:pt x="119" y="22"/>
                  </a:lnTo>
                  <a:lnTo>
                    <a:pt x="120" y="26"/>
                  </a:lnTo>
                  <a:lnTo>
                    <a:pt x="125" y="24"/>
                  </a:lnTo>
                  <a:lnTo>
                    <a:pt x="128" y="24"/>
                  </a:lnTo>
                  <a:lnTo>
                    <a:pt x="131" y="24"/>
                  </a:lnTo>
                  <a:lnTo>
                    <a:pt x="133" y="21"/>
                  </a:lnTo>
                  <a:lnTo>
                    <a:pt x="135" y="13"/>
                  </a:lnTo>
                  <a:lnTo>
                    <a:pt x="136" y="12"/>
                  </a:lnTo>
                  <a:lnTo>
                    <a:pt x="139" y="11"/>
                  </a:lnTo>
                  <a:lnTo>
                    <a:pt x="146" y="3"/>
                  </a:lnTo>
                  <a:lnTo>
                    <a:pt x="148" y="5"/>
                  </a:lnTo>
                  <a:lnTo>
                    <a:pt x="151" y="8"/>
                  </a:lnTo>
                  <a:lnTo>
                    <a:pt x="153" y="12"/>
                  </a:lnTo>
                  <a:lnTo>
                    <a:pt x="154" y="15"/>
                  </a:lnTo>
                  <a:lnTo>
                    <a:pt x="160" y="17"/>
                  </a:lnTo>
                  <a:lnTo>
                    <a:pt x="160" y="20"/>
                  </a:lnTo>
                  <a:lnTo>
                    <a:pt x="164" y="20"/>
                  </a:lnTo>
                  <a:lnTo>
                    <a:pt x="166" y="20"/>
                  </a:lnTo>
                  <a:lnTo>
                    <a:pt x="169" y="19"/>
                  </a:lnTo>
                  <a:lnTo>
                    <a:pt x="170" y="23"/>
                  </a:lnTo>
                  <a:lnTo>
                    <a:pt x="171" y="29"/>
                  </a:lnTo>
                  <a:lnTo>
                    <a:pt x="172" y="31"/>
                  </a:lnTo>
                  <a:lnTo>
                    <a:pt x="170" y="37"/>
                  </a:lnTo>
                  <a:lnTo>
                    <a:pt x="172" y="38"/>
                  </a:lnTo>
                  <a:lnTo>
                    <a:pt x="175" y="38"/>
                  </a:lnTo>
                  <a:lnTo>
                    <a:pt x="178" y="35"/>
                  </a:lnTo>
                  <a:lnTo>
                    <a:pt x="181" y="33"/>
                  </a:lnTo>
                  <a:lnTo>
                    <a:pt x="186" y="37"/>
                  </a:lnTo>
                  <a:lnTo>
                    <a:pt x="189" y="36"/>
                  </a:lnTo>
                  <a:lnTo>
                    <a:pt x="190" y="31"/>
                  </a:lnTo>
                  <a:lnTo>
                    <a:pt x="191" y="27"/>
                  </a:lnTo>
                  <a:lnTo>
                    <a:pt x="192" y="24"/>
                  </a:lnTo>
                  <a:lnTo>
                    <a:pt x="195" y="22"/>
                  </a:lnTo>
                  <a:lnTo>
                    <a:pt x="200" y="20"/>
                  </a:lnTo>
                  <a:lnTo>
                    <a:pt x="201" y="17"/>
                  </a:lnTo>
                  <a:lnTo>
                    <a:pt x="205" y="16"/>
                  </a:lnTo>
                  <a:lnTo>
                    <a:pt x="208" y="15"/>
                  </a:lnTo>
                  <a:lnTo>
                    <a:pt x="215" y="15"/>
                  </a:lnTo>
                  <a:lnTo>
                    <a:pt x="219" y="12"/>
                  </a:lnTo>
                  <a:lnTo>
                    <a:pt x="223" y="11"/>
                  </a:lnTo>
                  <a:lnTo>
                    <a:pt x="231" y="17"/>
                  </a:lnTo>
                  <a:lnTo>
                    <a:pt x="233" y="17"/>
                  </a:lnTo>
                  <a:lnTo>
                    <a:pt x="236" y="18"/>
                  </a:lnTo>
                  <a:lnTo>
                    <a:pt x="240" y="19"/>
                  </a:lnTo>
                  <a:lnTo>
                    <a:pt x="242" y="17"/>
                  </a:lnTo>
                  <a:lnTo>
                    <a:pt x="244" y="14"/>
                  </a:lnTo>
                  <a:lnTo>
                    <a:pt x="248" y="12"/>
                  </a:lnTo>
                  <a:lnTo>
                    <a:pt x="246" y="9"/>
                  </a:lnTo>
                  <a:lnTo>
                    <a:pt x="247" y="6"/>
                  </a:lnTo>
                  <a:lnTo>
                    <a:pt x="249" y="5"/>
                  </a:lnTo>
                  <a:lnTo>
                    <a:pt x="252" y="7"/>
                  </a:lnTo>
                  <a:lnTo>
                    <a:pt x="259" y="2"/>
                  </a:lnTo>
                  <a:lnTo>
                    <a:pt x="262" y="3"/>
                  </a:lnTo>
                  <a:lnTo>
                    <a:pt x="268" y="4"/>
                  </a:lnTo>
                  <a:lnTo>
                    <a:pt x="274" y="2"/>
                  </a:lnTo>
                  <a:lnTo>
                    <a:pt x="278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0" name="SI">
              <a:extLst>
                <a:ext uri="{FF2B5EF4-FFF2-40B4-BE49-F238E27FC236}">
                  <a16:creationId xmlns:a16="http://schemas.microsoft.com/office/drawing/2014/main" id="{3806F82B-B2D6-312E-8396-F1D9C5BFD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3644" y="5008360"/>
              <a:ext cx="380630" cy="256308"/>
            </a:xfrm>
            <a:custGeom>
              <a:avLst/>
              <a:gdLst>
                <a:gd name="T0" fmla="*/ 187 w 202"/>
                <a:gd name="T1" fmla="*/ 2 h 144"/>
                <a:gd name="T2" fmla="*/ 187 w 202"/>
                <a:gd name="T3" fmla="*/ 11 h 144"/>
                <a:gd name="T4" fmla="*/ 193 w 202"/>
                <a:gd name="T5" fmla="*/ 18 h 144"/>
                <a:gd name="T6" fmla="*/ 198 w 202"/>
                <a:gd name="T7" fmla="*/ 26 h 144"/>
                <a:gd name="T8" fmla="*/ 196 w 202"/>
                <a:gd name="T9" fmla="*/ 30 h 144"/>
                <a:gd name="T10" fmla="*/ 188 w 202"/>
                <a:gd name="T11" fmla="*/ 30 h 144"/>
                <a:gd name="T12" fmla="*/ 185 w 202"/>
                <a:gd name="T13" fmla="*/ 39 h 144"/>
                <a:gd name="T14" fmla="*/ 184 w 202"/>
                <a:gd name="T15" fmla="*/ 47 h 144"/>
                <a:gd name="T16" fmla="*/ 176 w 202"/>
                <a:gd name="T17" fmla="*/ 47 h 144"/>
                <a:gd name="T18" fmla="*/ 173 w 202"/>
                <a:gd name="T19" fmla="*/ 53 h 144"/>
                <a:gd name="T20" fmla="*/ 163 w 202"/>
                <a:gd name="T21" fmla="*/ 58 h 144"/>
                <a:gd name="T22" fmla="*/ 155 w 202"/>
                <a:gd name="T23" fmla="*/ 64 h 144"/>
                <a:gd name="T24" fmla="*/ 144 w 202"/>
                <a:gd name="T25" fmla="*/ 71 h 144"/>
                <a:gd name="T26" fmla="*/ 152 w 202"/>
                <a:gd name="T27" fmla="*/ 79 h 144"/>
                <a:gd name="T28" fmla="*/ 152 w 202"/>
                <a:gd name="T29" fmla="*/ 91 h 144"/>
                <a:gd name="T30" fmla="*/ 150 w 202"/>
                <a:gd name="T31" fmla="*/ 100 h 144"/>
                <a:gd name="T32" fmla="*/ 140 w 202"/>
                <a:gd name="T33" fmla="*/ 102 h 144"/>
                <a:gd name="T34" fmla="*/ 129 w 202"/>
                <a:gd name="T35" fmla="*/ 108 h 144"/>
                <a:gd name="T36" fmla="*/ 129 w 202"/>
                <a:gd name="T37" fmla="*/ 116 h 144"/>
                <a:gd name="T38" fmla="*/ 129 w 202"/>
                <a:gd name="T39" fmla="*/ 120 h 144"/>
                <a:gd name="T40" fmla="*/ 131 w 202"/>
                <a:gd name="T41" fmla="*/ 131 h 144"/>
                <a:gd name="T42" fmla="*/ 129 w 202"/>
                <a:gd name="T43" fmla="*/ 136 h 144"/>
                <a:gd name="T44" fmla="*/ 114 w 202"/>
                <a:gd name="T45" fmla="*/ 135 h 144"/>
                <a:gd name="T46" fmla="*/ 105 w 202"/>
                <a:gd name="T47" fmla="*/ 132 h 144"/>
                <a:gd name="T48" fmla="*/ 98 w 202"/>
                <a:gd name="T49" fmla="*/ 137 h 144"/>
                <a:gd name="T50" fmla="*/ 89 w 202"/>
                <a:gd name="T51" fmla="*/ 129 h 144"/>
                <a:gd name="T52" fmla="*/ 83 w 202"/>
                <a:gd name="T53" fmla="*/ 120 h 144"/>
                <a:gd name="T54" fmla="*/ 78 w 202"/>
                <a:gd name="T55" fmla="*/ 126 h 144"/>
                <a:gd name="T56" fmla="*/ 73 w 202"/>
                <a:gd name="T57" fmla="*/ 135 h 144"/>
                <a:gd name="T58" fmla="*/ 63 w 202"/>
                <a:gd name="T59" fmla="*/ 138 h 144"/>
                <a:gd name="T60" fmla="*/ 54 w 202"/>
                <a:gd name="T61" fmla="*/ 139 h 144"/>
                <a:gd name="T62" fmla="*/ 43 w 202"/>
                <a:gd name="T63" fmla="*/ 136 h 144"/>
                <a:gd name="T64" fmla="*/ 35 w 202"/>
                <a:gd name="T65" fmla="*/ 144 h 144"/>
                <a:gd name="T66" fmla="*/ 18 w 202"/>
                <a:gd name="T67" fmla="*/ 139 h 144"/>
                <a:gd name="T68" fmla="*/ 27 w 202"/>
                <a:gd name="T69" fmla="*/ 131 h 144"/>
                <a:gd name="T70" fmla="*/ 37 w 202"/>
                <a:gd name="T71" fmla="*/ 127 h 144"/>
                <a:gd name="T72" fmla="*/ 25 w 202"/>
                <a:gd name="T73" fmla="*/ 114 h 144"/>
                <a:gd name="T74" fmla="*/ 15 w 202"/>
                <a:gd name="T75" fmla="*/ 107 h 144"/>
                <a:gd name="T76" fmla="*/ 18 w 202"/>
                <a:gd name="T77" fmla="*/ 95 h 144"/>
                <a:gd name="T78" fmla="*/ 9 w 202"/>
                <a:gd name="T79" fmla="*/ 92 h 144"/>
                <a:gd name="T80" fmla="*/ 17 w 202"/>
                <a:gd name="T81" fmla="*/ 80 h 144"/>
                <a:gd name="T82" fmla="*/ 11 w 202"/>
                <a:gd name="T83" fmla="*/ 73 h 144"/>
                <a:gd name="T84" fmla="*/ 3 w 202"/>
                <a:gd name="T85" fmla="*/ 72 h 144"/>
                <a:gd name="T86" fmla="*/ 4 w 202"/>
                <a:gd name="T87" fmla="*/ 60 h 144"/>
                <a:gd name="T88" fmla="*/ 13 w 202"/>
                <a:gd name="T89" fmla="*/ 52 h 144"/>
                <a:gd name="T90" fmla="*/ 19 w 202"/>
                <a:gd name="T91" fmla="*/ 44 h 144"/>
                <a:gd name="T92" fmla="*/ 39 w 202"/>
                <a:gd name="T93" fmla="*/ 46 h 144"/>
                <a:gd name="T94" fmla="*/ 49 w 202"/>
                <a:gd name="T95" fmla="*/ 49 h 144"/>
                <a:gd name="T96" fmla="*/ 69 w 202"/>
                <a:gd name="T97" fmla="*/ 51 h 144"/>
                <a:gd name="T98" fmla="*/ 78 w 202"/>
                <a:gd name="T99" fmla="*/ 51 h 144"/>
                <a:gd name="T100" fmla="*/ 84 w 202"/>
                <a:gd name="T101" fmla="*/ 46 h 144"/>
                <a:gd name="T102" fmla="*/ 92 w 202"/>
                <a:gd name="T103" fmla="*/ 37 h 144"/>
                <a:gd name="T104" fmla="*/ 97 w 202"/>
                <a:gd name="T105" fmla="*/ 30 h 144"/>
                <a:gd name="T106" fmla="*/ 108 w 202"/>
                <a:gd name="T107" fmla="*/ 26 h 144"/>
                <a:gd name="T108" fmla="*/ 132 w 202"/>
                <a:gd name="T109" fmla="*/ 26 h 144"/>
                <a:gd name="T110" fmla="*/ 139 w 202"/>
                <a:gd name="T111" fmla="*/ 21 h 144"/>
                <a:gd name="T112" fmla="*/ 150 w 202"/>
                <a:gd name="T113" fmla="*/ 18 h 144"/>
                <a:gd name="T114" fmla="*/ 164 w 202"/>
                <a:gd name="T115" fmla="*/ 17 h 144"/>
                <a:gd name="T116" fmla="*/ 165 w 202"/>
                <a:gd name="T117" fmla="*/ 10 h 144"/>
                <a:gd name="T118" fmla="*/ 172 w 202"/>
                <a:gd name="T119" fmla="*/ 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144">
                  <a:moveTo>
                    <a:pt x="183" y="0"/>
                  </a:moveTo>
                  <a:lnTo>
                    <a:pt x="184" y="0"/>
                  </a:lnTo>
                  <a:lnTo>
                    <a:pt x="187" y="2"/>
                  </a:lnTo>
                  <a:lnTo>
                    <a:pt x="187" y="6"/>
                  </a:lnTo>
                  <a:lnTo>
                    <a:pt x="186" y="8"/>
                  </a:lnTo>
                  <a:lnTo>
                    <a:pt x="187" y="11"/>
                  </a:lnTo>
                  <a:lnTo>
                    <a:pt x="189" y="13"/>
                  </a:lnTo>
                  <a:lnTo>
                    <a:pt x="192" y="15"/>
                  </a:lnTo>
                  <a:lnTo>
                    <a:pt x="193" y="18"/>
                  </a:lnTo>
                  <a:lnTo>
                    <a:pt x="192" y="21"/>
                  </a:lnTo>
                  <a:lnTo>
                    <a:pt x="195" y="23"/>
                  </a:lnTo>
                  <a:lnTo>
                    <a:pt x="198" y="26"/>
                  </a:lnTo>
                  <a:lnTo>
                    <a:pt x="202" y="32"/>
                  </a:lnTo>
                  <a:lnTo>
                    <a:pt x="199" y="30"/>
                  </a:lnTo>
                  <a:lnTo>
                    <a:pt x="196" y="30"/>
                  </a:lnTo>
                  <a:lnTo>
                    <a:pt x="194" y="29"/>
                  </a:lnTo>
                  <a:lnTo>
                    <a:pt x="191" y="29"/>
                  </a:lnTo>
                  <a:lnTo>
                    <a:pt x="188" y="30"/>
                  </a:lnTo>
                  <a:lnTo>
                    <a:pt x="186" y="32"/>
                  </a:lnTo>
                  <a:lnTo>
                    <a:pt x="184" y="36"/>
                  </a:lnTo>
                  <a:lnTo>
                    <a:pt x="185" y="39"/>
                  </a:lnTo>
                  <a:lnTo>
                    <a:pt x="186" y="42"/>
                  </a:lnTo>
                  <a:lnTo>
                    <a:pt x="188" y="46"/>
                  </a:lnTo>
                  <a:lnTo>
                    <a:pt x="184" y="47"/>
                  </a:lnTo>
                  <a:lnTo>
                    <a:pt x="181" y="46"/>
                  </a:lnTo>
                  <a:lnTo>
                    <a:pt x="178" y="45"/>
                  </a:lnTo>
                  <a:lnTo>
                    <a:pt x="176" y="47"/>
                  </a:lnTo>
                  <a:lnTo>
                    <a:pt x="174" y="47"/>
                  </a:lnTo>
                  <a:lnTo>
                    <a:pt x="174" y="50"/>
                  </a:lnTo>
                  <a:lnTo>
                    <a:pt x="173" y="53"/>
                  </a:lnTo>
                  <a:lnTo>
                    <a:pt x="170" y="55"/>
                  </a:lnTo>
                  <a:lnTo>
                    <a:pt x="167" y="56"/>
                  </a:lnTo>
                  <a:lnTo>
                    <a:pt x="163" y="58"/>
                  </a:lnTo>
                  <a:lnTo>
                    <a:pt x="160" y="59"/>
                  </a:lnTo>
                  <a:lnTo>
                    <a:pt x="157" y="60"/>
                  </a:lnTo>
                  <a:lnTo>
                    <a:pt x="155" y="64"/>
                  </a:lnTo>
                  <a:lnTo>
                    <a:pt x="149" y="64"/>
                  </a:lnTo>
                  <a:lnTo>
                    <a:pt x="146" y="66"/>
                  </a:lnTo>
                  <a:lnTo>
                    <a:pt x="144" y="71"/>
                  </a:lnTo>
                  <a:lnTo>
                    <a:pt x="146" y="75"/>
                  </a:lnTo>
                  <a:lnTo>
                    <a:pt x="149" y="77"/>
                  </a:lnTo>
                  <a:lnTo>
                    <a:pt x="152" y="79"/>
                  </a:lnTo>
                  <a:lnTo>
                    <a:pt x="152" y="82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2" y="95"/>
                  </a:lnTo>
                  <a:lnTo>
                    <a:pt x="153" y="98"/>
                  </a:lnTo>
                  <a:lnTo>
                    <a:pt x="150" y="100"/>
                  </a:lnTo>
                  <a:lnTo>
                    <a:pt x="146" y="100"/>
                  </a:lnTo>
                  <a:lnTo>
                    <a:pt x="142" y="100"/>
                  </a:lnTo>
                  <a:lnTo>
                    <a:pt x="140" y="102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29" y="108"/>
                  </a:lnTo>
                  <a:lnTo>
                    <a:pt x="126" y="110"/>
                  </a:lnTo>
                  <a:lnTo>
                    <a:pt x="127" y="114"/>
                  </a:lnTo>
                  <a:lnTo>
                    <a:pt x="129" y="116"/>
                  </a:lnTo>
                  <a:lnTo>
                    <a:pt x="132" y="116"/>
                  </a:lnTo>
                  <a:lnTo>
                    <a:pt x="132" y="119"/>
                  </a:lnTo>
                  <a:lnTo>
                    <a:pt x="129" y="120"/>
                  </a:lnTo>
                  <a:lnTo>
                    <a:pt x="127" y="123"/>
                  </a:lnTo>
                  <a:lnTo>
                    <a:pt x="129" y="128"/>
                  </a:lnTo>
                  <a:lnTo>
                    <a:pt x="131" y="131"/>
                  </a:lnTo>
                  <a:lnTo>
                    <a:pt x="134" y="133"/>
                  </a:lnTo>
                  <a:lnTo>
                    <a:pt x="132" y="136"/>
                  </a:lnTo>
                  <a:lnTo>
                    <a:pt x="129" y="136"/>
                  </a:lnTo>
                  <a:lnTo>
                    <a:pt x="123" y="139"/>
                  </a:lnTo>
                  <a:lnTo>
                    <a:pt x="120" y="139"/>
                  </a:lnTo>
                  <a:lnTo>
                    <a:pt x="114" y="135"/>
                  </a:lnTo>
                  <a:lnTo>
                    <a:pt x="111" y="135"/>
                  </a:lnTo>
                  <a:lnTo>
                    <a:pt x="108" y="134"/>
                  </a:lnTo>
                  <a:lnTo>
                    <a:pt x="105" y="132"/>
                  </a:lnTo>
                  <a:lnTo>
                    <a:pt x="103" y="136"/>
                  </a:lnTo>
                  <a:lnTo>
                    <a:pt x="100" y="138"/>
                  </a:lnTo>
                  <a:lnTo>
                    <a:pt x="98" y="137"/>
                  </a:lnTo>
                  <a:lnTo>
                    <a:pt x="96" y="135"/>
                  </a:lnTo>
                  <a:lnTo>
                    <a:pt x="90" y="132"/>
                  </a:lnTo>
                  <a:lnTo>
                    <a:pt x="89" y="129"/>
                  </a:lnTo>
                  <a:lnTo>
                    <a:pt x="85" y="126"/>
                  </a:lnTo>
                  <a:lnTo>
                    <a:pt x="83" y="123"/>
                  </a:lnTo>
                  <a:lnTo>
                    <a:pt x="83" y="120"/>
                  </a:lnTo>
                  <a:lnTo>
                    <a:pt x="81" y="121"/>
                  </a:lnTo>
                  <a:lnTo>
                    <a:pt x="80" y="124"/>
                  </a:lnTo>
                  <a:lnTo>
                    <a:pt x="78" y="126"/>
                  </a:lnTo>
                  <a:lnTo>
                    <a:pt x="77" y="130"/>
                  </a:lnTo>
                  <a:lnTo>
                    <a:pt x="76" y="133"/>
                  </a:lnTo>
                  <a:lnTo>
                    <a:pt x="73" y="135"/>
                  </a:lnTo>
                  <a:lnTo>
                    <a:pt x="69" y="138"/>
                  </a:lnTo>
                  <a:lnTo>
                    <a:pt x="66" y="138"/>
                  </a:lnTo>
                  <a:lnTo>
                    <a:pt x="63" y="138"/>
                  </a:lnTo>
                  <a:lnTo>
                    <a:pt x="60" y="137"/>
                  </a:lnTo>
                  <a:lnTo>
                    <a:pt x="57" y="137"/>
                  </a:lnTo>
                  <a:lnTo>
                    <a:pt x="54" y="139"/>
                  </a:lnTo>
                  <a:lnTo>
                    <a:pt x="51" y="139"/>
                  </a:lnTo>
                  <a:lnTo>
                    <a:pt x="48" y="138"/>
                  </a:lnTo>
                  <a:lnTo>
                    <a:pt x="43" y="136"/>
                  </a:lnTo>
                  <a:lnTo>
                    <a:pt x="44" y="139"/>
                  </a:lnTo>
                  <a:lnTo>
                    <a:pt x="40" y="142"/>
                  </a:lnTo>
                  <a:lnTo>
                    <a:pt x="35" y="144"/>
                  </a:lnTo>
                  <a:lnTo>
                    <a:pt x="29" y="141"/>
                  </a:lnTo>
                  <a:lnTo>
                    <a:pt x="21" y="142"/>
                  </a:lnTo>
                  <a:lnTo>
                    <a:pt x="18" y="139"/>
                  </a:lnTo>
                  <a:lnTo>
                    <a:pt x="19" y="137"/>
                  </a:lnTo>
                  <a:lnTo>
                    <a:pt x="29" y="133"/>
                  </a:lnTo>
                  <a:lnTo>
                    <a:pt x="27" y="131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37" y="127"/>
                  </a:lnTo>
                  <a:lnTo>
                    <a:pt x="35" y="124"/>
                  </a:lnTo>
                  <a:lnTo>
                    <a:pt x="29" y="116"/>
                  </a:lnTo>
                  <a:lnTo>
                    <a:pt x="25" y="114"/>
                  </a:lnTo>
                  <a:lnTo>
                    <a:pt x="22" y="110"/>
                  </a:lnTo>
                  <a:lnTo>
                    <a:pt x="18" y="110"/>
                  </a:lnTo>
                  <a:lnTo>
                    <a:pt x="15" y="107"/>
                  </a:lnTo>
                  <a:lnTo>
                    <a:pt x="15" y="104"/>
                  </a:lnTo>
                  <a:lnTo>
                    <a:pt x="18" y="98"/>
                  </a:lnTo>
                  <a:lnTo>
                    <a:pt x="18" y="95"/>
                  </a:lnTo>
                  <a:lnTo>
                    <a:pt x="15" y="93"/>
                  </a:lnTo>
                  <a:lnTo>
                    <a:pt x="11" y="95"/>
                  </a:lnTo>
                  <a:lnTo>
                    <a:pt x="9" y="92"/>
                  </a:lnTo>
                  <a:lnTo>
                    <a:pt x="10" y="90"/>
                  </a:lnTo>
                  <a:lnTo>
                    <a:pt x="10" y="86"/>
                  </a:lnTo>
                  <a:lnTo>
                    <a:pt x="17" y="80"/>
                  </a:lnTo>
                  <a:lnTo>
                    <a:pt x="17" y="76"/>
                  </a:lnTo>
                  <a:lnTo>
                    <a:pt x="15" y="75"/>
                  </a:lnTo>
                  <a:lnTo>
                    <a:pt x="11" y="73"/>
                  </a:lnTo>
                  <a:lnTo>
                    <a:pt x="8" y="72"/>
                  </a:lnTo>
                  <a:lnTo>
                    <a:pt x="6" y="71"/>
                  </a:lnTo>
                  <a:lnTo>
                    <a:pt x="3" y="72"/>
                  </a:lnTo>
                  <a:lnTo>
                    <a:pt x="0" y="68"/>
                  </a:lnTo>
                  <a:lnTo>
                    <a:pt x="1" y="65"/>
                  </a:lnTo>
                  <a:lnTo>
                    <a:pt x="4" y="60"/>
                  </a:lnTo>
                  <a:lnTo>
                    <a:pt x="6" y="59"/>
                  </a:lnTo>
                  <a:lnTo>
                    <a:pt x="11" y="56"/>
                  </a:lnTo>
                  <a:lnTo>
                    <a:pt x="13" y="52"/>
                  </a:lnTo>
                  <a:lnTo>
                    <a:pt x="17" y="51"/>
                  </a:lnTo>
                  <a:lnTo>
                    <a:pt x="20" y="50"/>
                  </a:lnTo>
                  <a:lnTo>
                    <a:pt x="19" y="44"/>
                  </a:lnTo>
                  <a:lnTo>
                    <a:pt x="26" y="44"/>
                  </a:lnTo>
                  <a:lnTo>
                    <a:pt x="31" y="42"/>
                  </a:lnTo>
                  <a:lnTo>
                    <a:pt x="39" y="46"/>
                  </a:lnTo>
                  <a:lnTo>
                    <a:pt x="42" y="46"/>
                  </a:lnTo>
                  <a:lnTo>
                    <a:pt x="45" y="46"/>
                  </a:lnTo>
                  <a:lnTo>
                    <a:pt x="49" y="49"/>
                  </a:lnTo>
                  <a:lnTo>
                    <a:pt x="63" y="49"/>
                  </a:lnTo>
                  <a:lnTo>
                    <a:pt x="66" y="48"/>
                  </a:lnTo>
                  <a:lnTo>
                    <a:pt x="69" y="51"/>
                  </a:lnTo>
                  <a:lnTo>
                    <a:pt x="72" y="50"/>
                  </a:lnTo>
                  <a:lnTo>
                    <a:pt x="74" y="53"/>
                  </a:lnTo>
                  <a:lnTo>
                    <a:pt x="78" y="51"/>
                  </a:lnTo>
                  <a:lnTo>
                    <a:pt x="79" y="48"/>
                  </a:lnTo>
                  <a:lnTo>
                    <a:pt x="82" y="48"/>
                  </a:lnTo>
                  <a:lnTo>
                    <a:pt x="84" y="46"/>
                  </a:lnTo>
                  <a:lnTo>
                    <a:pt x="86" y="42"/>
                  </a:lnTo>
                  <a:lnTo>
                    <a:pt x="89" y="41"/>
                  </a:lnTo>
                  <a:lnTo>
                    <a:pt x="92" y="37"/>
                  </a:lnTo>
                  <a:lnTo>
                    <a:pt x="93" y="34"/>
                  </a:lnTo>
                  <a:lnTo>
                    <a:pt x="94" y="31"/>
                  </a:lnTo>
                  <a:lnTo>
                    <a:pt x="97" y="30"/>
                  </a:lnTo>
                  <a:lnTo>
                    <a:pt x="100" y="29"/>
                  </a:lnTo>
                  <a:lnTo>
                    <a:pt x="104" y="27"/>
                  </a:lnTo>
                  <a:lnTo>
                    <a:pt x="108" y="26"/>
                  </a:lnTo>
                  <a:lnTo>
                    <a:pt x="117" y="26"/>
                  </a:lnTo>
                  <a:lnTo>
                    <a:pt x="128" y="24"/>
                  </a:lnTo>
                  <a:lnTo>
                    <a:pt x="132" y="26"/>
                  </a:lnTo>
                  <a:lnTo>
                    <a:pt x="135" y="26"/>
                  </a:lnTo>
                  <a:lnTo>
                    <a:pt x="137" y="23"/>
                  </a:lnTo>
                  <a:lnTo>
                    <a:pt x="139" y="21"/>
                  </a:lnTo>
                  <a:lnTo>
                    <a:pt x="142" y="21"/>
                  </a:lnTo>
                  <a:lnTo>
                    <a:pt x="143" y="18"/>
                  </a:lnTo>
                  <a:lnTo>
                    <a:pt x="150" y="18"/>
                  </a:lnTo>
                  <a:lnTo>
                    <a:pt x="156" y="15"/>
                  </a:lnTo>
                  <a:lnTo>
                    <a:pt x="160" y="15"/>
                  </a:lnTo>
                  <a:lnTo>
                    <a:pt x="164" y="17"/>
                  </a:lnTo>
                  <a:lnTo>
                    <a:pt x="167" y="17"/>
                  </a:lnTo>
                  <a:lnTo>
                    <a:pt x="165" y="13"/>
                  </a:lnTo>
                  <a:lnTo>
                    <a:pt x="165" y="10"/>
                  </a:lnTo>
                  <a:lnTo>
                    <a:pt x="165" y="7"/>
                  </a:lnTo>
                  <a:lnTo>
                    <a:pt x="169" y="4"/>
                  </a:lnTo>
                  <a:lnTo>
                    <a:pt x="172" y="1"/>
                  </a:lnTo>
                  <a:lnTo>
                    <a:pt x="175" y="2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1" name="ES">
              <a:extLst>
                <a:ext uri="{FF2B5EF4-FFF2-40B4-BE49-F238E27FC236}">
                  <a16:creationId xmlns:a16="http://schemas.microsoft.com/office/drawing/2014/main" id="{0FEAD164-96D2-8A0D-B452-CA9DBC47BE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343" y="5300689"/>
              <a:ext cx="1709859" cy="1314787"/>
            </a:xfrm>
            <a:custGeom>
              <a:avLst/>
              <a:gdLst>
                <a:gd name="T0" fmla="*/ 687 w 902"/>
                <a:gd name="T1" fmla="*/ 560 h 743"/>
                <a:gd name="T2" fmla="*/ 691 w 902"/>
                <a:gd name="T3" fmla="*/ 542 h 743"/>
                <a:gd name="T4" fmla="*/ 836 w 902"/>
                <a:gd name="T5" fmla="*/ 497 h 743"/>
                <a:gd name="T6" fmla="*/ 797 w 902"/>
                <a:gd name="T7" fmla="*/ 530 h 743"/>
                <a:gd name="T8" fmla="*/ 756 w 902"/>
                <a:gd name="T9" fmla="*/ 505 h 743"/>
                <a:gd name="T10" fmla="*/ 819 w 902"/>
                <a:gd name="T11" fmla="*/ 475 h 743"/>
                <a:gd name="T12" fmla="*/ 868 w 902"/>
                <a:gd name="T13" fmla="*/ 483 h 743"/>
                <a:gd name="T14" fmla="*/ 121 w 902"/>
                <a:gd name="T15" fmla="*/ 4 h 743"/>
                <a:gd name="T16" fmla="*/ 163 w 902"/>
                <a:gd name="T17" fmla="*/ 32 h 743"/>
                <a:gd name="T18" fmla="*/ 210 w 902"/>
                <a:gd name="T19" fmla="*/ 42 h 743"/>
                <a:gd name="T20" fmla="*/ 273 w 902"/>
                <a:gd name="T21" fmla="*/ 59 h 743"/>
                <a:gd name="T22" fmla="*/ 355 w 902"/>
                <a:gd name="T23" fmla="*/ 84 h 743"/>
                <a:gd name="T24" fmla="*/ 394 w 902"/>
                <a:gd name="T25" fmla="*/ 85 h 743"/>
                <a:gd name="T26" fmla="*/ 431 w 902"/>
                <a:gd name="T27" fmla="*/ 101 h 743"/>
                <a:gd name="T28" fmla="*/ 478 w 902"/>
                <a:gd name="T29" fmla="*/ 119 h 743"/>
                <a:gd name="T30" fmla="*/ 521 w 902"/>
                <a:gd name="T31" fmla="*/ 132 h 743"/>
                <a:gd name="T32" fmla="*/ 538 w 902"/>
                <a:gd name="T33" fmla="*/ 152 h 743"/>
                <a:gd name="T34" fmla="*/ 587 w 902"/>
                <a:gd name="T35" fmla="*/ 186 h 743"/>
                <a:gd name="T36" fmla="*/ 639 w 902"/>
                <a:gd name="T37" fmla="*/ 203 h 743"/>
                <a:gd name="T38" fmla="*/ 682 w 902"/>
                <a:gd name="T39" fmla="*/ 196 h 743"/>
                <a:gd name="T40" fmla="*/ 729 w 902"/>
                <a:gd name="T41" fmla="*/ 228 h 743"/>
                <a:gd name="T42" fmla="*/ 782 w 902"/>
                <a:gd name="T43" fmla="*/ 247 h 743"/>
                <a:gd name="T44" fmla="*/ 823 w 902"/>
                <a:gd name="T45" fmla="*/ 244 h 743"/>
                <a:gd name="T46" fmla="*/ 834 w 902"/>
                <a:gd name="T47" fmla="*/ 274 h 743"/>
                <a:gd name="T48" fmla="*/ 794 w 902"/>
                <a:gd name="T49" fmla="*/ 321 h 743"/>
                <a:gd name="T50" fmla="*/ 690 w 902"/>
                <a:gd name="T51" fmla="*/ 356 h 743"/>
                <a:gd name="T52" fmla="*/ 654 w 902"/>
                <a:gd name="T53" fmla="*/ 393 h 743"/>
                <a:gd name="T54" fmla="*/ 609 w 902"/>
                <a:gd name="T55" fmla="*/ 433 h 743"/>
                <a:gd name="T56" fmla="*/ 561 w 902"/>
                <a:gd name="T57" fmla="*/ 501 h 743"/>
                <a:gd name="T58" fmla="*/ 592 w 902"/>
                <a:gd name="T59" fmla="*/ 559 h 743"/>
                <a:gd name="T60" fmla="*/ 550 w 902"/>
                <a:gd name="T61" fmla="*/ 586 h 743"/>
                <a:gd name="T62" fmla="*/ 512 w 902"/>
                <a:gd name="T63" fmla="*/ 637 h 743"/>
                <a:gd name="T64" fmla="*/ 478 w 902"/>
                <a:gd name="T65" fmla="*/ 661 h 743"/>
                <a:gd name="T66" fmla="*/ 424 w 902"/>
                <a:gd name="T67" fmla="*/ 688 h 743"/>
                <a:gd name="T68" fmla="*/ 384 w 902"/>
                <a:gd name="T69" fmla="*/ 714 h 743"/>
                <a:gd name="T70" fmla="*/ 315 w 902"/>
                <a:gd name="T71" fmla="*/ 709 h 743"/>
                <a:gd name="T72" fmla="*/ 219 w 902"/>
                <a:gd name="T73" fmla="*/ 704 h 743"/>
                <a:gd name="T74" fmla="*/ 154 w 902"/>
                <a:gd name="T75" fmla="*/ 724 h 743"/>
                <a:gd name="T76" fmla="*/ 110 w 902"/>
                <a:gd name="T77" fmla="*/ 730 h 743"/>
                <a:gd name="T78" fmla="*/ 92 w 902"/>
                <a:gd name="T79" fmla="*/ 688 h 743"/>
                <a:gd name="T80" fmla="*/ 95 w 902"/>
                <a:gd name="T81" fmla="*/ 652 h 743"/>
                <a:gd name="T82" fmla="*/ 52 w 902"/>
                <a:gd name="T83" fmla="*/ 610 h 743"/>
                <a:gd name="T84" fmla="*/ 15 w 902"/>
                <a:gd name="T85" fmla="*/ 579 h 743"/>
                <a:gd name="T86" fmla="*/ 50 w 902"/>
                <a:gd name="T87" fmla="*/ 535 h 743"/>
                <a:gd name="T88" fmla="*/ 44 w 902"/>
                <a:gd name="T89" fmla="*/ 491 h 743"/>
                <a:gd name="T90" fmla="*/ 79 w 902"/>
                <a:gd name="T91" fmla="*/ 441 h 743"/>
                <a:gd name="T92" fmla="*/ 58 w 902"/>
                <a:gd name="T93" fmla="*/ 398 h 743"/>
                <a:gd name="T94" fmla="*/ 100 w 902"/>
                <a:gd name="T95" fmla="*/ 370 h 743"/>
                <a:gd name="T96" fmla="*/ 114 w 902"/>
                <a:gd name="T97" fmla="*/ 324 h 743"/>
                <a:gd name="T98" fmla="*/ 122 w 902"/>
                <a:gd name="T99" fmla="*/ 274 h 743"/>
                <a:gd name="T100" fmla="*/ 174 w 902"/>
                <a:gd name="T101" fmla="*/ 234 h 743"/>
                <a:gd name="T102" fmla="*/ 159 w 902"/>
                <a:gd name="T103" fmla="*/ 188 h 743"/>
                <a:gd name="T104" fmla="*/ 100 w 902"/>
                <a:gd name="T105" fmla="*/ 182 h 743"/>
                <a:gd name="T106" fmla="*/ 56 w 902"/>
                <a:gd name="T107" fmla="*/ 176 h 743"/>
                <a:gd name="T108" fmla="*/ 31 w 902"/>
                <a:gd name="T109" fmla="*/ 145 h 743"/>
                <a:gd name="T110" fmla="*/ 31 w 902"/>
                <a:gd name="T111" fmla="*/ 123 h 743"/>
                <a:gd name="T112" fmla="*/ 17 w 902"/>
                <a:gd name="T113" fmla="*/ 105 h 743"/>
                <a:gd name="T114" fmla="*/ 14 w 902"/>
                <a:gd name="T115" fmla="*/ 92 h 743"/>
                <a:gd name="T116" fmla="*/ 9 w 902"/>
                <a:gd name="T117" fmla="*/ 68 h 743"/>
                <a:gd name="T118" fmla="*/ 16 w 902"/>
                <a:gd name="T119" fmla="*/ 37 h 743"/>
                <a:gd name="T120" fmla="*/ 55 w 902"/>
                <a:gd name="T121" fmla="*/ 29 h 743"/>
                <a:gd name="T122" fmla="*/ 81 w 902"/>
                <a:gd name="T123" fmla="*/ 21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2" h="743">
                  <a:moveTo>
                    <a:pt x="511" y="645"/>
                  </a:moveTo>
                  <a:lnTo>
                    <a:pt x="511" y="650"/>
                  </a:lnTo>
                  <a:lnTo>
                    <a:pt x="511" y="652"/>
                  </a:lnTo>
                  <a:lnTo>
                    <a:pt x="512" y="656"/>
                  </a:lnTo>
                  <a:lnTo>
                    <a:pt x="510" y="651"/>
                  </a:lnTo>
                  <a:lnTo>
                    <a:pt x="511" y="648"/>
                  </a:lnTo>
                  <a:lnTo>
                    <a:pt x="511" y="645"/>
                  </a:lnTo>
                  <a:close/>
                  <a:moveTo>
                    <a:pt x="694" y="541"/>
                  </a:moveTo>
                  <a:lnTo>
                    <a:pt x="696" y="543"/>
                  </a:lnTo>
                  <a:lnTo>
                    <a:pt x="698" y="547"/>
                  </a:lnTo>
                  <a:lnTo>
                    <a:pt x="699" y="550"/>
                  </a:lnTo>
                  <a:lnTo>
                    <a:pt x="696" y="552"/>
                  </a:lnTo>
                  <a:lnTo>
                    <a:pt x="692" y="555"/>
                  </a:lnTo>
                  <a:lnTo>
                    <a:pt x="690" y="558"/>
                  </a:lnTo>
                  <a:lnTo>
                    <a:pt x="687" y="560"/>
                  </a:lnTo>
                  <a:lnTo>
                    <a:pt x="684" y="561"/>
                  </a:lnTo>
                  <a:lnTo>
                    <a:pt x="682" y="564"/>
                  </a:lnTo>
                  <a:lnTo>
                    <a:pt x="678" y="564"/>
                  </a:lnTo>
                  <a:lnTo>
                    <a:pt x="676" y="563"/>
                  </a:lnTo>
                  <a:lnTo>
                    <a:pt x="673" y="561"/>
                  </a:lnTo>
                  <a:lnTo>
                    <a:pt x="669" y="561"/>
                  </a:lnTo>
                  <a:lnTo>
                    <a:pt x="668" y="558"/>
                  </a:lnTo>
                  <a:lnTo>
                    <a:pt x="670" y="555"/>
                  </a:lnTo>
                  <a:lnTo>
                    <a:pt x="673" y="553"/>
                  </a:lnTo>
                  <a:lnTo>
                    <a:pt x="675" y="549"/>
                  </a:lnTo>
                  <a:lnTo>
                    <a:pt x="676" y="546"/>
                  </a:lnTo>
                  <a:lnTo>
                    <a:pt x="680" y="544"/>
                  </a:lnTo>
                  <a:lnTo>
                    <a:pt x="684" y="544"/>
                  </a:lnTo>
                  <a:lnTo>
                    <a:pt x="687" y="542"/>
                  </a:lnTo>
                  <a:lnTo>
                    <a:pt x="691" y="542"/>
                  </a:lnTo>
                  <a:lnTo>
                    <a:pt x="694" y="541"/>
                  </a:lnTo>
                  <a:close/>
                  <a:moveTo>
                    <a:pt x="819" y="475"/>
                  </a:moveTo>
                  <a:lnTo>
                    <a:pt x="818" y="478"/>
                  </a:lnTo>
                  <a:lnTo>
                    <a:pt x="815" y="480"/>
                  </a:lnTo>
                  <a:lnTo>
                    <a:pt x="812" y="483"/>
                  </a:lnTo>
                  <a:lnTo>
                    <a:pt x="820" y="482"/>
                  </a:lnTo>
                  <a:lnTo>
                    <a:pt x="819" y="485"/>
                  </a:lnTo>
                  <a:lnTo>
                    <a:pt x="815" y="487"/>
                  </a:lnTo>
                  <a:lnTo>
                    <a:pt x="814" y="489"/>
                  </a:lnTo>
                  <a:lnTo>
                    <a:pt x="816" y="493"/>
                  </a:lnTo>
                  <a:lnTo>
                    <a:pt x="820" y="496"/>
                  </a:lnTo>
                  <a:lnTo>
                    <a:pt x="825" y="496"/>
                  </a:lnTo>
                  <a:lnTo>
                    <a:pt x="829" y="494"/>
                  </a:lnTo>
                  <a:lnTo>
                    <a:pt x="832" y="494"/>
                  </a:lnTo>
                  <a:lnTo>
                    <a:pt x="836" y="497"/>
                  </a:lnTo>
                  <a:lnTo>
                    <a:pt x="838" y="500"/>
                  </a:lnTo>
                  <a:lnTo>
                    <a:pt x="837" y="504"/>
                  </a:lnTo>
                  <a:lnTo>
                    <a:pt x="835" y="507"/>
                  </a:lnTo>
                  <a:lnTo>
                    <a:pt x="832" y="509"/>
                  </a:lnTo>
                  <a:lnTo>
                    <a:pt x="832" y="512"/>
                  </a:lnTo>
                  <a:lnTo>
                    <a:pt x="829" y="514"/>
                  </a:lnTo>
                  <a:lnTo>
                    <a:pt x="826" y="518"/>
                  </a:lnTo>
                  <a:lnTo>
                    <a:pt x="823" y="522"/>
                  </a:lnTo>
                  <a:lnTo>
                    <a:pt x="822" y="527"/>
                  </a:lnTo>
                  <a:lnTo>
                    <a:pt x="820" y="530"/>
                  </a:lnTo>
                  <a:lnTo>
                    <a:pt x="810" y="535"/>
                  </a:lnTo>
                  <a:lnTo>
                    <a:pt x="807" y="538"/>
                  </a:lnTo>
                  <a:lnTo>
                    <a:pt x="802" y="536"/>
                  </a:lnTo>
                  <a:lnTo>
                    <a:pt x="800" y="533"/>
                  </a:lnTo>
                  <a:lnTo>
                    <a:pt x="797" y="530"/>
                  </a:lnTo>
                  <a:lnTo>
                    <a:pt x="794" y="530"/>
                  </a:lnTo>
                  <a:lnTo>
                    <a:pt x="788" y="529"/>
                  </a:lnTo>
                  <a:lnTo>
                    <a:pt x="785" y="528"/>
                  </a:lnTo>
                  <a:lnTo>
                    <a:pt x="783" y="520"/>
                  </a:lnTo>
                  <a:lnTo>
                    <a:pt x="784" y="516"/>
                  </a:lnTo>
                  <a:lnTo>
                    <a:pt x="782" y="512"/>
                  </a:lnTo>
                  <a:lnTo>
                    <a:pt x="778" y="510"/>
                  </a:lnTo>
                  <a:lnTo>
                    <a:pt x="771" y="512"/>
                  </a:lnTo>
                  <a:lnTo>
                    <a:pt x="769" y="515"/>
                  </a:lnTo>
                  <a:lnTo>
                    <a:pt x="765" y="517"/>
                  </a:lnTo>
                  <a:lnTo>
                    <a:pt x="764" y="514"/>
                  </a:lnTo>
                  <a:lnTo>
                    <a:pt x="763" y="511"/>
                  </a:lnTo>
                  <a:lnTo>
                    <a:pt x="759" y="511"/>
                  </a:lnTo>
                  <a:lnTo>
                    <a:pt x="756" y="508"/>
                  </a:lnTo>
                  <a:lnTo>
                    <a:pt x="756" y="505"/>
                  </a:lnTo>
                  <a:lnTo>
                    <a:pt x="762" y="501"/>
                  </a:lnTo>
                  <a:lnTo>
                    <a:pt x="765" y="500"/>
                  </a:lnTo>
                  <a:lnTo>
                    <a:pt x="769" y="495"/>
                  </a:lnTo>
                  <a:lnTo>
                    <a:pt x="773" y="495"/>
                  </a:lnTo>
                  <a:lnTo>
                    <a:pt x="776" y="492"/>
                  </a:lnTo>
                  <a:lnTo>
                    <a:pt x="781" y="488"/>
                  </a:lnTo>
                  <a:lnTo>
                    <a:pt x="783" y="486"/>
                  </a:lnTo>
                  <a:lnTo>
                    <a:pt x="786" y="485"/>
                  </a:lnTo>
                  <a:lnTo>
                    <a:pt x="789" y="483"/>
                  </a:lnTo>
                  <a:lnTo>
                    <a:pt x="793" y="482"/>
                  </a:lnTo>
                  <a:lnTo>
                    <a:pt x="796" y="481"/>
                  </a:lnTo>
                  <a:lnTo>
                    <a:pt x="800" y="479"/>
                  </a:lnTo>
                  <a:lnTo>
                    <a:pt x="807" y="478"/>
                  </a:lnTo>
                  <a:lnTo>
                    <a:pt x="811" y="478"/>
                  </a:lnTo>
                  <a:lnTo>
                    <a:pt x="819" y="475"/>
                  </a:lnTo>
                  <a:close/>
                  <a:moveTo>
                    <a:pt x="886" y="471"/>
                  </a:moveTo>
                  <a:lnTo>
                    <a:pt x="888" y="472"/>
                  </a:lnTo>
                  <a:lnTo>
                    <a:pt x="889" y="475"/>
                  </a:lnTo>
                  <a:lnTo>
                    <a:pt x="891" y="472"/>
                  </a:lnTo>
                  <a:lnTo>
                    <a:pt x="894" y="476"/>
                  </a:lnTo>
                  <a:lnTo>
                    <a:pt x="897" y="478"/>
                  </a:lnTo>
                  <a:lnTo>
                    <a:pt x="898" y="481"/>
                  </a:lnTo>
                  <a:lnTo>
                    <a:pt x="900" y="485"/>
                  </a:lnTo>
                  <a:lnTo>
                    <a:pt x="902" y="489"/>
                  </a:lnTo>
                  <a:lnTo>
                    <a:pt x="899" y="495"/>
                  </a:lnTo>
                  <a:lnTo>
                    <a:pt x="896" y="495"/>
                  </a:lnTo>
                  <a:lnTo>
                    <a:pt x="891" y="492"/>
                  </a:lnTo>
                  <a:lnTo>
                    <a:pt x="880" y="484"/>
                  </a:lnTo>
                  <a:lnTo>
                    <a:pt x="874" y="482"/>
                  </a:lnTo>
                  <a:lnTo>
                    <a:pt x="868" y="483"/>
                  </a:lnTo>
                  <a:lnTo>
                    <a:pt x="866" y="482"/>
                  </a:lnTo>
                  <a:lnTo>
                    <a:pt x="867" y="478"/>
                  </a:lnTo>
                  <a:lnTo>
                    <a:pt x="864" y="475"/>
                  </a:lnTo>
                  <a:lnTo>
                    <a:pt x="866" y="472"/>
                  </a:lnTo>
                  <a:lnTo>
                    <a:pt x="871" y="471"/>
                  </a:lnTo>
                  <a:lnTo>
                    <a:pt x="880" y="472"/>
                  </a:lnTo>
                  <a:lnTo>
                    <a:pt x="883" y="472"/>
                  </a:lnTo>
                  <a:lnTo>
                    <a:pt x="886" y="471"/>
                  </a:lnTo>
                  <a:close/>
                  <a:moveTo>
                    <a:pt x="110" y="0"/>
                  </a:moveTo>
                  <a:lnTo>
                    <a:pt x="112" y="2"/>
                  </a:lnTo>
                  <a:lnTo>
                    <a:pt x="113" y="5"/>
                  </a:lnTo>
                  <a:lnTo>
                    <a:pt x="110" y="8"/>
                  </a:lnTo>
                  <a:lnTo>
                    <a:pt x="114" y="7"/>
                  </a:lnTo>
                  <a:lnTo>
                    <a:pt x="116" y="4"/>
                  </a:lnTo>
                  <a:lnTo>
                    <a:pt x="121" y="4"/>
                  </a:lnTo>
                  <a:lnTo>
                    <a:pt x="124" y="2"/>
                  </a:lnTo>
                  <a:lnTo>
                    <a:pt x="123" y="5"/>
                  </a:lnTo>
                  <a:lnTo>
                    <a:pt x="123" y="6"/>
                  </a:lnTo>
                  <a:lnTo>
                    <a:pt x="126" y="5"/>
                  </a:lnTo>
                  <a:lnTo>
                    <a:pt x="128" y="10"/>
                  </a:lnTo>
                  <a:lnTo>
                    <a:pt x="130" y="10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3" y="17"/>
                  </a:lnTo>
                  <a:lnTo>
                    <a:pt x="146" y="25"/>
                  </a:lnTo>
                  <a:lnTo>
                    <a:pt x="148" y="27"/>
                  </a:lnTo>
                  <a:lnTo>
                    <a:pt x="152" y="29"/>
                  </a:lnTo>
                  <a:lnTo>
                    <a:pt x="155" y="30"/>
                  </a:lnTo>
                  <a:lnTo>
                    <a:pt x="159" y="31"/>
                  </a:lnTo>
                  <a:lnTo>
                    <a:pt x="163" y="32"/>
                  </a:lnTo>
                  <a:lnTo>
                    <a:pt x="162" y="36"/>
                  </a:lnTo>
                  <a:lnTo>
                    <a:pt x="161" y="39"/>
                  </a:lnTo>
                  <a:lnTo>
                    <a:pt x="163" y="37"/>
                  </a:lnTo>
                  <a:lnTo>
                    <a:pt x="165" y="33"/>
                  </a:lnTo>
                  <a:lnTo>
                    <a:pt x="169" y="33"/>
                  </a:lnTo>
                  <a:lnTo>
                    <a:pt x="176" y="34"/>
                  </a:lnTo>
                  <a:lnTo>
                    <a:pt x="181" y="35"/>
                  </a:lnTo>
                  <a:lnTo>
                    <a:pt x="183" y="37"/>
                  </a:lnTo>
                  <a:lnTo>
                    <a:pt x="189" y="36"/>
                  </a:lnTo>
                  <a:lnTo>
                    <a:pt x="192" y="37"/>
                  </a:lnTo>
                  <a:lnTo>
                    <a:pt x="195" y="39"/>
                  </a:lnTo>
                  <a:lnTo>
                    <a:pt x="201" y="41"/>
                  </a:lnTo>
                  <a:lnTo>
                    <a:pt x="204" y="41"/>
                  </a:lnTo>
                  <a:lnTo>
                    <a:pt x="207" y="41"/>
                  </a:lnTo>
                  <a:lnTo>
                    <a:pt x="210" y="42"/>
                  </a:lnTo>
                  <a:lnTo>
                    <a:pt x="213" y="42"/>
                  </a:lnTo>
                  <a:lnTo>
                    <a:pt x="216" y="41"/>
                  </a:lnTo>
                  <a:lnTo>
                    <a:pt x="219" y="43"/>
                  </a:lnTo>
                  <a:lnTo>
                    <a:pt x="225" y="45"/>
                  </a:lnTo>
                  <a:lnTo>
                    <a:pt x="229" y="45"/>
                  </a:lnTo>
                  <a:lnTo>
                    <a:pt x="238" y="46"/>
                  </a:lnTo>
                  <a:lnTo>
                    <a:pt x="239" y="43"/>
                  </a:lnTo>
                  <a:lnTo>
                    <a:pt x="242" y="42"/>
                  </a:lnTo>
                  <a:lnTo>
                    <a:pt x="246" y="42"/>
                  </a:lnTo>
                  <a:lnTo>
                    <a:pt x="250" y="49"/>
                  </a:lnTo>
                  <a:lnTo>
                    <a:pt x="252" y="50"/>
                  </a:lnTo>
                  <a:lnTo>
                    <a:pt x="256" y="53"/>
                  </a:lnTo>
                  <a:lnTo>
                    <a:pt x="269" y="55"/>
                  </a:lnTo>
                  <a:lnTo>
                    <a:pt x="270" y="59"/>
                  </a:lnTo>
                  <a:lnTo>
                    <a:pt x="273" y="59"/>
                  </a:lnTo>
                  <a:lnTo>
                    <a:pt x="277" y="59"/>
                  </a:lnTo>
                  <a:lnTo>
                    <a:pt x="282" y="64"/>
                  </a:lnTo>
                  <a:lnTo>
                    <a:pt x="290" y="67"/>
                  </a:lnTo>
                  <a:lnTo>
                    <a:pt x="293" y="68"/>
                  </a:lnTo>
                  <a:lnTo>
                    <a:pt x="298" y="71"/>
                  </a:lnTo>
                  <a:lnTo>
                    <a:pt x="301" y="70"/>
                  </a:lnTo>
                  <a:lnTo>
                    <a:pt x="307" y="73"/>
                  </a:lnTo>
                  <a:lnTo>
                    <a:pt x="312" y="77"/>
                  </a:lnTo>
                  <a:lnTo>
                    <a:pt x="328" y="82"/>
                  </a:lnTo>
                  <a:lnTo>
                    <a:pt x="331" y="83"/>
                  </a:lnTo>
                  <a:lnTo>
                    <a:pt x="335" y="84"/>
                  </a:lnTo>
                  <a:lnTo>
                    <a:pt x="337" y="84"/>
                  </a:lnTo>
                  <a:lnTo>
                    <a:pt x="341" y="85"/>
                  </a:lnTo>
                  <a:lnTo>
                    <a:pt x="349" y="86"/>
                  </a:lnTo>
                  <a:lnTo>
                    <a:pt x="355" y="84"/>
                  </a:lnTo>
                  <a:lnTo>
                    <a:pt x="360" y="85"/>
                  </a:lnTo>
                  <a:lnTo>
                    <a:pt x="363" y="85"/>
                  </a:lnTo>
                  <a:lnTo>
                    <a:pt x="366" y="82"/>
                  </a:lnTo>
                  <a:lnTo>
                    <a:pt x="371" y="82"/>
                  </a:lnTo>
                  <a:lnTo>
                    <a:pt x="373" y="82"/>
                  </a:lnTo>
                  <a:lnTo>
                    <a:pt x="377" y="83"/>
                  </a:lnTo>
                  <a:lnTo>
                    <a:pt x="374" y="86"/>
                  </a:lnTo>
                  <a:lnTo>
                    <a:pt x="374" y="89"/>
                  </a:lnTo>
                  <a:lnTo>
                    <a:pt x="377" y="89"/>
                  </a:lnTo>
                  <a:lnTo>
                    <a:pt x="380" y="89"/>
                  </a:lnTo>
                  <a:lnTo>
                    <a:pt x="379" y="85"/>
                  </a:lnTo>
                  <a:lnTo>
                    <a:pt x="382" y="85"/>
                  </a:lnTo>
                  <a:lnTo>
                    <a:pt x="385" y="84"/>
                  </a:lnTo>
                  <a:lnTo>
                    <a:pt x="392" y="83"/>
                  </a:lnTo>
                  <a:lnTo>
                    <a:pt x="394" y="85"/>
                  </a:lnTo>
                  <a:lnTo>
                    <a:pt x="400" y="90"/>
                  </a:lnTo>
                  <a:lnTo>
                    <a:pt x="398" y="92"/>
                  </a:lnTo>
                  <a:lnTo>
                    <a:pt x="397" y="94"/>
                  </a:lnTo>
                  <a:lnTo>
                    <a:pt x="401" y="95"/>
                  </a:lnTo>
                  <a:lnTo>
                    <a:pt x="404" y="95"/>
                  </a:lnTo>
                  <a:lnTo>
                    <a:pt x="407" y="97"/>
                  </a:lnTo>
                  <a:lnTo>
                    <a:pt x="411" y="98"/>
                  </a:lnTo>
                  <a:lnTo>
                    <a:pt x="413" y="100"/>
                  </a:lnTo>
                  <a:lnTo>
                    <a:pt x="416" y="103"/>
                  </a:lnTo>
                  <a:lnTo>
                    <a:pt x="419" y="104"/>
                  </a:lnTo>
                  <a:lnTo>
                    <a:pt x="422" y="104"/>
                  </a:lnTo>
                  <a:lnTo>
                    <a:pt x="426" y="109"/>
                  </a:lnTo>
                  <a:lnTo>
                    <a:pt x="426" y="106"/>
                  </a:lnTo>
                  <a:lnTo>
                    <a:pt x="426" y="103"/>
                  </a:lnTo>
                  <a:lnTo>
                    <a:pt x="431" y="101"/>
                  </a:lnTo>
                  <a:lnTo>
                    <a:pt x="435" y="99"/>
                  </a:lnTo>
                  <a:lnTo>
                    <a:pt x="438" y="100"/>
                  </a:lnTo>
                  <a:lnTo>
                    <a:pt x="443" y="100"/>
                  </a:lnTo>
                  <a:lnTo>
                    <a:pt x="445" y="99"/>
                  </a:lnTo>
                  <a:lnTo>
                    <a:pt x="448" y="103"/>
                  </a:lnTo>
                  <a:lnTo>
                    <a:pt x="449" y="106"/>
                  </a:lnTo>
                  <a:lnTo>
                    <a:pt x="453" y="105"/>
                  </a:lnTo>
                  <a:lnTo>
                    <a:pt x="455" y="106"/>
                  </a:lnTo>
                  <a:lnTo>
                    <a:pt x="459" y="108"/>
                  </a:lnTo>
                  <a:lnTo>
                    <a:pt x="462" y="109"/>
                  </a:lnTo>
                  <a:lnTo>
                    <a:pt x="464" y="112"/>
                  </a:lnTo>
                  <a:lnTo>
                    <a:pt x="470" y="116"/>
                  </a:lnTo>
                  <a:lnTo>
                    <a:pt x="472" y="118"/>
                  </a:lnTo>
                  <a:lnTo>
                    <a:pt x="475" y="118"/>
                  </a:lnTo>
                  <a:lnTo>
                    <a:pt x="478" y="119"/>
                  </a:lnTo>
                  <a:lnTo>
                    <a:pt x="481" y="118"/>
                  </a:lnTo>
                  <a:lnTo>
                    <a:pt x="483" y="120"/>
                  </a:lnTo>
                  <a:lnTo>
                    <a:pt x="487" y="120"/>
                  </a:lnTo>
                  <a:lnTo>
                    <a:pt x="495" y="119"/>
                  </a:lnTo>
                  <a:lnTo>
                    <a:pt x="498" y="118"/>
                  </a:lnTo>
                  <a:lnTo>
                    <a:pt x="501" y="120"/>
                  </a:lnTo>
                  <a:lnTo>
                    <a:pt x="505" y="116"/>
                  </a:lnTo>
                  <a:lnTo>
                    <a:pt x="508" y="115"/>
                  </a:lnTo>
                  <a:lnTo>
                    <a:pt x="508" y="119"/>
                  </a:lnTo>
                  <a:lnTo>
                    <a:pt x="508" y="122"/>
                  </a:lnTo>
                  <a:lnTo>
                    <a:pt x="510" y="124"/>
                  </a:lnTo>
                  <a:lnTo>
                    <a:pt x="513" y="127"/>
                  </a:lnTo>
                  <a:lnTo>
                    <a:pt x="518" y="127"/>
                  </a:lnTo>
                  <a:lnTo>
                    <a:pt x="518" y="131"/>
                  </a:lnTo>
                  <a:lnTo>
                    <a:pt x="521" y="132"/>
                  </a:lnTo>
                  <a:lnTo>
                    <a:pt x="523" y="130"/>
                  </a:lnTo>
                  <a:lnTo>
                    <a:pt x="527" y="131"/>
                  </a:lnTo>
                  <a:lnTo>
                    <a:pt x="530" y="133"/>
                  </a:lnTo>
                  <a:lnTo>
                    <a:pt x="534" y="135"/>
                  </a:lnTo>
                  <a:lnTo>
                    <a:pt x="533" y="138"/>
                  </a:lnTo>
                  <a:lnTo>
                    <a:pt x="532" y="142"/>
                  </a:lnTo>
                  <a:lnTo>
                    <a:pt x="531" y="144"/>
                  </a:lnTo>
                  <a:lnTo>
                    <a:pt x="526" y="148"/>
                  </a:lnTo>
                  <a:lnTo>
                    <a:pt x="526" y="151"/>
                  </a:lnTo>
                  <a:lnTo>
                    <a:pt x="529" y="153"/>
                  </a:lnTo>
                  <a:lnTo>
                    <a:pt x="532" y="154"/>
                  </a:lnTo>
                  <a:lnTo>
                    <a:pt x="535" y="151"/>
                  </a:lnTo>
                  <a:lnTo>
                    <a:pt x="537" y="148"/>
                  </a:lnTo>
                  <a:lnTo>
                    <a:pt x="540" y="148"/>
                  </a:lnTo>
                  <a:lnTo>
                    <a:pt x="538" y="152"/>
                  </a:lnTo>
                  <a:lnTo>
                    <a:pt x="540" y="154"/>
                  </a:lnTo>
                  <a:lnTo>
                    <a:pt x="543" y="155"/>
                  </a:lnTo>
                  <a:lnTo>
                    <a:pt x="547" y="160"/>
                  </a:lnTo>
                  <a:lnTo>
                    <a:pt x="550" y="160"/>
                  </a:lnTo>
                  <a:lnTo>
                    <a:pt x="554" y="162"/>
                  </a:lnTo>
                  <a:lnTo>
                    <a:pt x="558" y="166"/>
                  </a:lnTo>
                  <a:lnTo>
                    <a:pt x="561" y="167"/>
                  </a:lnTo>
                  <a:lnTo>
                    <a:pt x="566" y="168"/>
                  </a:lnTo>
                  <a:lnTo>
                    <a:pt x="571" y="168"/>
                  </a:lnTo>
                  <a:lnTo>
                    <a:pt x="574" y="173"/>
                  </a:lnTo>
                  <a:lnTo>
                    <a:pt x="574" y="176"/>
                  </a:lnTo>
                  <a:lnTo>
                    <a:pt x="578" y="178"/>
                  </a:lnTo>
                  <a:lnTo>
                    <a:pt x="581" y="183"/>
                  </a:lnTo>
                  <a:lnTo>
                    <a:pt x="583" y="186"/>
                  </a:lnTo>
                  <a:lnTo>
                    <a:pt x="587" y="186"/>
                  </a:lnTo>
                  <a:lnTo>
                    <a:pt x="592" y="186"/>
                  </a:lnTo>
                  <a:lnTo>
                    <a:pt x="596" y="186"/>
                  </a:lnTo>
                  <a:lnTo>
                    <a:pt x="600" y="184"/>
                  </a:lnTo>
                  <a:lnTo>
                    <a:pt x="603" y="184"/>
                  </a:lnTo>
                  <a:lnTo>
                    <a:pt x="606" y="187"/>
                  </a:lnTo>
                  <a:lnTo>
                    <a:pt x="609" y="189"/>
                  </a:lnTo>
                  <a:lnTo>
                    <a:pt x="612" y="189"/>
                  </a:lnTo>
                  <a:lnTo>
                    <a:pt x="612" y="192"/>
                  </a:lnTo>
                  <a:lnTo>
                    <a:pt x="614" y="195"/>
                  </a:lnTo>
                  <a:lnTo>
                    <a:pt x="616" y="198"/>
                  </a:lnTo>
                  <a:lnTo>
                    <a:pt x="619" y="200"/>
                  </a:lnTo>
                  <a:lnTo>
                    <a:pt x="627" y="199"/>
                  </a:lnTo>
                  <a:lnTo>
                    <a:pt x="631" y="198"/>
                  </a:lnTo>
                  <a:lnTo>
                    <a:pt x="637" y="199"/>
                  </a:lnTo>
                  <a:lnTo>
                    <a:pt x="639" y="203"/>
                  </a:lnTo>
                  <a:lnTo>
                    <a:pt x="643" y="202"/>
                  </a:lnTo>
                  <a:lnTo>
                    <a:pt x="646" y="200"/>
                  </a:lnTo>
                  <a:lnTo>
                    <a:pt x="648" y="203"/>
                  </a:lnTo>
                  <a:lnTo>
                    <a:pt x="651" y="204"/>
                  </a:lnTo>
                  <a:lnTo>
                    <a:pt x="653" y="204"/>
                  </a:lnTo>
                  <a:lnTo>
                    <a:pt x="664" y="205"/>
                  </a:lnTo>
                  <a:lnTo>
                    <a:pt x="667" y="205"/>
                  </a:lnTo>
                  <a:lnTo>
                    <a:pt x="668" y="202"/>
                  </a:lnTo>
                  <a:lnTo>
                    <a:pt x="667" y="199"/>
                  </a:lnTo>
                  <a:lnTo>
                    <a:pt x="668" y="195"/>
                  </a:lnTo>
                  <a:lnTo>
                    <a:pt x="669" y="192"/>
                  </a:lnTo>
                  <a:lnTo>
                    <a:pt x="672" y="191"/>
                  </a:lnTo>
                  <a:lnTo>
                    <a:pt x="675" y="193"/>
                  </a:lnTo>
                  <a:lnTo>
                    <a:pt x="678" y="193"/>
                  </a:lnTo>
                  <a:lnTo>
                    <a:pt x="682" y="196"/>
                  </a:lnTo>
                  <a:lnTo>
                    <a:pt x="684" y="197"/>
                  </a:lnTo>
                  <a:lnTo>
                    <a:pt x="687" y="199"/>
                  </a:lnTo>
                  <a:lnTo>
                    <a:pt x="689" y="199"/>
                  </a:lnTo>
                  <a:lnTo>
                    <a:pt x="696" y="201"/>
                  </a:lnTo>
                  <a:lnTo>
                    <a:pt x="698" y="203"/>
                  </a:lnTo>
                  <a:lnTo>
                    <a:pt x="699" y="205"/>
                  </a:lnTo>
                  <a:lnTo>
                    <a:pt x="701" y="208"/>
                  </a:lnTo>
                  <a:lnTo>
                    <a:pt x="712" y="209"/>
                  </a:lnTo>
                  <a:lnTo>
                    <a:pt x="715" y="211"/>
                  </a:lnTo>
                  <a:lnTo>
                    <a:pt x="717" y="216"/>
                  </a:lnTo>
                  <a:lnTo>
                    <a:pt x="717" y="219"/>
                  </a:lnTo>
                  <a:lnTo>
                    <a:pt x="717" y="222"/>
                  </a:lnTo>
                  <a:lnTo>
                    <a:pt x="719" y="227"/>
                  </a:lnTo>
                  <a:lnTo>
                    <a:pt x="721" y="227"/>
                  </a:lnTo>
                  <a:lnTo>
                    <a:pt x="729" y="228"/>
                  </a:lnTo>
                  <a:lnTo>
                    <a:pt x="733" y="232"/>
                  </a:lnTo>
                  <a:lnTo>
                    <a:pt x="736" y="233"/>
                  </a:lnTo>
                  <a:lnTo>
                    <a:pt x="739" y="233"/>
                  </a:lnTo>
                  <a:lnTo>
                    <a:pt x="743" y="234"/>
                  </a:lnTo>
                  <a:lnTo>
                    <a:pt x="748" y="238"/>
                  </a:lnTo>
                  <a:lnTo>
                    <a:pt x="750" y="239"/>
                  </a:lnTo>
                  <a:lnTo>
                    <a:pt x="753" y="244"/>
                  </a:lnTo>
                  <a:lnTo>
                    <a:pt x="755" y="247"/>
                  </a:lnTo>
                  <a:lnTo>
                    <a:pt x="758" y="248"/>
                  </a:lnTo>
                  <a:lnTo>
                    <a:pt x="761" y="246"/>
                  </a:lnTo>
                  <a:lnTo>
                    <a:pt x="764" y="244"/>
                  </a:lnTo>
                  <a:lnTo>
                    <a:pt x="769" y="243"/>
                  </a:lnTo>
                  <a:lnTo>
                    <a:pt x="773" y="243"/>
                  </a:lnTo>
                  <a:lnTo>
                    <a:pt x="777" y="244"/>
                  </a:lnTo>
                  <a:lnTo>
                    <a:pt x="782" y="247"/>
                  </a:lnTo>
                  <a:lnTo>
                    <a:pt x="785" y="248"/>
                  </a:lnTo>
                  <a:lnTo>
                    <a:pt x="786" y="251"/>
                  </a:lnTo>
                  <a:lnTo>
                    <a:pt x="788" y="252"/>
                  </a:lnTo>
                  <a:lnTo>
                    <a:pt x="791" y="254"/>
                  </a:lnTo>
                  <a:lnTo>
                    <a:pt x="794" y="252"/>
                  </a:lnTo>
                  <a:lnTo>
                    <a:pt x="797" y="253"/>
                  </a:lnTo>
                  <a:lnTo>
                    <a:pt x="801" y="253"/>
                  </a:lnTo>
                  <a:lnTo>
                    <a:pt x="799" y="250"/>
                  </a:lnTo>
                  <a:lnTo>
                    <a:pt x="803" y="247"/>
                  </a:lnTo>
                  <a:lnTo>
                    <a:pt x="807" y="247"/>
                  </a:lnTo>
                  <a:lnTo>
                    <a:pt x="809" y="248"/>
                  </a:lnTo>
                  <a:lnTo>
                    <a:pt x="812" y="247"/>
                  </a:lnTo>
                  <a:lnTo>
                    <a:pt x="815" y="245"/>
                  </a:lnTo>
                  <a:lnTo>
                    <a:pt x="819" y="245"/>
                  </a:lnTo>
                  <a:lnTo>
                    <a:pt x="823" y="244"/>
                  </a:lnTo>
                  <a:lnTo>
                    <a:pt x="827" y="244"/>
                  </a:lnTo>
                  <a:lnTo>
                    <a:pt x="829" y="247"/>
                  </a:lnTo>
                  <a:lnTo>
                    <a:pt x="833" y="248"/>
                  </a:lnTo>
                  <a:lnTo>
                    <a:pt x="839" y="248"/>
                  </a:lnTo>
                  <a:lnTo>
                    <a:pt x="839" y="251"/>
                  </a:lnTo>
                  <a:lnTo>
                    <a:pt x="840" y="255"/>
                  </a:lnTo>
                  <a:lnTo>
                    <a:pt x="842" y="256"/>
                  </a:lnTo>
                  <a:lnTo>
                    <a:pt x="845" y="257"/>
                  </a:lnTo>
                  <a:lnTo>
                    <a:pt x="848" y="258"/>
                  </a:lnTo>
                  <a:lnTo>
                    <a:pt x="847" y="261"/>
                  </a:lnTo>
                  <a:lnTo>
                    <a:pt x="845" y="264"/>
                  </a:lnTo>
                  <a:lnTo>
                    <a:pt x="836" y="264"/>
                  </a:lnTo>
                  <a:lnTo>
                    <a:pt x="835" y="267"/>
                  </a:lnTo>
                  <a:lnTo>
                    <a:pt x="834" y="270"/>
                  </a:lnTo>
                  <a:lnTo>
                    <a:pt x="834" y="274"/>
                  </a:lnTo>
                  <a:lnTo>
                    <a:pt x="837" y="277"/>
                  </a:lnTo>
                  <a:lnTo>
                    <a:pt x="839" y="280"/>
                  </a:lnTo>
                  <a:lnTo>
                    <a:pt x="838" y="284"/>
                  </a:lnTo>
                  <a:lnTo>
                    <a:pt x="838" y="287"/>
                  </a:lnTo>
                  <a:lnTo>
                    <a:pt x="840" y="290"/>
                  </a:lnTo>
                  <a:lnTo>
                    <a:pt x="838" y="296"/>
                  </a:lnTo>
                  <a:lnTo>
                    <a:pt x="836" y="299"/>
                  </a:lnTo>
                  <a:lnTo>
                    <a:pt x="830" y="302"/>
                  </a:lnTo>
                  <a:lnTo>
                    <a:pt x="826" y="306"/>
                  </a:lnTo>
                  <a:lnTo>
                    <a:pt x="816" y="311"/>
                  </a:lnTo>
                  <a:lnTo>
                    <a:pt x="814" y="312"/>
                  </a:lnTo>
                  <a:lnTo>
                    <a:pt x="811" y="313"/>
                  </a:lnTo>
                  <a:lnTo>
                    <a:pt x="808" y="315"/>
                  </a:lnTo>
                  <a:lnTo>
                    <a:pt x="805" y="316"/>
                  </a:lnTo>
                  <a:lnTo>
                    <a:pt x="794" y="321"/>
                  </a:lnTo>
                  <a:lnTo>
                    <a:pt x="779" y="326"/>
                  </a:lnTo>
                  <a:lnTo>
                    <a:pt x="774" y="330"/>
                  </a:lnTo>
                  <a:lnTo>
                    <a:pt x="768" y="332"/>
                  </a:lnTo>
                  <a:lnTo>
                    <a:pt x="764" y="335"/>
                  </a:lnTo>
                  <a:lnTo>
                    <a:pt x="760" y="341"/>
                  </a:lnTo>
                  <a:lnTo>
                    <a:pt x="758" y="343"/>
                  </a:lnTo>
                  <a:lnTo>
                    <a:pt x="750" y="347"/>
                  </a:lnTo>
                  <a:lnTo>
                    <a:pt x="747" y="348"/>
                  </a:lnTo>
                  <a:lnTo>
                    <a:pt x="743" y="348"/>
                  </a:lnTo>
                  <a:lnTo>
                    <a:pt x="738" y="348"/>
                  </a:lnTo>
                  <a:lnTo>
                    <a:pt x="733" y="349"/>
                  </a:lnTo>
                  <a:lnTo>
                    <a:pt x="719" y="351"/>
                  </a:lnTo>
                  <a:lnTo>
                    <a:pt x="713" y="351"/>
                  </a:lnTo>
                  <a:lnTo>
                    <a:pt x="695" y="355"/>
                  </a:lnTo>
                  <a:lnTo>
                    <a:pt x="690" y="356"/>
                  </a:lnTo>
                  <a:lnTo>
                    <a:pt x="688" y="358"/>
                  </a:lnTo>
                  <a:lnTo>
                    <a:pt x="685" y="358"/>
                  </a:lnTo>
                  <a:lnTo>
                    <a:pt x="681" y="358"/>
                  </a:lnTo>
                  <a:lnTo>
                    <a:pt x="678" y="358"/>
                  </a:lnTo>
                  <a:lnTo>
                    <a:pt x="675" y="359"/>
                  </a:lnTo>
                  <a:lnTo>
                    <a:pt x="664" y="368"/>
                  </a:lnTo>
                  <a:lnTo>
                    <a:pt x="660" y="373"/>
                  </a:lnTo>
                  <a:lnTo>
                    <a:pt x="652" y="378"/>
                  </a:lnTo>
                  <a:lnTo>
                    <a:pt x="650" y="380"/>
                  </a:lnTo>
                  <a:lnTo>
                    <a:pt x="654" y="383"/>
                  </a:lnTo>
                  <a:lnTo>
                    <a:pt x="657" y="383"/>
                  </a:lnTo>
                  <a:lnTo>
                    <a:pt x="661" y="387"/>
                  </a:lnTo>
                  <a:lnTo>
                    <a:pt x="663" y="389"/>
                  </a:lnTo>
                  <a:lnTo>
                    <a:pt x="661" y="392"/>
                  </a:lnTo>
                  <a:lnTo>
                    <a:pt x="654" y="393"/>
                  </a:lnTo>
                  <a:lnTo>
                    <a:pt x="648" y="398"/>
                  </a:lnTo>
                  <a:lnTo>
                    <a:pt x="645" y="401"/>
                  </a:lnTo>
                  <a:lnTo>
                    <a:pt x="642" y="398"/>
                  </a:lnTo>
                  <a:lnTo>
                    <a:pt x="644" y="399"/>
                  </a:lnTo>
                  <a:lnTo>
                    <a:pt x="650" y="396"/>
                  </a:lnTo>
                  <a:lnTo>
                    <a:pt x="647" y="395"/>
                  </a:lnTo>
                  <a:lnTo>
                    <a:pt x="641" y="396"/>
                  </a:lnTo>
                  <a:lnTo>
                    <a:pt x="638" y="398"/>
                  </a:lnTo>
                  <a:lnTo>
                    <a:pt x="633" y="407"/>
                  </a:lnTo>
                  <a:lnTo>
                    <a:pt x="630" y="409"/>
                  </a:lnTo>
                  <a:lnTo>
                    <a:pt x="628" y="413"/>
                  </a:lnTo>
                  <a:lnTo>
                    <a:pt x="620" y="423"/>
                  </a:lnTo>
                  <a:lnTo>
                    <a:pt x="617" y="426"/>
                  </a:lnTo>
                  <a:lnTo>
                    <a:pt x="613" y="429"/>
                  </a:lnTo>
                  <a:lnTo>
                    <a:pt x="609" y="433"/>
                  </a:lnTo>
                  <a:lnTo>
                    <a:pt x="603" y="441"/>
                  </a:lnTo>
                  <a:lnTo>
                    <a:pt x="596" y="445"/>
                  </a:lnTo>
                  <a:lnTo>
                    <a:pt x="594" y="448"/>
                  </a:lnTo>
                  <a:lnTo>
                    <a:pt x="590" y="454"/>
                  </a:lnTo>
                  <a:lnTo>
                    <a:pt x="588" y="456"/>
                  </a:lnTo>
                  <a:lnTo>
                    <a:pt x="582" y="460"/>
                  </a:lnTo>
                  <a:lnTo>
                    <a:pt x="574" y="471"/>
                  </a:lnTo>
                  <a:lnTo>
                    <a:pt x="573" y="475"/>
                  </a:lnTo>
                  <a:lnTo>
                    <a:pt x="571" y="477"/>
                  </a:lnTo>
                  <a:lnTo>
                    <a:pt x="568" y="480"/>
                  </a:lnTo>
                  <a:lnTo>
                    <a:pt x="566" y="483"/>
                  </a:lnTo>
                  <a:lnTo>
                    <a:pt x="563" y="487"/>
                  </a:lnTo>
                  <a:lnTo>
                    <a:pt x="561" y="492"/>
                  </a:lnTo>
                  <a:lnTo>
                    <a:pt x="561" y="496"/>
                  </a:lnTo>
                  <a:lnTo>
                    <a:pt x="561" y="501"/>
                  </a:lnTo>
                  <a:lnTo>
                    <a:pt x="562" y="508"/>
                  </a:lnTo>
                  <a:lnTo>
                    <a:pt x="564" y="518"/>
                  </a:lnTo>
                  <a:lnTo>
                    <a:pt x="565" y="522"/>
                  </a:lnTo>
                  <a:lnTo>
                    <a:pt x="564" y="525"/>
                  </a:lnTo>
                  <a:lnTo>
                    <a:pt x="565" y="529"/>
                  </a:lnTo>
                  <a:lnTo>
                    <a:pt x="566" y="534"/>
                  </a:lnTo>
                  <a:lnTo>
                    <a:pt x="569" y="538"/>
                  </a:lnTo>
                  <a:lnTo>
                    <a:pt x="571" y="543"/>
                  </a:lnTo>
                  <a:lnTo>
                    <a:pt x="574" y="547"/>
                  </a:lnTo>
                  <a:lnTo>
                    <a:pt x="576" y="550"/>
                  </a:lnTo>
                  <a:lnTo>
                    <a:pt x="580" y="552"/>
                  </a:lnTo>
                  <a:lnTo>
                    <a:pt x="583" y="553"/>
                  </a:lnTo>
                  <a:lnTo>
                    <a:pt x="587" y="554"/>
                  </a:lnTo>
                  <a:lnTo>
                    <a:pt x="590" y="557"/>
                  </a:lnTo>
                  <a:lnTo>
                    <a:pt x="592" y="559"/>
                  </a:lnTo>
                  <a:lnTo>
                    <a:pt x="593" y="563"/>
                  </a:lnTo>
                  <a:lnTo>
                    <a:pt x="593" y="566"/>
                  </a:lnTo>
                  <a:lnTo>
                    <a:pt x="590" y="566"/>
                  </a:lnTo>
                  <a:lnTo>
                    <a:pt x="587" y="570"/>
                  </a:lnTo>
                  <a:lnTo>
                    <a:pt x="583" y="571"/>
                  </a:lnTo>
                  <a:lnTo>
                    <a:pt x="581" y="575"/>
                  </a:lnTo>
                  <a:lnTo>
                    <a:pt x="577" y="575"/>
                  </a:lnTo>
                  <a:lnTo>
                    <a:pt x="574" y="575"/>
                  </a:lnTo>
                  <a:lnTo>
                    <a:pt x="571" y="577"/>
                  </a:lnTo>
                  <a:lnTo>
                    <a:pt x="570" y="579"/>
                  </a:lnTo>
                  <a:lnTo>
                    <a:pt x="567" y="582"/>
                  </a:lnTo>
                  <a:lnTo>
                    <a:pt x="564" y="582"/>
                  </a:lnTo>
                  <a:lnTo>
                    <a:pt x="561" y="582"/>
                  </a:lnTo>
                  <a:lnTo>
                    <a:pt x="557" y="584"/>
                  </a:lnTo>
                  <a:lnTo>
                    <a:pt x="550" y="586"/>
                  </a:lnTo>
                  <a:lnTo>
                    <a:pt x="544" y="590"/>
                  </a:lnTo>
                  <a:lnTo>
                    <a:pt x="543" y="593"/>
                  </a:lnTo>
                  <a:lnTo>
                    <a:pt x="540" y="594"/>
                  </a:lnTo>
                  <a:lnTo>
                    <a:pt x="535" y="596"/>
                  </a:lnTo>
                  <a:lnTo>
                    <a:pt x="534" y="599"/>
                  </a:lnTo>
                  <a:lnTo>
                    <a:pt x="533" y="607"/>
                  </a:lnTo>
                  <a:lnTo>
                    <a:pt x="528" y="608"/>
                  </a:lnTo>
                  <a:lnTo>
                    <a:pt x="525" y="609"/>
                  </a:lnTo>
                  <a:lnTo>
                    <a:pt x="523" y="611"/>
                  </a:lnTo>
                  <a:lnTo>
                    <a:pt x="522" y="614"/>
                  </a:lnTo>
                  <a:lnTo>
                    <a:pt x="521" y="618"/>
                  </a:lnTo>
                  <a:lnTo>
                    <a:pt x="521" y="624"/>
                  </a:lnTo>
                  <a:lnTo>
                    <a:pt x="519" y="627"/>
                  </a:lnTo>
                  <a:lnTo>
                    <a:pt x="516" y="630"/>
                  </a:lnTo>
                  <a:lnTo>
                    <a:pt x="512" y="637"/>
                  </a:lnTo>
                  <a:lnTo>
                    <a:pt x="511" y="643"/>
                  </a:lnTo>
                  <a:lnTo>
                    <a:pt x="507" y="645"/>
                  </a:lnTo>
                  <a:lnTo>
                    <a:pt x="503" y="647"/>
                  </a:lnTo>
                  <a:lnTo>
                    <a:pt x="505" y="654"/>
                  </a:lnTo>
                  <a:lnTo>
                    <a:pt x="508" y="656"/>
                  </a:lnTo>
                  <a:lnTo>
                    <a:pt x="511" y="658"/>
                  </a:lnTo>
                  <a:lnTo>
                    <a:pt x="511" y="661"/>
                  </a:lnTo>
                  <a:lnTo>
                    <a:pt x="508" y="661"/>
                  </a:lnTo>
                  <a:lnTo>
                    <a:pt x="505" y="662"/>
                  </a:lnTo>
                  <a:lnTo>
                    <a:pt x="500" y="662"/>
                  </a:lnTo>
                  <a:lnTo>
                    <a:pt x="496" y="663"/>
                  </a:lnTo>
                  <a:lnTo>
                    <a:pt x="493" y="661"/>
                  </a:lnTo>
                  <a:lnTo>
                    <a:pt x="486" y="659"/>
                  </a:lnTo>
                  <a:lnTo>
                    <a:pt x="482" y="660"/>
                  </a:lnTo>
                  <a:lnTo>
                    <a:pt x="478" y="661"/>
                  </a:lnTo>
                  <a:lnTo>
                    <a:pt x="474" y="658"/>
                  </a:lnTo>
                  <a:lnTo>
                    <a:pt x="469" y="659"/>
                  </a:lnTo>
                  <a:lnTo>
                    <a:pt x="466" y="658"/>
                  </a:lnTo>
                  <a:lnTo>
                    <a:pt x="459" y="662"/>
                  </a:lnTo>
                  <a:lnTo>
                    <a:pt x="457" y="663"/>
                  </a:lnTo>
                  <a:lnTo>
                    <a:pt x="453" y="667"/>
                  </a:lnTo>
                  <a:lnTo>
                    <a:pt x="450" y="668"/>
                  </a:lnTo>
                  <a:lnTo>
                    <a:pt x="447" y="669"/>
                  </a:lnTo>
                  <a:lnTo>
                    <a:pt x="443" y="670"/>
                  </a:lnTo>
                  <a:lnTo>
                    <a:pt x="438" y="672"/>
                  </a:lnTo>
                  <a:lnTo>
                    <a:pt x="435" y="676"/>
                  </a:lnTo>
                  <a:lnTo>
                    <a:pt x="433" y="679"/>
                  </a:lnTo>
                  <a:lnTo>
                    <a:pt x="428" y="682"/>
                  </a:lnTo>
                  <a:lnTo>
                    <a:pt x="426" y="685"/>
                  </a:lnTo>
                  <a:lnTo>
                    <a:pt x="424" y="688"/>
                  </a:lnTo>
                  <a:lnTo>
                    <a:pt x="423" y="691"/>
                  </a:lnTo>
                  <a:lnTo>
                    <a:pt x="421" y="696"/>
                  </a:lnTo>
                  <a:lnTo>
                    <a:pt x="418" y="701"/>
                  </a:lnTo>
                  <a:lnTo>
                    <a:pt x="416" y="706"/>
                  </a:lnTo>
                  <a:lnTo>
                    <a:pt x="416" y="709"/>
                  </a:lnTo>
                  <a:lnTo>
                    <a:pt x="413" y="709"/>
                  </a:lnTo>
                  <a:lnTo>
                    <a:pt x="409" y="711"/>
                  </a:lnTo>
                  <a:lnTo>
                    <a:pt x="406" y="716"/>
                  </a:lnTo>
                  <a:lnTo>
                    <a:pt x="403" y="719"/>
                  </a:lnTo>
                  <a:lnTo>
                    <a:pt x="401" y="722"/>
                  </a:lnTo>
                  <a:lnTo>
                    <a:pt x="398" y="724"/>
                  </a:lnTo>
                  <a:lnTo>
                    <a:pt x="395" y="725"/>
                  </a:lnTo>
                  <a:lnTo>
                    <a:pt x="391" y="724"/>
                  </a:lnTo>
                  <a:lnTo>
                    <a:pt x="388" y="718"/>
                  </a:lnTo>
                  <a:lnTo>
                    <a:pt x="384" y="714"/>
                  </a:lnTo>
                  <a:lnTo>
                    <a:pt x="381" y="713"/>
                  </a:lnTo>
                  <a:lnTo>
                    <a:pt x="377" y="714"/>
                  </a:lnTo>
                  <a:lnTo>
                    <a:pt x="373" y="712"/>
                  </a:lnTo>
                  <a:lnTo>
                    <a:pt x="364" y="712"/>
                  </a:lnTo>
                  <a:lnTo>
                    <a:pt x="361" y="715"/>
                  </a:lnTo>
                  <a:lnTo>
                    <a:pt x="359" y="719"/>
                  </a:lnTo>
                  <a:lnTo>
                    <a:pt x="355" y="721"/>
                  </a:lnTo>
                  <a:lnTo>
                    <a:pt x="351" y="722"/>
                  </a:lnTo>
                  <a:lnTo>
                    <a:pt x="348" y="721"/>
                  </a:lnTo>
                  <a:lnTo>
                    <a:pt x="346" y="719"/>
                  </a:lnTo>
                  <a:lnTo>
                    <a:pt x="343" y="719"/>
                  </a:lnTo>
                  <a:lnTo>
                    <a:pt x="340" y="716"/>
                  </a:lnTo>
                  <a:lnTo>
                    <a:pt x="337" y="714"/>
                  </a:lnTo>
                  <a:lnTo>
                    <a:pt x="334" y="714"/>
                  </a:lnTo>
                  <a:lnTo>
                    <a:pt x="315" y="709"/>
                  </a:lnTo>
                  <a:lnTo>
                    <a:pt x="308" y="709"/>
                  </a:lnTo>
                  <a:lnTo>
                    <a:pt x="304" y="711"/>
                  </a:lnTo>
                  <a:lnTo>
                    <a:pt x="300" y="712"/>
                  </a:lnTo>
                  <a:lnTo>
                    <a:pt x="298" y="711"/>
                  </a:lnTo>
                  <a:lnTo>
                    <a:pt x="286" y="706"/>
                  </a:lnTo>
                  <a:lnTo>
                    <a:pt x="280" y="705"/>
                  </a:lnTo>
                  <a:lnTo>
                    <a:pt x="277" y="705"/>
                  </a:lnTo>
                  <a:lnTo>
                    <a:pt x="271" y="701"/>
                  </a:lnTo>
                  <a:lnTo>
                    <a:pt x="268" y="700"/>
                  </a:lnTo>
                  <a:lnTo>
                    <a:pt x="261" y="701"/>
                  </a:lnTo>
                  <a:lnTo>
                    <a:pt x="254" y="699"/>
                  </a:lnTo>
                  <a:lnTo>
                    <a:pt x="243" y="700"/>
                  </a:lnTo>
                  <a:lnTo>
                    <a:pt x="228" y="696"/>
                  </a:lnTo>
                  <a:lnTo>
                    <a:pt x="222" y="700"/>
                  </a:lnTo>
                  <a:lnTo>
                    <a:pt x="219" y="704"/>
                  </a:lnTo>
                  <a:lnTo>
                    <a:pt x="208" y="710"/>
                  </a:lnTo>
                  <a:lnTo>
                    <a:pt x="206" y="712"/>
                  </a:lnTo>
                  <a:lnTo>
                    <a:pt x="203" y="713"/>
                  </a:lnTo>
                  <a:lnTo>
                    <a:pt x="200" y="713"/>
                  </a:lnTo>
                  <a:lnTo>
                    <a:pt x="197" y="713"/>
                  </a:lnTo>
                  <a:lnTo>
                    <a:pt x="188" y="709"/>
                  </a:lnTo>
                  <a:lnTo>
                    <a:pt x="185" y="709"/>
                  </a:lnTo>
                  <a:lnTo>
                    <a:pt x="179" y="711"/>
                  </a:lnTo>
                  <a:lnTo>
                    <a:pt x="174" y="711"/>
                  </a:lnTo>
                  <a:lnTo>
                    <a:pt x="170" y="713"/>
                  </a:lnTo>
                  <a:lnTo>
                    <a:pt x="166" y="713"/>
                  </a:lnTo>
                  <a:lnTo>
                    <a:pt x="163" y="714"/>
                  </a:lnTo>
                  <a:lnTo>
                    <a:pt x="160" y="717"/>
                  </a:lnTo>
                  <a:lnTo>
                    <a:pt x="157" y="722"/>
                  </a:lnTo>
                  <a:lnTo>
                    <a:pt x="154" y="724"/>
                  </a:lnTo>
                  <a:lnTo>
                    <a:pt x="153" y="726"/>
                  </a:lnTo>
                  <a:lnTo>
                    <a:pt x="148" y="731"/>
                  </a:lnTo>
                  <a:lnTo>
                    <a:pt x="146" y="736"/>
                  </a:lnTo>
                  <a:lnTo>
                    <a:pt x="143" y="733"/>
                  </a:lnTo>
                  <a:lnTo>
                    <a:pt x="140" y="731"/>
                  </a:lnTo>
                  <a:lnTo>
                    <a:pt x="139" y="734"/>
                  </a:lnTo>
                  <a:lnTo>
                    <a:pt x="138" y="737"/>
                  </a:lnTo>
                  <a:lnTo>
                    <a:pt x="138" y="741"/>
                  </a:lnTo>
                  <a:lnTo>
                    <a:pt x="128" y="743"/>
                  </a:lnTo>
                  <a:lnTo>
                    <a:pt x="123" y="740"/>
                  </a:lnTo>
                  <a:lnTo>
                    <a:pt x="120" y="738"/>
                  </a:lnTo>
                  <a:lnTo>
                    <a:pt x="117" y="737"/>
                  </a:lnTo>
                  <a:lnTo>
                    <a:pt x="115" y="735"/>
                  </a:lnTo>
                  <a:lnTo>
                    <a:pt x="112" y="734"/>
                  </a:lnTo>
                  <a:lnTo>
                    <a:pt x="110" y="730"/>
                  </a:lnTo>
                  <a:lnTo>
                    <a:pt x="106" y="724"/>
                  </a:lnTo>
                  <a:lnTo>
                    <a:pt x="103" y="723"/>
                  </a:lnTo>
                  <a:lnTo>
                    <a:pt x="100" y="722"/>
                  </a:lnTo>
                  <a:lnTo>
                    <a:pt x="97" y="721"/>
                  </a:lnTo>
                  <a:lnTo>
                    <a:pt x="94" y="714"/>
                  </a:lnTo>
                  <a:lnTo>
                    <a:pt x="93" y="711"/>
                  </a:lnTo>
                  <a:lnTo>
                    <a:pt x="90" y="708"/>
                  </a:lnTo>
                  <a:lnTo>
                    <a:pt x="90" y="705"/>
                  </a:lnTo>
                  <a:lnTo>
                    <a:pt x="90" y="701"/>
                  </a:lnTo>
                  <a:lnTo>
                    <a:pt x="88" y="698"/>
                  </a:lnTo>
                  <a:lnTo>
                    <a:pt x="87" y="693"/>
                  </a:lnTo>
                  <a:lnTo>
                    <a:pt x="86" y="690"/>
                  </a:lnTo>
                  <a:lnTo>
                    <a:pt x="85" y="687"/>
                  </a:lnTo>
                  <a:lnTo>
                    <a:pt x="88" y="691"/>
                  </a:lnTo>
                  <a:lnTo>
                    <a:pt x="92" y="688"/>
                  </a:lnTo>
                  <a:lnTo>
                    <a:pt x="89" y="688"/>
                  </a:lnTo>
                  <a:lnTo>
                    <a:pt x="90" y="683"/>
                  </a:lnTo>
                  <a:lnTo>
                    <a:pt x="87" y="678"/>
                  </a:lnTo>
                  <a:lnTo>
                    <a:pt x="81" y="676"/>
                  </a:lnTo>
                  <a:lnTo>
                    <a:pt x="79" y="671"/>
                  </a:lnTo>
                  <a:lnTo>
                    <a:pt x="77" y="667"/>
                  </a:lnTo>
                  <a:lnTo>
                    <a:pt x="77" y="663"/>
                  </a:lnTo>
                  <a:lnTo>
                    <a:pt x="81" y="662"/>
                  </a:lnTo>
                  <a:lnTo>
                    <a:pt x="84" y="662"/>
                  </a:lnTo>
                  <a:lnTo>
                    <a:pt x="87" y="659"/>
                  </a:lnTo>
                  <a:lnTo>
                    <a:pt x="87" y="655"/>
                  </a:lnTo>
                  <a:lnTo>
                    <a:pt x="90" y="651"/>
                  </a:lnTo>
                  <a:lnTo>
                    <a:pt x="96" y="653"/>
                  </a:lnTo>
                  <a:lnTo>
                    <a:pt x="99" y="651"/>
                  </a:lnTo>
                  <a:lnTo>
                    <a:pt x="95" y="652"/>
                  </a:lnTo>
                  <a:lnTo>
                    <a:pt x="92" y="650"/>
                  </a:lnTo>
                  <a:lnTo>
                    <a:pt x="89" y="651"/>
                  </a:lnTo>
                  <a:lnTo>
                    <a:pt x="86" y="653"/>
                  </a:lnTo>
                  <a:lnTo>
                    <a:pt x="86" y="659"/>
                  </a:lnTo>
                  <a:lnTo>
                    <a:pt x="83" y="659"/>
                  </a:lnTo>
                  <a:lnTo>
                    <a:pt x="81" y="656"/>
                  </a:lnTo>
                  <a:lnTo>
                    <a:pt x="80" y="649"/>
                  </a:lnTo>
                  <a:lnTo>
                    <a:pt x="79" y="646"/>
                  </a:lnTo>
                  <a:lnTo>
                    <a:pt x="61" y="626"/>
                  </a:lnTo>
                  <a:lnTo>
                    <a:pt x="58" y="624"/>
                  </a:lnTo>
                  <a:lnTo>
                    <a:pt x="54" y="620"/>
                  </a:lnTo>
                  <a:lnTo>
                    <a:pt x="51" y="618"/>
                  </a:lnTo>
                  <a:lnTo>
                    <a:pt x="50" y="613"/>
                  </a:lnTo>
                  <a:lnTo>
                    <a:pt x="55" y="608"/>
                  </a:lnTo>
                  <a:lnTo>
                    <a:pt x="52" y="610"/>
                  </a:lnTo>
                  <a:lnTo>
                    <a:pt x="48" y="611"/>
                  </a:lnTo>
                  <a:lnTo>
                    <a:pt x="49" y="614"/>
                  </a:lnTo>
                  <a:lnTo>
                    <a:pt x="49" y="617"/>
                  </a:lnTo>
                  <a:lnTo>
                    <a:pt x="42" y="612"/>
                  </a:lnTo>
                  <a:lnTo>
                    <a:pt x="34" y="609"/>
                  </a:lnTo>
                  <a:lnTo>
                    <a:pt x="37" y="610"/>
                  </a:lnTo>
                  <a:lnTo>
                    <a:pt x="21" y="608"/>
                  </a:lnTo>
                  <a:lnTo>
                    <a:pt x="16" y="609"/>
                  </a:lnTo>
                  <a:lnTo>
                    <a:pt x="14" y="603"/>
                  </a:lnTo>
                  <a:lnTo>
                    <a:pt x="15" y="599"/>
                  </a:lnTo>
                  <a:lnTo>
                    <a:pt x="15" y="596"/>
                  </a:lnTo>
                  <a:lnTo>
                    <a:pt x="16" y="589"/>
                  </a:lnTo>
                  <a:lnTo>
                    <a:pt x="15" y="586"/>
                  </a:lnTo>
                  <a:lnTo>
                    <a:pt x="16" y="583"/>
                  </a:lnTo>
                  <a:lnTo>
                    <a:pt x="15" y="579"/>
                  </a:lnTo>
                  <a:lnTo>
                    <a:pt x="13" y="575"/>
                  </a:lnTo>
                  <a:lnTo>
                    <a:pt x="13" y="571"/>
                  </a:lnTo>
                  <a:lnTo>
                    <a:pt x="15" y="569"/>
                  </a:lnTo>
                  <a:lnTo>
                    <a:pt x="18" y="566"/>
                  </a:lnTo>
                  <a:lnTo>
                    <a:pt x="21" y="560"/>
                  </a:lnTo>
                  <a:lnTo>
                    <a:pt x="22" y="557"/>
                  </a:lnTo>
                  <a:lnTo>
                    <a:pt x="31" y="552"/>
                  </a:lnTo>
                  <a:lnTo>
                    <a:pt x="34" y="549"/>
                  </a:lnTo>
                  <a:lnTo>
                    <a:pt x="35" y="546"/>
                  </a:lnTo>
                  <a:lnTo>
                    <a:pt x="38" y="542"/>
                  </a:lnTo>
                  <a:lnTo>
                    <a:pt x="39" y="539"/>
                  </a:lnTo>
                  <a:lnTo>
                    <a:pt x="42" y="538"/>
                  </a:lnTo>
                  <a:lnTo>
                    <a:pt x="44" y="538"/>
                  </a:lnTo>
                  <a:lnTo>
                    <a:pt x="47" y="538"/>
                  </a:lnTo>
                  <a:lnTo>
                    <a:pt x="50" y="535"/>
                  </a:lnTo>
                  <a:lnTo>
                    <a:pt x="56" y="538"/>
                  </a:lnTo>
                  <a:lnTo>
                    <a:pt x="59" y="535"/>
                  </a:lnTo>
                  <a:lnTo>
                    <a:pt x="60" y="532"/>
                  </a:lnTo>
                  <a:lnTo>
                    <a:pt x="62" y="530"/>
                  </a:lnTo>
                  <a:lnTo>
                    <a:pt x="64" y="527"/>
                  </a:lnTo>
                  <a:lnTo>
                    <a:pt x="66" y="524"/>
                  </a:lnTo>
                  <a:lnTo>
                    <a:pt x="63" y="522"/>
                  </a:lnTo>
                  <a:lnTo>
                    <a:pt x="59" y="523"/>
                  </a:lnTo>
                  <a:lnTo>
                    <a:pt x="56" y="523"/>
                  </a:lnTo>
                  <a:lnTo>
                    <a:pt x="53" y="521"/>
                  </a:lnTo>
                  <a:lnTo>
                    <a:pt x="52" y="513"/>
                  </a:lnTo>
                  <a:lnTo>
                    <a:pt x="50" y="509"/>
                  </a:lnTo>
                  <a:lnTo>
                    <a:pt x="44" y="496"/>
                  </a:lnTo>
                  <a:lnTo>
                    <a:pt x="41" y="494"/>
                  </a:lnTo>
                  <a:lnTo>
                    <a:pt x="44" y="491"/>
                  </a:lnTo>
                  <a:lnTo>
                    <a:pt x="46" y="484"/>
                  </a:lnTo>
                  <a:lnTo>
                    <a:pt x="50" y="481"/>
                  </a:lnTo>
                  <a:lnTo>
                    <a:pt x="50" y="478"/>
                  </a:lnTo>
                  <a:lnTo>
                    <a:pt x="51" y="474"/>
                  </a:lnTo>
                  <a:lnTo>
                    <a:pt x="52" y="471"/>
                  </a:lnTo>
                  <a:lnTo>
                    <a:pt x="58" y="466"/>
                  </a:lnTo>
                  <a:lnTo>
                    <a:pt x="62" y="465"/>
                  </a:lnTo>
                  <a:lnTo>
                    <a:pt x="66" y="464"/>
                  </a:lnTo>
                  <a:lnTo>
                    <a:pt x="70" y="462"/>
                  </a:lnTo>
                  <a:lnTo>
                    <a:pt x="71" y="459"/>
                  </a:lnTo>
                  <a:lnTo>
                    <a:pt x="72" y="456"/>
                  </a:lnTo>
                  <a:lnTo>
                    <a:pt x="79" y="451"/>
                  </a:lnTo>
                  <a:lnTo>
                    <a:pt x="80" y="448"/>
                  </a:lnTo>
                  <a:lnTo>
                    <a:pt x="80" y="444"/>
                  </a:lnTo>
                  <a:lnTo>
                    <a:pt x="79" y="441"/>
                  </a:lnTo>
                  <a:lnTo>
                    <a:pt x="74" y="438"/>
                  </a:lnTo>
                  <a:lnTo>
                    <a:pt x="71" y="439"/>
                  </a:lnTo>
                  <a:lnTo>
                    <a:pt x="68" y="438"/>
                  </a:lnTo>
                  <a:lnTo>
                    <a:pt x="68" y="435"/>
                  </a:lnTo>
                  <a:lnTo>
                    <a:pt x="68" y="432"/>
                  </a:lnTo>
                  <a:lnTo>
                    <a:pt x="65" y="429"/>
                  </a:lnTo>
                  <a:lnTo>
                    <a:pt x="63" y="426"/>
                  </a:lnTo>
                  <a:lnTo>
                    <a:pt x="63" y="422"/>
                  </a:lnTo>
                  <a:lnTo>
                    <a:pt x="62" y="415"/>
                  </a:lnTo>
                  <a:lnTo>
                    <a:pt x="61" y="411"/>
                  </a:lnTo>
                  <a:lnTo>
                    <a:pt x="62" y="408"/>
                  </a:lnTo>
                  <a:lnTo>
                    <a:pt x="63" y="405"/>
                  </a:lnTo>
                  <a:lnTo>
                    <a:pt x="63" y="402"/>
                  </a:lnTo>
                  <a:lnTo>
                    <a:pt x="60" y="400"/>
                  </a:lnTo>
                  <a:lnTo>
                    <a:pt x="58" y="398"/>
                  </a:lnTo>
                  <a:lnTo>
                    <a:pt x="58" y="395"/>
                  </a:lnTo>
                  <a:lnTo>
                    <a:pt x="55" y="392"/>
                  </a:lnTo>
                  <a:lnTo>
                    <a:pt x="53" y="389"/>
                  </a:lnTo>
                  <a:lnTo>
                    <a:pt x="51" y="380"/>
                  </a:lnTo>
                  <a:lnTo>
                    <a:pt x="66" y="383"/>
                  </a:lnTo>
                  <a:lnTo>
                    <a:pt x="69" y="383"/>
                  </a:lnTo>
                  <a:lnTo>
                    <a:pt x="72" y="384"/>
                  </a:lnTo>
                  <a:lnTo>
                    <a:pt x="75" y="385"/>
                  </a:lnTo>
                  <a:lnTo>
                    <a:pt x="88" y="386"/>
                  </a:lnTo>
                  <a:lnTo>
                    <a:pt x="91" y="384"/>
                  </a:lnTo>
                  <a:lnTo>
                    <a:pt x="92" y="380"/>
                  </a:lnTo>
                  <a:lnTo>
                    <a:pt x="93" y="377"/>
                  </a:lnTo>
                  <a:lnTo>
                    <a:pt x="96" y="375"/>
                  </a:lnTo>
                  <a:lnTo>
                    <a:pt x="99" y="373"/>
                  </a:lnTo>
                  <a:lnTo>
                    <a:pt x="100" y="370"/>
                  </a:lnTo>
                  <a:lnTo>
                    <a:pt x="101" y="367"/>
                  </a:lnTo>
                  <a:lnTo>
                    <a:pt x="102" y="364"/>
                  </a:lnTo>
                  <a:lnTo>
                    <a:pt x="103" y="361"/>
                  </a:lnTo>
                  <a:lnTo>
                    <a:pt x="103" y="354"/>
                  </a:lnTo>
                  <a:lnTo>
                    <a:pt x="101" y="350"/>
                  </a:lnTo>
                  <a:lnTo>
                    <a:pt x="98" y="348"/>
                  </a:lnTo>
                  <a:lnTo>
                    <a:pt x="97" y="343"/>
                  </a:lnTo>
                  <a:lnTo>
                    <a:pt x="99" y="338"/>
                  </a:lnTo>
                  <a:lnTo>
                    <a:pt x="104" y="336"/>
                  </a:lnTo>
                  <a:lnTo>
                    <a:pt x="107" y="337"/>
                  </a:lnTo>
                  <a:lnTo>
                    <a:pt x="110" y="336"/>
                  </a:lnTo>
                  <a:lnTo>
                    <a:pt x="111" y="334"/>
                  </a:lnTo>
                  <a:lnTo>
                    <a:pt x="115" y="332"/>
                  </a:lnTo>
                  <a:lnTo>
                    <a:pt x="117" y="329"/>
                  </a:lnTo>
                  <a:lnTo>
                    <a:pt x="114" y="324"/>
                  </a:lnTo>
                  <a:lnTo>
                    <a:pt x="114" y="321"/>
                  </a:lnTo>
                  <a:lnTo>
                    <a:pt x="116" y="318"/>
                  </a:lnTo>
                  <a:lnTo>
                    <a:pt x="119" y="315"/>
                  </a:lnTo>
                  <a:lnTo>
                    <a:pt x="118" y="312"/>
                  </a:lnTo>
                  <a:lnTo>
                    <a:pt x="118" y="308"/>
                  </a:lnTo>
                  <a:lnTo>
                    <a:pt x="120" y="304"/>
                  </a:lnTo>
                  <a:lnTo>
                    <a:pt x="121" y="302"/>
                  </a:lnTo>
                  <a:lnTo>
                    <a:pt x="122" y="297"/>
                  </a:lnTo>
                  <a:lnTo>
                    <a:pt x="121" y="294"/>
                  </a:lnTo>
                  <a:lnTo>
                    <a:pt x="122" y="290"/>
                  </a:lnTo>
                  <a:lnTo>
                    <a:pt x="123" y="287"/>
                  </a:lnTo>
                  <a:lnTo>
                    <a:pt x="123" y="284"/>
                  </a:lnTo>
                  <a:lnTo>
                    <a:pt x="125" y="282"/>
                  </a:lnTo>
                  <a:lnTo>
                    <a:pt x="123" y="278"/>
                  </a:lnTo>
                  <a:lnTo>
                    <a:pt x="122" y="274"/>
                  </a:lnTo>
                  <a:lnTo>
                    <a:pt x="120" y="269"/>
                  </a:lnTo>
                  <a:lnTo>
                    <a:pt x="120" y="266"/>
                  </a:lnTo>
                  <a:lnTo>
                    <a:pt x="127" y="265"/>
                  </a:lnTo>
                  <a:lnTo>
                    <a:pt x="130" y="265"/>
                  </a:lnTo>
                  <a:lnTo>
                    <a:pt x="133" y="261"/>
                  </a:lnTo>
                  <a:lnTo>
                    <a:pt x="134" y="257"/>
                  </a:lnTo>
                  <a:lnTo>
                    <a:pt x="139" y="254"/>
                  </a:lnTo>
                  <a:lnTo>
                    <a:pt x="143" y="249"/>
                  </a:lnTo>
                  <a:lnTo>
                    <a:pt x="150" y="250"/>
                  </a:lnTo>
                  <a:lnTo>
                    <a:pt x="156" y="249"/>
                  </a:lnTo>
                  <a:lnTo>
                    <a:pt x="161" y="246"/>
                  </a:lnTo>
                  <a:lnTo>
                    <a:pt x="164" y="243"/>
                  </a:lnTo>
                  <a:lnTo>
                    <a:pt x="168" y="240"/>
                  </a:lnTo>
                  <a:lnTo>
                    <a:pt x="173" y="236"/>
                  </a:lnTo>
                  <a:lnTo>
                    <a:pt x="174" y="234"/>
                  </a:lnTo>
                  <a:lnTo>
                    <a:pt x="181" y="228"/>
                  </a:lnTo>
                  <a:lnTo>
                    <a:pt x="177" y="221"/>
                  </a:lnTo>
                  <a:lnTo>
                    <a:pt x="174" y="218"/>
                  </a:lnTo>
                  <a:lnTo>
                    <a:pt x="171" y="216"/>
                  </a:lnTo>
                  <a:lnTo>
                    <a:pt x="166" y="214"/>
                  </a:lnTo>
                  <a:lnTo>
                    <a:pt x="163" y="215"/>
                  </a:lnTo>
                  <a:lnTo>
                    <a:pt x="160" y="214"/>
                  </a:lnTo>
                  <a:lnTo>
                    <a:pt x="159" y="211"/>
                  </a:lnTo>
                  <a:lnTo>
                    <a:pt x="159" y="207"/>
                  </a:lnTo>
                  <a:lnTo>
                    <a:pt x="160" y="204"/>
                  </a:lnTo>
                  <a:lnTo>
                    <a:pt x="163" y="197"/>
                  </a:lnTo>
                  <a:lnTo>
                    <a:pt x="161" y="193"/>
                  </a:lnTo>
                  <a:lnTo>
                    <a:pt x="163" y="190"/>
                  </a:lnTo>
                  <a:lnTo>
                    <a:pt x="162" y="187"/>
                  </a:lnTo>
                  <a:lnTo>
                    <a:pt x="159" y="188"/>
                  </a:lnTo>
                  <a:lnTo>
                    <a:pt x="152" y="187"/>
                  </a:lnTo>
                  <a:lnTo>
                    <a:pt x="148" y="181"/>
                  </a:lnTo>
                  <a:lnTo>
                    <a:pt x="145" y="183"/>
                  </a:lnTo>
                  <a:lnTo>
                    <a:pt x="139" y="183"/>
                  </a:lnTo>
                  <a:lnTo>
                    <a:pt x="135" y="181"/>
                  </a:lnTo>
                  <a:lnTo>
                    <a:pt x="132" y="180"/>
                  </a:lnTo>
                  <a:lnTo>
                    <a:pt x="128" y="179"/>
                  </a:lnTo>
                  <a:lnTo>
                    <a:pt x="124" y="175"/>
                  </a:lnTo>
                  <a:lnTo>
                    <a:pt x="121" y="176"/>
                  </a:lnTo>
                  <a:lnTo>
                    <a:pt x="120" y="181"/>
                  </a:lnTo>
                  <a:lnTo>
                    <a:pt x="117" y="184"/>
                  </a:lnTo>
                  <a:lnTo>
                    <a:pt x="110" y="185"/>
                  </a:lnTo>
                  <a:lnTo>
                    <a:pt x="106" y="185"/>
                  </a:lnTo>
                  <a:lnTo>
                    <a:pt x="102" y="186"/>
                  </a:lnTo>
                  <a:lnTo>
                    <a:pt x="100" y="182"/>
                  </a:lnTo>
                  <a:lnTo>
                    <a:pt x="98" y="181"/>
                  </a:lnTo>
                  <a:lnTo>
                    <a:pt x="94" y="183"/>
                  </a:lnTo>
                  <a:lnTo>
                    <a:pt x="91" y="183"/>
                  </a:lnTo>
                  <a:lnTo>
                    <a:pt x="91" y="178"/>
                  </a:lnTo>
                  <a:lnTo>
                    <a:pt x="88" y="177"/>
                  </a:lnTo>
                  <a:lnTo>
                    <a:pt x="85" y="175"/>
                  </a:lnTo>
                  <a:lnTo>
                    <a:pt x="82" y="175"/>
                  </a:lnTo>
                  <a:lnTo>
                    <a:pt x="77" y="175"/>
                  </a:lnTo>
                  <a:lnTo>
                    <a:pt x="74" y="174"/>
                  </a:lnTo>
                  <a:lnTo>
                    <a:pt x="70" y="175"/>
                  </a:lnTo>
                  <a:lnTo>
                    <a:pt x="71" y="172"/>
                  </a:lnTo>
                  <a:lnTo>
                    <a:pt x="67" y="173"/>
                  </a:lnTo>
                  <a:lnTo>
                    <a:pt x="64" y="173"/>
                  </a:lnTo>
                  <a:lnTo>
                    <a:pt x="59" y="176"/>
                  </a:lnTo>
                  <a:lnTo>
                    <a:pt x="56" y="176"/>
                  </a:lnTo>
                  <a:lnTo>
                    <a:pt x="51" y="175"/>
                  </a:lnTo>
                  <a:lnTo>
                    <a:pt x="52" y="171"/>
                  </a:lnTo>
                  <a:lnTo>
                    <a:pt x="49" y="169"/>
                  </a:lnTo>
                  <a:lnTo>
                    <a:pt x="49" y="165"/>
                  </a:lnTo>
                  <a:lnTo>
                    <a:pt x="54" y="161"/>
                  </a:lnTo>
                  <a:lnTo>
                    <a:pt x="58" y="159"/>
                  </a:lnTo>
                  <a:lnTo>
                    <a:pt x="61" y="154"/>
                  </a:lnTo>
                  <a:lnTo>
                    <a:pt x="59" y="151"/>
                  </a:lnTo>
                  <a:lnTo>
                    <a:pt x="56" y="151"/>
                  </a:lnTo>
                  <a:lnTo>
                    <a:pt x="55" y="145"/>
                  </a:lnTo>
                  <a:lnTo>
                    <a:pt x="52" y="143"/>
                  </a:lnTo>
                  <a:lnTo>
                    <a:pt x="49" y="143"/>
                  </a:lnTo>
                  <a:lnTo>
                    <a:pt x="45" y="145"/>
                  </a:lnTo>
                  <a:lnTo>
                    <a:pt x="35" y="144"/>
                  </a:lnTo>
                  <a:lnTo>
                    <a:pt x="31" y="145"/>
                  </a:lnTo>
                  <a:lnTo>
                    <a:pt x="27" y="145"/>
                  </a:lnTo>
                  <a:lnTo>
                    <a:pt x="24" y="146"/>
                  </a:lnTo>
                  <a:lnTo>
                    <a:pt x="22" y="149"/>
                  </a:lnTo>
                  <a:lnTo>
                    <a:pt x="18" y="149"/>
                  </a:lnTo>
                  <a:lnTo>
                    <a:pt x="15" y="151"/>
                  </a:lnTo>
                  <a:lnTo>
                    <a:pt x="11" y="153"/>
                  </a:lnTo>
                  <a:lnTo>
                    <a:pt x="7" y="155"/>
                  </a:lnTo>
                  <a:lnTo>
                    <a:pt x="9" y="136"/>
                  </a:lnTo>
                  <a:lnTo>
                    <a:pt x="13" y="134"/>
                  </a:lnTo>
                  <a:lnTo>
                    <a:pt x="14" y="131"/>
                  </a:lnTo>
                  <a:lnTo>
                    <a:pt x="17" y="129"/>
                  </a:lnTo>
                  <a:lnTo>
                    <a:pt x="20" y="127"/>
                  </a:lnTo>
                  <a:lnTo>
                    <a:pt x="24" y="125"/>
                  </a:lnTo>
                  <a:lnTo>
                    <a:pt x="28" y="123"/>
                  </a:lnTo>
                  <a:lnTo>
                    <a:pt x="31" y="123"/>
                  </a:lnTo>
                  <a:lnTo>
                    <a:pt x="32" y="119"/>
                  </a:lnTo>
                  <a:lnTo>
                    <a:pt x="29" y="120"/>
                  </a:lnTo>
                  <a:lnTo>
                    <a:pt x="26" y="122"/>
                  </a:lnTo>
                  <a:lnTo>
                    <a:pt x="21" y="123"/>
                  </a:lnTo>
                  <a:lnTo>
                    <a:pt x="16" y="122"/>
                  </a:lnTo>
                  <a:lnTo>
                    <a:pt x="16" y="119"/>
                  </a:lnTo>
                  <a:lnTo>
                    <a:pt x="18" y="116"/>
                  </a:lnTo>
                  <a:lnTo>
                    <a:pt x="22" y="116"/>
                  </a:lnTo>
                  <a:lnTo>
                    <a:pt x="26" y="113"/>
                  </a:lnTo>
                  <a:lnTo>
                    <a:pt x="30" y="111"/>
                  </a:lnTo>
                  <a:lnTo>
                    <a:pt x="28" y="109"/>
                  </a:lnTo>
                  <a:lnTo>
                    <a:pt x="25" y="111"/>
                  </a:lnTo>
                  <a:lnTo>
                    <a:pt x="21" y="110"/>
                  </a:lnTo>
                  <a:lnTo>
                    <a:pt x="18" y="108"/>
                  </a:lnTo>
                  <a:lnTo>
                    <a:pt x="17" y="105"/>
                  </a:lnTo>
                  <a:lnTo>
                    <a:pt x="14" y="102"/>
                  </a:lnTo>
                  <a:lnTo>
                    <a:pt x="17" y="101"/>
                  </a:lnTo>
                  <a:lnTo>
                    <a:pt x="19" y="104"/>
                  </a:lnTo>
                  <a:lnTo>
                    <a:pt x="21" y="105"/>
                  </a:lnTo>
                  <a:lnTo>
                    <a:pt x="22" y="102"/>
                  </a:lnTo>
                  <a:lnTo>
                    <a:pt x="23" y="98"/>
                  </a:lnTo>
                  <a:lnTo>
                    <a:pt x="24" y="95"/>
                  </a:lnTo>
                  <a:lnTo>
                    <a:pt x="28" y="93"/>
                  </a:lnTo>
                  <a:lnTo>
                    <a:pt x="31" y="87"/>
                  </a:lnTo>
                  <a:lnTo>
                    <a:pt x="28" y="89"/>
                  </a:lnTo>
                  <a:lnTo>
                    <a:pt x="26" y="85"/>
                  </a:lnTo>
                  <a:lnTo>
                    <a:pt x="24" y="87"/>
                  </a:lnTo>
                  <a:lnTo>
                    <a:pt x="21" y="90"/>
                  </a:lnTo>
                  <a:lnTo>
                    <a:pt x="17" y="90"/>
                  </a:lnTo>
                  <a:lnTo>
                    <a:pt x="14" y="92"/>
                  </a:lnTo>
                  <a:lnTo>
                    <a:pt x="12" y="94"/>
                  </a:lnTo>
                  <a:lnTo>
                    <a:pt x="10" y="91"/>
                  </a:lnTo>
                  <a:lnTo>
                    <a:pt x="8" y="87"/>
                  </a:lnTo>
                  <a:lnTo>
                    <a:pt x="10" y="83"/>
                  </a:lnTo>
                  <a:lnTo>
                    <a:pt x="13" y="79"/>
                  </a:lnTo>
                  <a:lnTo>
                    <a:pt x="14" y="77"/>
                  </a:lnTo>
                  <a:lnTo>
                    <a:pt x="19" y="75"/>
                  </a:lnTo>
                  <a:lnTo>
                    <a:pt x="22" y="72"/>
                  </a:lnTo>
                  <a:lnTo>
                    <a:pt x="25" y="70"/>
                  </a:lnTo>
                  <a:lnTo>
                    <a:pt x="22" y="71"/>
                  </a:lnTo>
                  <a:lnTo>
                    <a:pt x="19" y="71"/>
                  </a:lnTo>
                  <a:lnTo>
                    <a:pt x="15" y="70"/>
                  </a:lnTo>
                  <a:lnTo>
                    <a:pt x="12" y="72"/>
                  </a:lnTo>
                  <a:lnTo>
                    <a:pt x="9" y="71"/>
                  </a:lnTo>
                  <a:lnTo>
                    <a:pt x="9" y="68"/>
                  </a:lnTo>
                  <a:lnTo>
                    <a:pt x="11" y="66"/>
                  </a:lnTo>
                  <a:lnTo>
                    <a:pt x="10" y="63"/>
                  </a:lnTo>
                  <a:lnTo>
                    <a:pt x="9" y="60"/>
                  </a:lnTo>
                  <a:lnTo>
                    <a:pt x="11" y="57"/>
                  </a:lnTo>
                  <a:lnTo>
                    <a:pt x="8" y="54"/>
                  </a:lnTo>
                  <a:lnTo>
                    <a:pt x="5" y="53"/>
                  </a:lnTo>
                  <a:lnTo>
                    <a:pt x="1" y="56"/>
                  </a:lnTo>
                  <a:lnTo>
                    <a:pt x="0" y="53"/>
                  </a:lnTo>
                  <a:lnTo>
                    <a:pt x="3" y="49"/>
                  </a:lnTo>
                  <a:lnTo>
                    <a:pt x="5" y="46"/>
                  </a:lnTo>
                  <a:lnTo>
                    <a:pt x="4" y="42"/>
                  </a:lnTo>
                  <a:lnTo>
                    <a:pt x="8" y="40"/>
                  </a:lnTo>
                  <a:lnTo>
                    <a:pt x="11" y="39"/>
                  </a:lnTo>
                  <a:lnTo>
                    <a:pt x="14" y="39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1" y="36"/>
                  </a:lnTo>
                  <a:lnTo>
                    <a:pt x="15" y="32"/>
                  </a:lnTo>
                  <a:lnTo>
                    <a:pt x="19" y="33"/>
                  </a:lnTo>
                  <a:lnTo>
                    <a:pt x="22" y="34"/>
                  </a:lnTo>
                  <a:lnTo>
                    <a:pt x="25" y="31"/>
                  </a:lnTo>
                  <a:lnTo>
                    <a:pt x="29" y="32"/>
                  </a:lnTo>
                  <a:lnTo>
                    <a:pt x="33" y="31"/>
                  </a:lnTo>
                  <a:lnTo>
                    <a:pt x="30" y="28"/>
                  </a:lnTo>
                  <a:lnTo>
                    <a:pt x="36" y="25"/>
                  </a:lnTo>
                  <a:lnTo>
                    <a:pt x="39" y="24"/>
                  </a:lnTo>
                  <a:lnTo>
                    <a:pt x="42" y="27"/>
                  </a:lnTo>
                  <a:lnTo>
                    <a:pt x="47" y="30"/>
                  </a:lnTo>
                  <a:lnTo>
                    <a:pt x="50" y="30"/>
                  </a:lnTo>
                  <a:lnTo>
                    <a:pt x="55" y="29"/>
                  </a:lnTo>
                  <a:lnTo>
                    <a:pt x="61" y="30"/>
                  </a:lnTo>
                  <a:lnTo>
                    <a:pt x="64" y="28"/>
                  </a:lnTo>
                  <a:lnTo>
                    <a:pt x="70" y="27"/>
                  </a:lnTo>
                  <a:lnTo>
                    <a:pt x="71" y="31"/>
                  </a:lnTo>
                  <a:lnTo>
                    <a:pt x="73" y="27"/>
                  </a:lnTo>
                  <a:lnTo>
                    <a:pt x="77" y="28"/>
                  </a:lnTo>
                  <a:lnTo>
                    <a:pt x="79" y="32"/>
                  </a:lnTo>
                  <a:lnTo>
                    <a:pt x="81" y="36"/>
                  </a:lnTo>
                  <a:lnTo>
                    <a:pt x="82" y="34"/>
                  </a:lnTo>
                  <a:lnTo>
                    <a:pt x="82" y="31"/>
                  </a:lnTo>
                  <a:lnTo>
                    <a:pt x="84" y="28"/>
                  </a:lnTo>
                  <a:lnTo>
                    <a:pt x="81" y="26"/>
                  </a:lnTo>
                  <a:lnTo>
                    <a:pt x="77" y="23"/>
                  </a:lnTo>
                  <a:lnTo>
                    <a:pt x="86" y="23"/>
                  </a:lnTo>
                  <a:lnTo>
                    <a:pt x="81" y="21"/>
                  </a:lnTo>
                  <a:lnTo>
                    <a:pt x="75" y="19"/>
                  </a:lnTo>
                  <a:lnTo>
                    <a:pt x="77" y="16"/>
                  </a:lnTo>
                  <a:lnTo>
                    <a:pt x="80" y="14"/>
                  </a:lnTo>
                  <a:lnTo>
                    <a:pt x="79" y="11"/>
                  </a:lnTo>
                  <a:lnTo>
                    <a:pt x="83" y="12"/>
                  </a:lnTo>
                  <a:lnTo>
                    <a:pt x="96" y="7"/>
                  </a:lnTo>
                  <a:lnTo>
                    <a:pt x="98" y="4"/>
                  </a:lnTo>
                  <a:lnTo>
                    <a:pt x="102" y="3"/>
                  </a:lnTo>
                  <a:lnTo>
                    <a:pt x="106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2" name="SE">
              <a:extLst>
                <a:ext uri="{FF2B5EF4-FFF2-40B4-BE49-F238E27FC236}">
                  <a16:creationId xmlns:a16="http://schemas.microsoft.com/office/drawing/2014/main" id="{1AEB6C66-2C61-7F2A-A11D-C292C87AE4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8842" y="1266270"/>
              <a:ext cx="923324" cy="2362185"/>
            </a:xfrm>
            <a:custGeom>
              <a:avLst/>
              <a:gdLst>
                <a:gd name="T0" fmla="*/ 293 w 489"/>
                <a:gd name="T1" fmla="*/ 1155 h 1298"/>
                <a:gd name="T2" fmla="*/ 291 w 489"/>
                <a:gd name="T3" fmla="*/ 1137 h 1298"/>
                <a:gd name="T4" fmla="*/ 399 w 489"/>
                <a:gd name="T5" fmla="*/ 1042 h 1298"/>
                <a:gd name="T6" fmla="*/ 373 w 489"/>
                <a:gd name="T7" fmla="*/ 1108 h 1298"/>
                <a:gd name="T8" fmla="*/ 354 w 489"/>
                <a:gd name="T9" fmla="*/ 1077 h 1298"/>
                <a:gd name="T10" fmla="*/ 29 w 489"/>
                <a:gd name="T11" fmla="*/ 1044 h 1298"/>
                <a:gd name="T12" fmla="*/ 397 w 489"/>
                <a:gd name="T13" fmla="*/ 1029 h 1298"/>
                <a:gd name="T14" fmla="*/ 343 w 489"/>
                <a:gd name="T15" fmla="*/ 944 h 1298"/>
                <a:gd name="T16" fmla="*/ 348 w 489"/>
                <a:gd name="T17" fmla="*/ 932 h 1298"/>
                <a:gd name="T18" fmla="*/ 338 w 489"/>
                <a:gd name="T19" fmla="*/ 905 h 1298"/>
                <a:gd name="T20" fmla="*/ 353 w 489"/>
                <a:gd name="T21" fmla="*/ 887 h 1298"/>
                <a:gd name="T22" fmla="*/ 343 w 489"/>
                <a:gd name="T23" fmla="*/ 813 h 1298"/>
                <a:gd name="T24" fmla="*/ 396 w 489"/>
                <a:gd name="T25" fmla="*/ 479 h 1298"/>
                <a:gd name="T26" fmla="*/ 435 w 489"/>
                <a:gd name="T27" fmla="*/ 306 h 1298"/>
                <a:gd name="T28" fmla="*/ 316 w 489"/>
                <a:gd name="T29" fmla="*/ 9 h 1298"/>
                <a:gd name="T30" fmla="*/ 402 w 489"/>
                <a:gd name="T31" fmla="*/ 56 h 1298"/>
                <a:gd name="T32" fmla="*/ 434 w 489"/>
                <a:gd name="T33" fmla="*/ 126 h 1298"/>
                <a:gd name="T34" fmla="*/ 462 w 489"/>
                <a:gd name="T35" fmla="*/ 208 h 1298"/>
                <a:gd name="T36" fmla="*/ 471 w 489"/>
                <a:gd name="T37" fmla="*/ 276 h 1298"/>
                <a:gd name="T38" fmla="*/ 420 w 489"/>
                <a:gd name="T39" fmla="*/ 283 h 1298"/>
                <a:gd name="T40" fmla="*/ 405 w 489"/>
                <a:gd name="T41" fmla="*/ 301 h 1298"/>
                <a:gd name="T42" fmla="*/ 405 w 489"/>
                <a:gd name="T43" fmla="*/ 337 h 1298"/>
                <a:gd name="T44" fmla="*/ 390 w 489"/>
                <a:gd name="T45" fmla="*/ 387 h 1298"/>
                <a:gd name="T46" fmla="*/ 411 w 489"/>
                <a:gd name="T47" fmla="*/ 423 h 1298"/>
                <a:gd name="T48" fmla="*/ 372 w 489"/>
                <a:gd name="T49" fmla="*/ 497 h 1298"/>
                <a:gd name="T50" fmla="*/ 336 w 489"/>
                <a:gd name="T51" fmla="*/ 519 h 1298"/>
                <a:gd name="T52" fmla="*/ 305 w 489"/>
                <a:gd name="T53" fmla="*/ 563 h 1298"/>
                <a:gd name="T54" fmla="*/ 293 w 489"/>
                <a:gd name="T55" fmla="*/ 583 h 1298"/>
                <a:gd name="T56" fmla="*/ 287 w 489"/>
                <a:gd name="T57" fmla="*/ 611 h 1298"/>
                <a:gd name="T58" fmla="*/ 275 w 489"/>
                <a:gd name="T59" fmla="*/ 656 h 1298"/>
                <a:gd name="T60" fmla="*/ 264 w 489"/>
                <a:gd name="T61" fmla="*/ 699 h 1298"/>
                <a:gd name="T62" fmla="*/ 273 w 489"/>
                <a:gd name="T63" fmla="*/ 748 h 1298"/>
                <a:gd name="T64" fmla="*/ 303 w 489"/>
                <a:gd name="T65" fmla="*/ 796 h 1298"/>
                <a:gd name="T66" fmla="*/ 345 w 489"/>
                <a:gd name="T67" fmla="*/ 832 h 1298"/>
                <a:gd name="T68" fmla="*/ 369 w 489"/>
                <a:gd name="T69" fmla="*/ 857 h 1298"/>
                <a:gd name="T70" fmla="*/ 333 w 489"/>
                <a:gd name="T71" fmla="*/ 897 h 1298"/>
                <a:gd name="T72" fmla="*/ 305 w 489"/>
                <a:gd name="T73" fmla="*/ 867 h 1298"/>
                <a:gd name="T74" fmla="*/ 299 w 489"/>
                <a:gd name="T75" fmla="*/ 889 h 1298"/>
                <a:gd name="T76" fmla="*/ 254 w 489"/>
                <a:gd name="T77" fmla="*/ 901 h 1298"/>
                <a:gd name="T78" fmla="*/ 294 w 489"/>
                <a:gd name="T79" fmla="*/ 910 h 1298"/>
                <a:gd name="T80" fmla="*/ 349 w 489"/>
                <a:gd name="T81" fmla="*/ 904 h 1298"/>
                <a:gd name="T82" fmla="*/ 341 w 489"/>
                <a:gd name="T83" fmla="*/ 928 h 1298"/>
                <a:gd name="T84" fmla="*/ 313 w 489"/>
                <a:gd name="T85" fmla="*/ 933 h 1298"/>
                <a:gd name="T86" fmla="*/ 253 w 489"/>
                <a:gd name="T87" fmla="*/ 984 h 1298"/>
                <a:gd name="T88" fmla="*/ 275 w 489"/>
                <a:gd name="T89" fmla="*/ 1008 h 1298"/>
                <a:gd name="T90" fmla="*/ 277 w 489"/>
                <a:gd name="T91" fmla="*/ 1049 h 1298"/>
                <a:gd name="T92" fmla="*/ 273 w 489"/>
                <a:gd name="T93" fmla="*/ 1080 h 1298"/>
                <a:gd name="T94" fmla="*/ 277 w 489"/>
                <a:gd name="T95" fmla="*/ 1152 h 1298"/>
                <a:gd name="T96" fmla="*/ 234 w 489"/>
                <a:gd name="T97" fmla="*/ 1212 h 1298"/>
                <a:gd name="T98" fmla="*/ 183 w 489"/>
                <a:gd name="T99" fmla="*/ 1229 h 1298"/>
                <a:gd name="T100" fmla="*/ 140 w 489"/>
                <a:gd name="T101" fmla="*/ 1290 h 1298"/>
                <a:gd name="T102" fmla="*/ 94 w 489"/>
                <a:gd name="T103" fmla="*/ 1245 h 1298"/>
                <a:gd name="T104" fmla="*/ 96 w 489"/>
                <a:gd name="T105" fmla="*/ 1179 h 1298"/>
                <a:gd name="T106" fmla="*/ 53 w 489"/>
                <a:gd name="T107" fmla="*/ 1123 h 1298"/>
                <a:gd name="T108" fmla="*/ 32 w 489"/>
                <a:gd name="T109" fmla="*/ 1070 h 1298"/>
                <a:gd name="T110" fmla="*/ 23 w 489"/>
                <a:gd name="T111" fmla="*/ 1011 h 1298"/>
                <a:gd name="T112" fmla="*/ 9 w 489"/>
                <a:gd name="T113" fmla="*/ 1000 h 1298"/>
                <a:gd name="T114" fmla="*/ 29 w 489"/>
                <a:gd name="T115" fmla="*/ 958 h 1298"/>
                <a:gd name="T116" fmla="*/ 62 w 489"/>
                <a:gd name="T117" fmla="*/ 838 h 1298"/>
                <a:gd name="T118" fmla="*/ 57 w 489"/>
                <a:gd name="T119" fmla="*/ 720 h 1298"/>
                <a:gd name="T120" fmla="*/ 117 w 489"/>
                <a:gd name="T121" fmla="*/ 474 h 1298"/>
                <a:gd name="T122" fmla="*/ 151 w 489"/>
                <a:gd name="T123" fmla="*/ 258 h 1298"/>
                <a:gd name="T124" fmla="*/ 246 w 489"/>
                <a:gd name="T125" fmla="*/ 58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9" h="1298">
                  <a:moveTo>
                    <a:pt x="243" y="1218"/>
                  </a:moveTo>
                  <a:lnTo>
                    <a:pt x="245" y="1218"/>
                  </a:lnTo>
                  <a:lnTo>
                    <a:pt x="245" y="1221"/>
                  </a:lnTo>
                  <a:lnTo>
                    <a:pt x="242" y="1221"/>
                  </a:lnTo>
                  <a:lnTo>
                    <a:pt x="242" y="1218"/>
                  </a:lnTo>
                  <a:lnTo>
                    <a:pt x="243" y="1218"/>
                  </a:lnTo>
                  <a:close/>
                  <a:moveTo>
                    <a:pt x="301" y="1098"/>
                  </a:moveTo>
                  <a:lnTo>
                    <a:pt x="303" y="1099"/>
                  </a:lnTo>
                  <a:lnTo>
                    <a:pt x="305" y="1099"/>
                  </a:lnTo>
                  <a:lnTo>
                    <a:pt x="304" y="1102"/>
                  </a:lnTo>
                  <a:lnTo>
                    <a:pt x="302" y="1105"/>
                  </a:lnTo>
                  <a:lnTo>
                    <a:pt x="304" y="1108"/>
                  </a:lnTo>
                  <a:lnTo>
                    <a:pt x="303" y="1112"/>
                  </a:lnTo>
                  <a:lnTo>
                    <a:pt x="302" y="1114"/>
                  </a:lnTo>
                  <a:lnTo>
                    <a:pt x="300" y="1121"/>
                  </a:lnTo>
                  <a:lnTo>
                    <a:pt x="300" y="1125"/>
                  </a:lnTo>
                  <a:lnTo>
                    <a:pt x="299" y="1129"/>
                  </a:lnTo>
                  <a:lnTo>
                    <a:pt x="296" y="1134"/>
                  </a:lnTo>
                  <a:lnTo>
                    <a:pt x="297" y="1137"/>
                  </a:lnTo>
                  <a:lnTo>
                    <a:pt x="296" y="1140"/>
                  </a:lnTo>
                  <a:lnTo>
                    <a:pt x="296" y="1145"/>
                  </a:lnTo>
                  <a:lnTo>
                    <a:pt x="293" y="1149"/>
                  </a:lnTo>
                  <a:lnTo>
                    <a:pt x="293" y="1152"/>
                  </a:lnTo>
                  <a:lnTo>
                    <a:pt x="293" y="1155"/>
                  </a:lnTo>
                  <a:lnTo>
                    <a:pt x="291" y="1165"/>
                  </a:lnTo>
                  <a:lnTo>
                    <a:pt x="290" y="1169"/>
                  </a:lnTo>
                  <a:lnTo>
                    <a:pt x="289" y="1172"/>
                  </a:lnTo>
                  <a:lnTo>
                    <a:pt x="288" y="1175"/>
                  </a:lnTo>
                  <a:lnTo>
                    <a:pt x="288" y="1178"/>
                  </a:lnTo>
                  <a:lnTo>
                    <a:pt x="288" y="1181"/>
                  </a:lnTo>
                  <a:lnTo>
                    <a:pt x="287" y="1186"/>
                  </a:lnTo>
                  <a:lnTo>
                    <a:pt x="286" y="1190"/>
                  </a:lnTo>
                  <a:lnTo>
                    <a:pt x="287" y="1192"/>
                  </a:lnTo>
                  <a:lnTo>
                    <a:pt x="286" y="1196"/>
                  </a:lnTo>
                  <a:lnTo>
                    <a:pt x="284" y="1203"/>
                  </a:lnTo>
                  <a:lnTo>
                    <a:pt x="280" y="1205"/>
                  </a:lnTo>
                  <a:lnTo>
                    <a:pt x="280" y="1202"/>
                  </a:lnTo>
                  <a:lnTo>
                    <a:pt x="278" y="1198"/>
                  </a:lnTo>
                  <a:lnTo>
                    <a:pt x="279" y="1194"/>
                  </a:lnTo>
                  <a:lnTo>
                    <a:pt x="278" y="1190"/>
                  </a:lnTo>
                  <a:lnTo>
                    <a:pt x="278" y="1187"/>
                  </a:lnTo>
                  <a:lnTo>
                    <a:pt x="277" y="1184"/>
                  </a:lnTo>
                  <a:lnTo>
                    <a:pt x="276" y="1176"/>
                  </a:lnTo>
                  <a:lnTo>
                    <a:pt x="277" y="1172"/>
                  </a:lnTo>
                  <a:lnTo>
                    <a:pt x="278" y="1169"/>
                  </a:lnTo>
                  <a:lnTo>
                    <a:pt x="285" y="1144"/>
                  </a:lnTo>
                  <a:lnTo>
                    <a:pt x="289" y="1142"/>
                  </a:lnTo>
                  <a:lnTo>
                    <a:pt x="291" y="1137"/>
                  </a:lnTo>
                  <a:lnTo>
                    <a:pt x="292" y="1131"/>
                  </a:lnTo>
                  <a:lnTo>
                    <a:pt x="294" y="1126"/>
                  </a:lnTo>
                  <a:lnTo>
                    <a:pt x="296" y="1120"/>
                  </a:lnTo>
                  <a:lnTo>
                    <a:pt x="296" y="1113"/>
                  </a:lnTo>
                  <a:lnTo>
                    <a:pt x="298" y="1110"/>
                  </a:lnTo>
                  <a:lnTo>
                    <a:pt x="298" y="1104"/>
                  </a:lnTo>
                  <a:lnTo>
                    <a:pt x="299" y="1101"/>
                  </a:lnTo>
                  <a:lnTo>
                    <a:pt x="301" y="1098"/>
                  </a:lnTo>
                  <a:close/>
                  <a:moveTo>
                    <a:pt x="33" y="1048"/>
                  </a:moveTo>
                  <a:lnTo>
                    <a:pt x="33" y="1053"/>
                  </a:lnTo>
                  <a:lnTo>
                    <a:pt x="29" y="1057"/>
                  </a:lnTo>
                  <a:lnTo>
                    <a:pt x="25" y="1060"/>
                  </a:lnTo>
                  <a:lnTo>
                    <a:pt x="23" y="1058"/>
                  </a:lnTo>
                  <a:lnTo>
                    <a:pt x="22" y="1055"/>
                  </a:lnTo>
                  <a:lnTo>
                    <a:pt x="22" y="1053"/>
                  </a:lnTo>
                  <a:lnTo>
                    <a:pt x="22" y="1050"/>
                  </a:lnTo>
                  <a:lnTo>
                    <a:pt x="25" y="1049"/>
                  </a:lnTo>
                  <a:lnTo>
                    <a:pt x="29" y="1049"/>
                  </a:lnTo>
                  <a:lnTo>
                    <a:pt x="33" y="1048"/>
                  </a:lnTo>
                  <a:close/>
                  <a:moveTo>
                    <a:pt x="389" y="1034"/>
                  </a:moveTo>
                  <a:lnTo>
                    <a:pt x="390" y="1038"/>
                  </a:lnTo>
                  <a:lnTo>
                    <a:pt x="393" y="1035"/>
                  </a:lnTo>
                  <a:lnTo>
                    <a:pt x="395" y="1038"/>
                  </a:lnTo>
                  <a:lnTo>
                    <a:pt x="399" y="1042"/>
                  </a:lnTo>
                  <a:lnTo>
                    <a:pt x="395" y="1043"/>
                  </a:lnTo>
                  <a:lnTo>
                    <a:pt x="394" y="1048"/>
                  </a:lnTo>
                  <a:lnTo>
                    <a:pt x="393" y="1052"/>
                  </a:lnTo>
                  <a:lnTo>
                    <a:pt x="389" y="1053"/>
                  </a:lnTo>
                  <a:lnTo>
                    <a:pt x="387" y="1052"/>
                  </a:lnTo>
                  <a:lnTo>
                    <a:pt x="387" y="1058"/>
                  </a:lnTo>
                  <a:lnTo>
                    <a:pt x="386" y="1061"/>
                  </a:lnTo>
                  <a:lnTo>
                    <a:pt x="388" y="1064"/>
                  </a:lnTo>
                  <a:lnTo>
                    <a:pt x="388" y="1067"/>
                  </a:lnTo>
                  <a:lnTo>
                    <a:pt x="388" y="1069"/>
                  </a:lnTo>
                  <a:lnTo>
                    <a:pt x="387" y="1073"/>
                  </a:lnTo>
                  <a:lnTo>
                    <a:pt x="388" y="1076"/>
                  </a:lnTo>
                  <a:lnTo>
                    <a:pt x="391" y="1079"/>
                  </a:lnTo>
                  <a:lnTo>
                    <a:pt x="395" y="1079"/>
                  </a:lnTo>
                  <a:lnTo>
                    <a:pt x="396" y="1082"/>
                  </a:lnTo>
                  <a:lnTo>
                    <a:pt x="394" y="1083"/>
                  </a:lnTo>
                  <a:lnTo>
                    <a:pt x="390" y="1085"/>
                  </a:lnTo>
                  <a:lnTo>
                    <a:pt x="388" y="1088"/>
                  </a:lnTo>
                  <a:lnTo>
                    <a:pt x="385" y="1092"/>
                  </a:lnTo>
                  <a:lnTo>
                    <a:pt x="385" y="1096"/>
                  </a:lnTo>
                  <a:lnTo>
                    <a:pt x="388" y="1099"/>
                  </a:lnTo>
                  <a:lnTo>
                    <a:pt x="381" y="1102"/>
                  </a:lnTo>
                  <a:lnTo>
                    <a:pt x="379" y="1104"/>
                  </a:lnTo>
                  <a:lnTo>
                    <a:pt x="373" y="1108"/>
                  </a:lnTo>
                  <a:lnTo>
                    <a:pt x="372" y="1111"/>
                  </a:lnTo>
                  <a:lnTo>
                    <a:pt x="375" y="1111"/>
                  </a:lnTo>
                  <a:lnTo>
                    <a:pt x="371" y="1114"/>
                  </a:lnTo>
                  <a:lnTo>
                    <a:pt x="370" y="1120"/>
                  </a:lnTo>
                  <a:lnTo>
                    <a:pt x="374" y="1122"/>
                  </a:lnTo>
                  <a:lnTo>
                    <a:pt x="371" y="1123"/>
                  </a:lnTo>
                  <a:lnTo>
                    <a:pt x="370" y="1126"/>
                  </a:lnTo>
                  <a:lnTo>
                    <a:pt x="365" y="1132"/>
                  </a:lnTo>
                  <a:lnTo>
                    <a:pt x="361" y="1131"/>
                  </a:lnTo>
                  <a:lnTo>
                    <a:pt x="364" y="1125"/>
                  </a:lnTo>
                  <a:lnTo>
                    <a:pt x="364" y="1122"/>
                  </a:lnTo>
                  <a:lnTo>
                    <a:pt x="366" y="1121"/>
                  </a:lnTo>
                  <a:lnTo>
                    <a:pt x="367" y="1116"/>
                  </a:lnTo>
                  <a:lnTo>
                    <a:pt x="363" y="1118"/>
                  </a:lnTo>
                  <a:lnTo>
                    <a:pt x="364" y="1115"/>
                  </a:lnTo>
                  <a:lnTo>
                    <a:pt x="363" y="1112"/>
                  </a:lnTo>
                  <a:lnTo>
                    <a:pt x="359" y="1103"/>
                  </a:lnTo>
                  <a:lnTo>
                    <a:pt x="356" y="1101"/>
                  </a:lnTo>
                  <a:lnTo>
                    <a:pt x="356" y="1097"/>
                  </a:lnTo>
                  <a:lnTo>
                    <a:pt x="358" y="1091"/>
                  </a:lnTo>
                  <a:lnTo>
                    <a:pt x="358" y="1088"/>
                  </a:lnTo>
                  <a:lnTo>
                    <a:pt x="356" y="1084"/>
                  </a:lnTo>
                  <a:lnTo>
                    <a:pt x="355" y="1081"/>
                  </a:lnTo>
                  <a:lnTo>
                    <a:pt x="354" y="1077"/>
                  </a:lnTo>
                  <a:lnTo>
                    <a:pt x="354" y="1073"/>
                  </a:lnTo>
                  <a:lnTo>
                    <a:pt x="355" y="1070"/>
                  </a:lnTo>
                  <a:lnTo>
                    <a:pt x="362" y="1061"/>
                  </a:lnTo>
                  <a:lnTo>
                    <a:pt x="368" y="1048"/>
                  </a:lnTo>
                  <a:lnTo>
                    <a:pt x="369" y="1046"/>
                  </a:lnTo>
                  <a:lnTo>
                    <a:pt x="372" y="1044"/>
                  </a:lnTo>
                  <a:lnTo>
                    <a:pt x="374" y="1045"/>
                  </a:lnTo>
                  <a:lnTo>
                    <a:pt x="375" y="1041"/>
                  </a:lnTo>
                  <a:lnTo>
                    <a:pt x="376" y="1038"/>
                  </a:lnTo>
                  <a:lnTo>
                    <a:pt x="380" y="1036"/>
                  </a:lnTo>
                  <a:lnTo>
                    <a:pt x="382" y="1038"/>
                  </a:lnTo>
                  <a:lnTo>
                    <a:pt x="382" y="1041"/>
                  </a:lnTo>
                  <a:lnTo>
                    <a:pt x="383" y="1043"/>
                  </a:lnTo>
                  <a:lnTo>
                    <a:pt x="386" y="1040"/>
                  </a:lnTo>
                  <a:lnTo>
                    <a:pt x="386" y="1037"/>
                  </a:lnTo>
                  <a:lnTo>
                    <a:pt x="389" y="1034"/>
                  </a:lnTo>
                  <a:close/>
                  <a:moveTo>
                    <a:pt x="31" y="1026"/>
                  </a:moveTo>
                  <a:lnTo>
                    <a:pt x="33" y="1029"/>
                  </a:lnTo>
                  <a:lnTo>
                    <a:pt x="35" y="1031"/>
                  </a:lnTo>
                  <a:lnTo>
                    <a:pt x="36" y="1034"/>
                  </a:lnTo>
                  <a:lnTo>
                    <a:pt x="36" y="1040"/>
                  </a:lnTo>
                  <a:lnTo>
                    <a:pt x="34" y="1043"/>
                  </a:lnTo>
                  <a:lnTo>
                    <a:pt x="31" y="1044"/>
                  </a:lnTo>
                  <a:lnTo>
                    <a:pt x="29" y="1044"/>
                  </a:lnTo>
                  <a:lnTo>
                    <a:pt x="24" y="1043"/>
                  </a:lnTo>
                  <a:lnTo>
                    <a:pt x="22" y="1045"/>
                  </a:lnTo>
                  <a:lnTo>
                    <a:pt x="18" y="1044"/>
                  </a:lnTo>
                  <a:lnTo>
                    <a:pt x="18" y="1047"/>
                  </a:lnTo>
                  <a:lnTo>
                    <a:pt x="18" y="1044"/>
                  </a:lnTo>
                  <a:lnTo>
                    <a:pt x="16" y="1042"/>
                  </a:lnTo>
                  <a:lnTo>
                    <a:pt x="17" y="1039"/>
                  </a:lnTo>
                  <a:lnTo>
                    <a:pt x="22" y="1034"/>
                  </a:lnTo>
                  <a:lnTo>
                    <a:pt x="25" y="1032"/>
                  </a:lnTo>
                  <a:lnTo>
                    <a:pt x="28" y="1032"/>
                  </a:lnTo>
                  <a:lnTo>
                    <a:pt x="29" y="1029"/>
                  </a:lnTo>
                  <a:lnTo>
                    <a:pt x="31" y="1026"/>
                  </a:lnTo>
                  <a:close/>
                  <a:moveTo>
                    <a:pt x="404" y="1025"/>
                  </a:moveTo>
                  <a:lnTo>
                    <a:pt x="406" y="1026"/>
                  </a:lnTo>
                  <a:lnTo>
                    <a:pt x="409" y="1026"/>
                  </a:lnTo>
                  <a:lnTo>
                    <a:pt x="408" y="1030"/>
                  </a:lnTo>
                  <a:lnTo>
                    <a:pt x="405" y="1030"/>
                  </a:lnTo>
                  <a:lnTo>
                    <a:pt x="401" y="1033"/>
                  </a:lnTo>
                  <a:lnTo>
                    <a:pt x="402" y="1035"/>
                  </a:lnTo>
                  <a:lnTo>
                    <a:pt x="401" y="1039"/>
                  </a:lnTo>
                  <a:lnTo>
                    <a:pt x="398" y="1039"/>
                  </a:lnTo>
                  <a:lnTo>
                    <a:pt x="396" y="1035"/>
                  </a:lnTo>
                  <a:lnTo>
                    <a:pt x="397" y="1032"/>
                  </a:lnTo>
                  <a:lnTo>
                    <a:pt x="397" y="1029"/>
                  </a:lnTo>
                  <a:lnTo>
                    <a:pt x="400" y="1028"/>
                  </a:lnTo>
                  <a:lnTo>
                    <a:pt x="404" y="1025"/>
                  </a:lnTo>
                  <a:close/>
                  <a:moveTo>
                    <a:pt x="282" y="1010"/>
                  </a:moveTo>
                  <a:lnTo>
                    <a:pt x="285" y="1010"/>
                  </a:lnTo>
                  <a:lnTo>
                    <a:pt x="284" y="1012"/>
                  </a:lnTo>
                  <a:lnTo>
                    <a:pt x="282" y="1010"/>
                  </a:lnTo>
                  <a:close/>
                  <a:moveTo>
                    <a:pt x="283" y="1001"/>
                  </a:moveTo>
                  <a:lnTo>
                    <a:pt x="282" y="1003"/>
                  </a:lnTo>
                  <a:lnTo>
                    <a:pt x="284" y="1007"/>
                  </a:lnTo>
                  <a:lnTo>
                    <a:pt x="280" y="1005"/>
                  </a:lnTo>
                  <a:lnTo>
                    <a:pt x="280" y="1002"/>
                  </a:lnTo>
                  <a:lnTo>
                    <a:pt x="283" y="1001"/>
                  </a:lnTo>
                  <a:close/>
                  <a:moveTo>
                    <a:pt x="397" y="989"/>
                  </a:moveTo>
                  <a:lnTo>
                    <a:pt x="400" y="989"/>
                  </a:lnTo>
                  <a:lnTo>
                    <a:pt x="403" y="989"/>
                  </a:lnTo>
                  <a:lnTo>
                    <a:pt x="402" y="992"/>
                  </a:lnTo>
                  <a:lnTo>
                    <a:pt x="401" y="993"/>
                  </a:lnTo>
                  <a:lnTo>
                    <a:pt x="397" y="989"/>
                  </a:lnTo>
                  <a:close/>
                  <a:moveTo>
                    <a:pt x="349" y="939"/>
                  </a:moveTo>
                  <a:lnTo>
                    <a:pt x="349" y="940"/>
                  </a:lnTo>
                  <a:lnTo>
                    <a:pt x="348" y="942"/>
                  </a:lnTo>
                  <a:lnTo>
                    <a:pt x="346" y="945"/>
                  </a:lnTo>
                  <a:lnTo>
                    <a:pt x="343" y="947"/>
                  </a:lnTo>
                  <a:lnTo>
                    <a:pt x="343" y="944"/>
                  </a:lnTo>
                  <a:lnTo>
                    <a:pt x="345" y="941"/>
                  </a:lnTo>
                  <a:lnTo>
                    <a:pt x="349" y="939"/>
                  </a:lnTo>
                  <a:close/>
                  <a:moveTo>
                    <a:pt x="342" y="936"/>
                  </a:moveTo>
                  <a:lnTo>
                    <a:pt x="341" y="937"/>
                  </a:lnTo>
                  <a:lnTo>
                    <a:pt x="340" y="940"/>
                  </a:lnTo>
                  <a:lnTo>
                    <a:pt x="337" y="941"/>
                  </a:lnTo>
                  <a:lnTo>
                    <a:pt x="337" y="937"/>
                  </a:lnTo>
                  <a:lnTo>
                    <a:pt x="342" y="936"/>
                  </a:lnTo>
                  <a:close/>
                  <a:moveTo>
                    <a:pt x="315" y="935"/>
                  </a:moveTo>
                  <a:lnTo>
                    <a:pt x="318" y="940"/>
                  </a:lnTo>
                  <a:lnTo>
                    <a:pt x="318" y="943"/>
                  </a:lnTo>
                  <a:lnTo>
                    <a:pt x="319" y="946"/>
                  </a:lnTo>
                  <a:lnTo>
                    <a:pt x="318" y="948"/>
                  </a:lnTo>
                  <a:lnTo>
                    <a:pt x="316" y="948"/>
                  </a:lnTo>
                  <a:lnTo>
                    <a:pt x="316" y="946"/>
                  </a:lnTo>
                  <a:lnTo>
                    <a:pt x="315" y="943"/>
                  </a:lnTo>
                  <a:lnTo>
                    <a:pt x="315" y="939"/>
                  </a:lnTo>
                  <a:lnTo>
                    <a:pt x="315" y="935"/>
                  </a:lnTo>
                  <a:close/>
                  <a:moveTo>
                    <a:pt x="353" y="926"/>
                  </a:moveTo>
                  <a:lnTo>
                    <a:pt x="354" y="929"/>
                  </a:lnTo>
                  <a:lnTo>
                    <a:pt x="353" y="931"/>
                  </a:lnTo>
                  <a:lnTo>
                    <a:pt x="352" y="934"/>
                  </a:lnTo>
                  <a:lnTo>
                    <a:pt x="348" y="935"/>
                  </a:lnTo>
                  <a:lnTo>
                    <a:pt x="348" y="932"/>
                  </a:lnTo>
                  <a:lnTo>
                    <a:pt x="351" y="928"/>
                  </a:lnTo>
                  <a:lnTo>
                    <a:pt x="353" y="926"/>
                  </a:lnTo>
                  <a:close/>
                  <a:moveTo>
                    <a:pt x="365" y="916"/>
                  </a:moveTo>
                  <a:lnTo>
                    <a:pt x="365" y="917"/>
                  </a:lnTo>
                  <a:lnTo>
                    <a:pt x="362" y="920"/>
                  </a:lnTo>
                  <a:lnTo>
                    <a:pt x="362" y="916"/>
                  </a:lnTo>
                  <a:lnTo>
                    <a:pt x="365" y="916"/>
                  </a:lnTo>
                  <a:close/>
                  <a:moveTo>
                    <a:pt x="351" y="909"/>
                  </a:moveTo>
                  <a:lnTo>
                    <a:pt x="354" y="910"/>
                  </a:lnTo>
                  <a:lnTo>
                    <a:pt x="358" y="912"/>
                  </a:lnTo>
                  <a:lnTo>
                    <a:pt x="356" y="913"/>
                  </a:lnTo>
                  <a:lnTo>
                    <a:pt x="354" y="912"/>
                  </a:lnTo>
                  <a:lnTo>
                    <a:pt x="355" y="914"/>
                  </a:lnTo>
                  <a:lnTo>
                    <a:pt x="351" y="914"/>
                  </a:lnTo>
                  <a:lnTo>
                    <a:pt x="345" y="910"/>
                  </a:lnTo>
                  <a:lnTo>
                    <a:pt x="351" y="909"/>
                  </a:lnTo>
                  <a:close/>
                  <a:moveTo>
                    <a:pt x="365" y="908"/>
                  </a:moveTo>
                  <a:lnTo>
                    <a:pt x="366" y="911"/>
                  </a:lnTo>
                  <a:lnTo>
                    <a:pt x="364" y="911"/>
                  </a:lnTo>
                  <a:lnTo>
                    <a:pt x="365" y="908"/>
                  </a:lnTo>
                  <a:close/>
                  <a:moveTo>
                    <a:pt x="333" y="903"/>
                  </a:moveTo>
                  <a:lnTo>
                    <a:pt x="339" y="904"/>
                  </a:lnTo>
                  <a:lnTo>
                    <a:pt x="340" y="904"/>
                  </a:lnTo>
                  <a:lnTo>
                    <a:pt x="338" y="905"/>
                  </a:lnTo>
                  <a:lnTo>
                    <a:pt x="336" y="907"/>
                  </a:lnTo>
                  <a:lnTo>
                    <a:pt x="334" y="906"/>
                  </a:lnTo>
                  <a:lnTo>
                    <a:pt x="333" y="903"/>
                  </a:lnTo>
                  <a:close/>
                  <a:moveTo>
                    <a:pt x="361" y="901"/>
                  </a:moveTo>
                  <a:lnTo>
                    <a:pt x="363" y="903"/>
                  </a:lnTo>
                  <a:lnTo>
                    <a:pt x="363" y="906"/>
                  </a:lnTo>
                  <a:lnTo>
                    <a:pt x="361" y="908"/>
                  </a:lnTo>
                  <a:lnTo>
                    <a:pt x="361" y="905"/>
                  </a:lnTo>
                  <a:lnTo>
                    <a:pt x="359" y="903"/>
                  </a:lnTo>
                  <a:lnTo>
                    <a:pt x="361" y="901"/>
                  </a:lnTo>
                  <a:close/>
                  <a:moveTo>
                    <a:pt x="368" y="894"/>
                  </a:moveTo>
                  <a:lnTo>
                    <a:pt x="370" y="896"/>
                  </a:lnTo>
                  <a:lnTo>
                    <a:pt x="369" y="897"/>
                  </a:lnTo>
                  <a:lnTo>
                    <a:pt x="368" y="894"/>
                  </a:lnTo>
                  <a:close/>
                  <a:moveTo>
                    <a:pt x="356" y="884"/>
                  </a:moveTo>
                  <a:lnTo>
                    <a:pt x="358" y="885"/>
                  </a:lnTo>
                  <a:lnTo>
                    <a:pt x="361" y="885"/>
                  </a:lnTo>
                  <a:lnTo>
                    <a:pt x="358" y="887"/>
                  </a:lnTo>
                  <a:lnTo>
                    <a:pt x="357" y="889"/>
                  </a:lnTo>
                  <a:lnTo>
                    <a:pt x="355" y="894"/>
                  </a:lnTo>
                  <a:lnTo>
                    <a:pt x="354" y="897"/>
                  </a:lnTo>
                  <a:lnTo>
                    <a:pt x="351" y="894"/>
                  </a:lnTo>
                  <a:lnTo>
                    <a:pt x="351" y="891"/>
                  </a:lnTo>
                  <a:lnTo>
                    <a:pt x="353" y="887"/>
                  </a:lnTo>
                  <a:lnTo>
                    <a:pt x="356" y="884"/>
                  </a:lnTo>
                  <a:close/>
                  <a:moveTo>
                    <a:pt x="369" y="874"/>
                  </a:moveTo>
                  <a:lnTo>
                    <a:pt x="371" y="876"/>
                  </a:lnTo>
                  <a:lnTo>
                    <a:pt x="369" y="876"/>
                  </a:lnTo>
                  <a:lnTo>
                    <a:pt x="368" y="880"/>
                  </a:lnTo>
                  <a:lnTo>
                    <a:pt x="369" y="874"/>
                  </a:lnTo>
                  <a:close/>
                  <a:moveTo>
                    <a:pt x="368" y="873"/>
                  </a:moveTo>
                  <a:lnTo>
                    <a:pt x="366" y="878"/>
                  </a:lnTo>
                  <a:lnTo>
                    <a:pt x="362" y="881"/>
                  </a:lnTo>
                  <a:lnTo>
                    <a:pt x="364" y="878"/>
                  </a:lnTo>
                  <a:lnTo>
                    <a:pt x="365" y="876"/>
                  </a:lnTo>
                  <a:lnTo>
                    <a:pt x="368" y="873"/>
                  </a:lnTo>
                  <a:close/>
                  <a:moveTo>
                    <a:pt x="352" y="824"/>
                  </a:moveTo>
                  <a:lnTo>
                    <a:pt x="355" y="826"/>
                  </a:lnTo>
                  <a:lnTo>
                    <a:pt x="355" y="826"/>
                  </a:lnTo>
                  <a:lnTo>
                    <a:pt x="353" y="829"/>
                  </a:lnTo>
                  <a:lnTo>
                    <a:pt x="352" y="826"/>
                  </a:lnTo>
                  <a:lnTo>
                    <a:pt x="352" y="824"/>
                  </a:lnTo>
                  <a:close/>
                  <a:moveTo>
                    <a:pt x="333" y="798"/>
                  </a:moveTo>
                  <a:lnTo>
                    <a:pt x="335" y="801"/>
                  </a:lnTo>
                  <a:lnTo>
                    <a:pt x="336" y="802"/>
                  </a:lnTo>
                  <a:lnTo>
                    <a:pt x="339" y="808"/>
                  </a:lnTo>
                  <a:lnTo>
                    <a:pt x="341" y="809"/>
                  </a:lnTo>
                  <a:lnTo>
                    <a:pt x="343" y="813"/>
                  </a:lnTo>
                  <a:lnTo>
                    <a:pt x="338" y="811"/>
                  </a:lnTo>
                  <a:lnTo>
                    <a:pt x="336" y="810"/>
                  </a:lnTo>
                  <a:lnTo>
                    <a:pt x="334" y="806"/>
                  </a:lnTo>
                  <a:lnTo>
                    <a:pt x="334" y="801"/>
                  </a:lnTo>
                  <a:lnTo>
                    <a:pt x="333" y="798"/>
                  </a:lnTo>
                  <a:close/>
                  <a:moveTo>
                    <a:pt x="270" y="730"/>
                  </a:moveTo>
                  <a:lnTo>
                    <a:pt x="273" y="731"/>
                  </a:lnTo>
                  <a:lnTo>
                    <a:pt x="270" y="730"/>
                  </a:lnTo>
                  <a:lnTo>
                    <a:pt x="270" y="730"/>
                  </a:lnTo>
                  <a:close/>
                  <a:moveTo>
                    <a:pt x="296" y="591"/>
                  </a:moveTo>
                  <a:lnTo>
                    <a:pt x="297" y="594"/>
                  </a:lnTo>
                  <a:lnTo>
                    <a:pt x="294" y="598"/>
                  </a:lnTo>
                  <a:lnTo>
                    <a:pt x="292" y="598"/>
                  </a:lnTo>
                  <a:lnTo>
                    <a:pt x="291" y="594"/>
                  </a:lnTo>
                  <a:lnTo>
                    <a:pt x="292" y="591"/>
                  </a:lnTo>
                  <a:lnTo>
                    <a:pt x="294" y="592"/>
                  </a:lnTo>
                  <a:lnTo>
                    <a:pt x="296" y="591"/>
                  </a:lnTo>
                  <a:close/>
                  <a:moveTo>
                    <a:pt x="399" y="482"/>
                  </a:moveTo>
                  <a:lnTo>
                    <a:pt x="400" y="485"/>
                  </a:lnTo>
                  <a:lnTo>
                    <a:pt x="400" y="489"/>
                  </a:lnTo>
                  <a:lnTo>
                    <a:pt x="398" y="490"/>
                  </a:lnTo>
                  <a:lnTo>
                    <a:pt x="398" y="484"/>
                  </a:lnTo>
                  <a:lnTo>
                    <a:pt x="399" y="482"/>
                  </a:lnTo>
                  <a:close/>
                  <a:moveTo>
                    <a:pt x="396" y="479"/>
                  </a:moveTo>
                  <a:lnTo>
                    <a:pt x="399" y="481"/>
                  </a:lnTo>
                  <a:lnTo>
                    <a:pt x="397" y="483"/>
                  </a:lnTo>
                  <a:lnTo>
                    <a:pt x="396" y="479"/>
                  </a:lnTo>
                  <a:close/>
                  <a:moveTo>
                    <a:pt x="422" y="317"/>
                  </a:moveTo>
                  <a:lnTo>
                    <a:pt x="423" y="319"/>
                  </a:lnTo>
                  <a:lnTo>
                    <a:pt x="423" y="321"/>
                  </a:lnTo>
                  <a:lnTo>
                    <a:pt x="420" y="321"/>
                  </a:lnTo>
                  <a:lnTo>
                    <a:pt x="419" y="317"/>
                  </a:lnTo>
                  <a:lnTo>
                    <a:pt x="422" y="317"/>
                  </a:lnTo>
                  <a:close/>
                  <a:moveTo>
                    <a:pt x="428" y="316"/>
                  </a:moveTo>
                  <a:lnTo>
                    <a:pt x="430" y="317"/>
                  </a:lnTo>
                  <a:lnTo>
                    <a:pt x="429" y="319"/>
                  </a:lnTo>
                  <a:lnTo>
                    <a:pt x="426" y="320"/>
                  </a:lnTo>
                  <a:lnTo>
                    <a:pt x="428" y="316"/>
                  </a:lnTo>
                  <a:close/>
                  <a:moveTo>
                    <a:pt x="420" y="311"/>
                  </a:moveTo>
                  <a:lnTo>
                    <a:pt x="424" y="311"/>
                  </a:lnTo>
                  <a:lnTo>
                    <a:pt x="427" y="313"/>
                  </a:lnTo>
                  <a:lnTo>
                    <a:pt x="424" y="312"/>
                  </a:lnTo>
                  <a:lnTo>
                    <a:pt x="424" y="315"/>
                  </a:lnTo>
                  <a:lnTo>
                    <a:pt x="421" y="313"/>
                  </a:lnTo>
                  <a:lnTo>
                    <a:pt x="420" y="311"/>
                  </a:lnTo>
                  <a:close/>
                  <a:moveTo>
                    <a:pt x="435" y="303"/>
                  </a:moveTo>
                  <a:lnTo>
                    <a:pt x="436" y="303"/>
                  </a:lnTo>
                  <a:lnTo>
                    <a:pt x="435" y="306"/>
                  </a:lnTo>
                  <a:lnTo>
                    <a:pt x="432" y="306"/>
                  </a:lnTo>
                  <a:lnTo>
                    <a:pt x="435" y="303"/>
                  </a:lnTo>
                  <a:close/>
                  <a:moveTo>
                    <a:pt x="444" y="287"/>
                  </a:moveTo>
                  <a:lnTo>
                    <a:pt x="446" y="290"/>
                  </a:lnTo>
                  <a:lnTo>
                    <a:pt x="447" y="291"/>
                  </a:lnTo>
                  <a:lnTo>
                    <a:pt x="447" y="294"/>
                  </a:lnTo>
                  <a:lnTo>
                    <a:pt x="443" y="289"/>
                  </a:lnTo>
                  <a:lnTo>
                    <a:pt x="444" y="287"/>
                  </a:lnTo>
                  <a:close/>
                  <a:moveTo>
                    <a:pt x="437" y="286"/>
                  </a:moveTo>
                  <a:lnTo>
                    <a:pt x="440" y="290"/>
                  </a:lnTo>
                  <a:lnTo>
                    <a:pt x="438" y="291"/>
                  </a:lnTo>
                  <a:lnTo>
                    <a:pt x="437" y="289"/>
                  </a:lnTo>
                  <a:lnTo>
                    <a:pt x="437" y="286"/>
                  </a:lnTo>
                  <a:close/>
                  <a:moveTo>
                    <a:pt x="478" y="281"/>
                  </a:moveTo>
                  <a:lnTo>
                    <a:pt x="477" y="284"/>
                  </a:lnTo>
                  <a:lnTo>
                    <a:pt x="474" y="285"/>
                  </a:lnTo>
                  <a:lnTo>
                    <a:pt x="473" y="282"/>
                  </a:lnTo>
                  <a:lnTo>
                    <a:pt x="476" y="281"/>
                  </a:lnTo>
                  <a:lnTo>
                    <a:pt x="478" y="281"/>
                  </a:lnTo>
                  <a:close/>
                  <a:moveTo>
                    <a:pt x="304" y="0"/>
                  </a:moveTo>
                  <a:lnTo>
                    <a:pt x="310" y="1"/>
                  </a:lnTo>
                  <a:lnTo>
                    <a:pt x="314" y="4"/>
                  </a:lnTo>
                  <a:lnTo>
                    <a:pt x="317" y="7"/>
                  </a:lnTo>
                  <a:lnTo>
                    <a:pt x="316" y="9"/>
                  </a:lnTo>
                  <a:lnTo>
                    <a:pt x="317" y="12"/>
                  </a:lnTo>
                  <a:lnTo>
                    <a:pt x="323" y="13"/>
                  </a:lnTo>
                  <a:lnTo>
                    <a:pt x="326" y="15"/>
                  </a:lnTo>
                  <a:lnTo>
                    <a:pt x="329" y="17"/>
                  </a:lnTo>
                  <a:lnTo>
                    <a:pt x="331" y="21"/>
                  </a:lnTo>
                  <a:lnTo>
                    <a:pt x="335" y="22"/>
                  </a:lnTo>
                  <a:lnTo>
                    <a:pt x="338" y="27"/>
                  </a:lnTo>
                  <a:lnTo>
                    <a:pt x="343" y="29"/>
                  </a:lnTo>
                  <a:lnTo>
                    <a:pt x="346" y="31"/>
                  </a:lnTo>
                  <a:lnTo>
                    <a:pt x="350" y="35"/>
                  </a:lnTo>
                  <a:lnTo>
                    <a:pt x="356" y="36"/>
                  </a:lnTo>
                  <a:lnTo>
                    <a:pt x="360" y="40"/>
                  </a:lnTo>
                  <a:lnTo>
                    <a:pt x="362" y="42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6" y="43"/>
                  </a:lnTo>
                  <a:lnTo>
                    <a:pt x="379" y="44"/>
                  </a:lnTo>
                  <a:lnTo>
                    <a:pt x="380" y="44"/>
                  </a:lnTo>
                  <a:lnTo>
                    <a:pt x="382" y="44"/>
                  </a:lnTo>
                  <a:lnTo>
                    <a:pt x="386" y="44"/>
                  </a:lnTo>
                  <a:lnTo>
                    <a:pt x="388" y="47"/>
                  </a:lnTo>
                  <a:lnTo>
                    <a:pt x="393" y="49"/>
                  </a:lnTo>
                  <a:lnTo>
                    <a:pt x="400" y="53"/>
                  </a:lnTo>
                  <a:lnTo>
                    <a:pt x="402" y="56"/>
                  </a:lnTo>
                  <a:lnTo>
                    <a:pt x="404" y="58"/>
                  </a:lnTo>
                  <a:lnTo>
                    <a:pt x="406" y="62"/>
                  </a:lnTo>
                  <a:lnTo>
                    <a:pt x="406" y="65"/>
                  </a:lnTo>
                  <a:lnTo>
                    <a:pt x="407" y="68"/>
                  </a:lnTo>
                  <a:lnTo>
                    <a:pt x="411" y="65"/>
                  </a:lnTo>
                  <a:lnTo>
                    <a:pt x="416" y="72"/>
                  </a:lnTo>
                  <a:lnTo>
                    <a:pt x="419" y="76"/>
                  </a:lnTo>
                  <a:lnTo>
                    <a:pt x="424" y="79"/>
                  </a:lnTo>
                  <a:lnTo>
                    <a:pt x="427" y="80"/>
                  </a:lnTo>
                  <a:lnTo>
                    <a:pt x="428" y="82"/>
                  </a:lnTo>
                  <a:lnTo>
                    <a:pt x="427" y="86"/>
                  </a:lnTo>
                  <a:lnTo>
                    <a:pt x="424" y="87"/>
                  </a:lnTo>
                  <a:lnTo>
                    <a:pt x="423" y="90"/>
                  </a:lnTo>
                  <a:lnTo>
                    <a:pt x="424" y="94"/>
                  </a:lnTo>
                  <a:lnTo>
                    <a:pt x="426" y="101"/>
                  </a:lnTo>
                  <a:lnTo>
                    <a:pt x="427" y="104"/>
                  </a:lnTo>
                  <a:lnTo>
                    <a:pt x="428" y="107"/>
                  </a:lnTo>
                  <a:lnTo>
                    <a:pt x="430" y="111"/>
                  </a:lnTo>
                  <a:lnTo>
                    <a:pt x="431" y="114"/>
                  </a:lnTo>
                  <a:lnTo>
                    <a:pt x="430" y="116"/>
                  </a:lnTo>
                  <a:lnTo>
                    <a:pt x="429" y="121"/>
                  </a:lnTo>
                  <a:lnTo>
                    <a:pt x="429" y="124"/>
                  </a:lnTo>
                  <a:lnTo>
                    <a:pt x="431" y="128"/>
                  </a:lnTo>
                  <a:lnTo>
                    <a:pt x="434" y="126"/>
                  </a:lnTo>
                  <a:lnTo>
                    <a:pt x="438" y="127"/>
                  </a:lnTo>
                  <a:lnTo>
                    <a:pt x="440" y="127"/>
                  </a:lnTo>
                  <a:lnTo>
                    <a:pt x="442" y="130"/>
                  </a:lnTo>
                  <a:lnTo>
                    <a:pt x="443" y="134"/>
                  </a:lnTo>
                  <a:lnTo>
                    <a:pt x="444" y="138"/>
                  </a:lnTo>
                  <a:lnTo>
                    <a:pt x="440" y="143"/>
                  </a:lnTo>
                  <a:lnTo>
                    <a:pt x="440" y="147"/>
                  </a:lnTo>
                  <a:lnTo>
                    <a:pt x="441" y="150"/>
                  </a:lnTo>
                  <a:lnTo>
                    <a:pt x="441" y="154"/>
                  </a:lnTo>
                  <a:lnTo>
                    <a:pt x="444" y="158"/>
                  </a:lnTo>
                  <a:lnTo>
                    <a:pt x="445" y="160"/>
                  </a:lnTo>
                  <a:lnTo>
                    <a:pt x="448" y="165"/>
                  </a:lnTo>
                  <a:lnTo>
                    <a:pt x="453" y="168"/>
                  </a:lnTo>
                  <a:lnTo>
                    <a:pt x="457" y="172"/>
                  </a:lnTo>
                  <a:lnTo>
                    <a:pt x="461" y="177"/>
                  </a:lnTo>
                  <a:lnTo>
                    <a:pt x="463" y="181"/>
                  </a:lnTo>
                  <a:lnTo>
                    <a:pt x="462" y="185"/>
                  </a:lnTo>
                  <a:lnTo>
                    <a:pt x="461" y="188"/>
                  </a:lnTo>
                  <a:lnTo>
                    <a:pt x="462" y="192"/>
                  </a:lnTo>
                  <a:lnTo>
                    <a:pt x="463" y="195"/>
                  </a:lnTo>
                  <a:lnTo>
                    <a:pt x="463" y="198"/>
                  </a:lnTo>
                  <a:lnTo>
                    <a:pt x="464" y="202"/>
                  </a:lnTo>
                  <a:lnTo>
                    <a:pt x="464" y="205"/>
                  </a:lnTo>
                  <a:lnTo>
                    <a:pt x="462" y="208"/>
                  </a:lnTo>
                  <a:lnTo>
                    <a:pt x="461" y="211"/>
                  </a:lnTo>
                  <a:lnTo>
                    <a:pt x="459" y="214"/>
                  </a:lnTo>
                  <a:lnTo>
                    <a:pt x="458" y="217"/>
                  </a:lnTo>
                  <a:lnTo>
                    <a:pt x="458" y="220"/>
                  </a:lnTo>
                  <a:lnTo>
                    <a:pt x="460" y="222"/>
                  </a:lnTo>
                  <a:lnTo>
                    <a:pt x="461" y="225"/>
                  </a:lnTo>
                  <a:lnTo>
                    <a:pt x="461" y="228"/>
                  </a:lnTo>
                  <a:lnTo>
                    <a:pt x="462" y="232"/>
                  </a:lnTo>
                  <a:lnTo>
                    <a:pt x="465" y="239"/>
                  </a:lnTo>
                  <a:lnTo>
                    <a:pt x="468" y="241"/>
                  </a:lnTo>
                  <a:lnTo>
                    <a:pt x="472" y="242"/>
                  </a:lnTo>
                  <a:lnTo>
                    <a:pt x="477" y="248"/>
                  </a:lnTo>
                  <a:lnTo>
                    <a:pt x="482" y="256"/>
                  </a:lnTo>
                  <a:lnTo>
                    <a:pt x="483" y="259"/>
                  </a:lnTo>
                  <a:lnTo>
                    <a:pt x="485" y="263"/>
                  </a:lnTo>
                  <a:lnTo>
                    <a:pt x="487" y="266"/>
                  </a:lnTo>
                  <a:lnTo>
                    <a:pt x="489" y="268"/>
                  </a:lnTo>
                  <a:lnTo>
                    <a:pt x="489" y="272"/>
                  </a:lnTo>
                  <a:lnTo>
                    <a:pt x="485" y="272"/>
                  </a:lnTo>
                  <a:lnTo>
                    <a:pt x="482" y="278"/>
                  </a:lnTo>
                  <a:lnTo>
                    <a:pt x="479" y="276"/>
                  </a:lnTo>
                  <a:lnTo>
                    <a:pt x="474" y="273"/>
                  </a:lnTo>
                  <a:lnTo>
                    <a:pt x="472" y="273"/>
                  </a:lnTo>
                  <a:lnTo>
                    <a:pt x="471" y="276"/>
                  </a:lnTo>
                  <a:lnTo>
                    <a:pt x="466" y="277"/>
                  </a:lnTo>
                  <a:lnTo>
                    <a:pt x="463" y="277"/>
                  </a:lnTo>
                  <a:lnTo>
                    <a:pt x="463" y="281"/>
                  </a:lnTo>
                  <a:lnTo>
                    <a:pt x="460" y="278"/>
                  </a:lnTo>
                  <a:lnTo>
                    <a:pt x="457" y="280"/>
                  </a:lnTo>
                  <a:lnTo>
                    <a:pt x="454" y="278"/>
                  </a:lnTo>
                  <a:lnTo>
                    <a:pt x="453" y="281"/>
                  </a:lnTo>
                  <a:lnTo>
                    <a:pt x="455" y="283"/>
                  </a:lnTo>
                  <a:lnTo>
                    <a:pt x="452" y="285"/>
                  </a:lnTo>
                  <a:lnTo>
                    <a:pt x="452" y="288"/>
                  </a:lnTo>
                  <a:lnTo>
                    <a:pt x="449" y="285"/>
                  </a:lnTo>
                  <a:lnTo>
                    <a:pt x="446" y="285"/>
                  </a:lnTo>
                  <a:lnTo>
                    <a:pt x="442" y="282"/>
                  </a:lnTo>
                  <a:lnTo>
                    <a:pt x="437" y="278"/>
                  </a:lnTo>
                  <a:lnTo>
                    <a:pt x="431" y="273"/>
                  </a:lnTo>
                  <a:lnTo>
                    <a:pt x="432" y="276"/>
                  </a:lnTo>
                  <a:lnTo>
                    <a:pt x="433" y="280"/>
                  </a:lnTo>
                  <a:lnTo>
                    <a:pt x="434" y="283"/>
                  </a:lnTo>
                  <a:lnTo>
                    <a:pt x="434" y="286"/>
                  </a:lnTo>
                  <a:lnTo>
                    <a:pt x="432" y="285"/>
                  </a:lnTo>
                  <a:lnTo>
                    <a:pt x="429" y="285"/>
                  </a:lnTo>
                  <a:lnTo>
                    <a:pt x="425" y="281"/>
                  </a:lnTo>
                  <a:lnTo>
                    <a:pt x="422" y="280"/>
                  </a:lnTo>
                  <a:lnTo>
                    <a:pt x="420" y="283"/>
                  </a:lnTo>
                  <a:lnTo>
                    <a:pt x="422" y="285"/>
                  </a:lnTo>
                  <a:lnTo>
                    <a:pt x="422" y="289"/>
                  </a:lnTo>
                  <a:lnTo>
                    <a:pt x="421" y="292"/>
                  </a:lnTo>
                  <a:lnTo>
                    <a:pt x="418" y="290"/>
                  </a:lnTo>
                  <a:lnTo>
                    <a:pt x="420" y="293"/>
                  </a:lnTo>
                  <a:lnTo>
                    <a:pt x="422" y="293"/>
                  </a:lnTo>
                  <a:lnTo>
                    <a:pt x="424" y="298"/>
                  </a:lnTo>
                  <a:lnTo>
                    <a:pt x="421" y="295"/>
                  </a:lnTo>
                  <a:lnTo>
                    <a:pt x="420" y="299"/>
                  </a:lnTo>
                  <a:lnTo>
                    <a:pt x="421" y="302"/>
                  </a:lnTo>
                  <a:lnTo>
                    <a:pt x="418" y="303"/>
                  </a:lnTo>
                  <a:lnTo>
                    <a:pt x="421" y="303"/>
                  </a:lnTo>
                  <a:lnTo>
                    <a:pt x="423" y="300"/>
                  </a:lnTo>
                  <a:lnTo>
                    <a:pt x="421" y="298"/>
                  </a:lnTo>
                  <a:lnTo>
                    <a:pt x="425" y="301"/>
                  </a:lnTo>
                  <a:lnTo>
                    <a:pt x="424" y="303"/>
                  </a:lnTo>
                  <a:lnTo>
                    <a:pt x="427" y="305"/>
                  </a:lnTo>
                  <a:lnTo>
                    <a:pt x="429" y="308"/>
                  </a:lnTo>
                  <a:lnTo>
                    <a:pt x="425" y="307"/>
                  </a:lnTo>
                  <a:lnTo>
                    <a:pt x="421" y="306"/>
                  </a:lnTo>
                  <a:lnTo>
                    <a:pt x="416" y="305"/>
                  </a:lnTo>
                  <a:lnTo>
                    <a:pt x="413" y="304"/>
                  </a:lnTo>
                  <a:lnTo>
                    <a:pt x="409" y="302"/>
                  </a:lnTo>
                  <a:lnTo>
                    <a:pt x="405" y="301"/>
                  </a:lnTo>
                  <a:lnTo>
                    <a:pt x="403" y="298"/>
                  </a:lnTo>
                  <a:lnTo>
                    <a:pt x="405" y="302"/>
                  </a:lnTo>
                  <a:lnTo>
                    <a:pt x="410" y="304"/>
                  </a:lnTo>
                  <a:lnTo>
                    <a:pt x="414" y="306"/>
                  </a:lnTo>
                  <a:lnTo>
                    <a:pt x="416" y="307"/>
                  </a:lnTo>
                  <a:lnTo>
                    <a:pt x="419" y="309"/>
                  </a:lnTo>
                  <a:lnTo>
                    <a:pt x="416" y="312"/>
                  </a:lnTo>
                  <a:lnTo>
                    <a:pt x="413" y="314"/>
                  </a:lnTo>
                  <a:lnTo>
                    <a:pt x="408" y="313"/>
                  </a:lnTo>
                  <a:lnTo>
                    <a:pt x="409" y="316"/>
                  </a:lnTo>
                  <a:lnTo>
                    <a:pt x="414" y="317"/>
                  </a:lnTo>
                  <a:lnTo>
                    <a:pt x="415" y="320"/>
                  </a:lnTo>
                  <a:lnTo>
                    <a:pt x="412" y="320"/>
                  </a:lnTo>
                  <a:lnTo>
                    <a:pt x="412" y="323"/>
                  </a:lnTo>
                  <a:lnTo>
                    <a:pt x="409" y="325"/>
                  </a:lnTo>
                  <a:lnTo>
                    <a:pt x="407" y="326"/>
                  </a:lnTo>
                  <a:lnTo>
                    <a:pt x="403" y="325"/>
                  </a:lnTo>
                  <a:lnTo>
                    <a:pt x="400" y="325"/>
                  </a:lnTo>
                  <a:lnTo>
                    <a:pt x="397" y="326"/>
                  </a:lnTo>
                  <a:lnTo>
                    <a:pt x="395" y="332"/>
                  </a:lnTo>
                  <a:lnTo>
                    <a:pt x="398" y="334"/>
                  </a:lnTo>
                  <a:lnTo>
                    <a:pt x="401" y="333"/>
                  </a:lnTo>
                  <a:lnTo>
                    <a:pt x="403" y="335"/>
                  </a:lnTo>
                  <a:lnTo>
                    <a:pt x="405" y="337"/>
                  </a:lnTo>
                  <a:lnTo>
                    <a:pt x="405" y="340"/>
                  </a:lnTo>
                  <a:lnTo>
                    <a:pt x="401" y="342"/>
                  </a:lnTo>
                  <a:lnTo>
                    <a:pt x="398" y="337"/>
                  </a:lnTo>
                  <a:lnTo>
                    <a:pt x="396" y="335"/>
                  </a:lnTo>
                  <a:lnTo>
                    <a:pt x="390" y="331"/>
                  </a:lnTo>
                  <a:lnTo>
                    <a:pt x="388" y="334"/>
                  </a:lnTo>
                  <a:lnTo>
                    <a:pt x="393" y="335"/>
                  </a:lnTo>
                  <a:lnTo>
                    <a:pt x="398" y="340"/>
                  </a:lnTo>
                  <a:lnTo>
                    <a:pt x="400" y="343"/>
                  </a:lnTo>
                  <a:lnTo>
                    <a:pt x="404" y="349"/>
                  </a:lnTo>
                  <a:lnTo>
                    <a:pt x="404" y="352"/>
                  </a:lnTo>
                  <a:lnTo>
                    <a:pt x="403" y="357"/>
                  </a:lnTo>
                  <a:lnTo>
                    <a:pt x="401" y="359"/>
                  </a:lnTo>
                  <a:lnTo>
                    <a:pt x="402" y="362"/>
                  </a:lnTo>
                  <a:lnTo>
                    <a:pt x="399" y="365"/>
                  </a:lnTo>
                  <a:lnTo>
                    <a:pt x="399" y="368"/>
                  </a:lnTo>
                  <a:lnTo>
                    <a:pt x="394" y="370"/>
                  </a:lnTo>
                  <a:lnTo>
                    <a:pt x="394" y="373"/>
                  </a:lnTo>
                  <a:lnTo>
                    <a:pt x="393" y="376"/>
                  </a:lnTo>
                  <a:lnTo>
                    <a:pt x="393" y="379"/>
                  </a:lnTo>
                  <a:lnTo>
                    <a:pt x="392" y="382"/>
                  </a:lnTo>
                  <a:lnTo>
                    <a:pt x="389" y="380"/>
                  </a:lnTo>
                  <a:lnTo>
                    <a:pt x="388" y="384"/>
                  </a:lnTo>
                  <a:lnTo>
                    <a:pt x="390" y="387"/>
                  </a:lnTo>
                  <a:lnTo>
                    <a:pt x="393" y="387"/>
                  </a:lnTo>
                  <a:lnTo>
                    <a:pt x="395" y="386"/>
                  </a:lnTo>
                  <a:lnTo>
                    <a:pt x="398" y="386"/>
                  </a:lnTo>
                  <a:lnTo>
                    <a:pt x="396" y="389"/>
                  </a:lnTo>
                  <a:lnTo>
                    <a:pt x="398" y="392"/>
                  </a:lnTo>
                  <a:lnTo>
                    <a:pt x="400" y="396"/>
                  </a:lnTo>
                  <a:lnTo>
                    <a:pt x="397" y="394"/>
                  </a:lnTo>
                  <a:lnTo>
                    <a:pt x="393" y="391"/>
                  </a:lnTo>
                  <a:lnTo>
                    <a:pt x="392" y="394"/>
                  </a:lnTo>
                  <a:lnTo>
                    <a:pt x="395" y="397"/>
                  </a:lnTo>
                  <a:lnTo>
                    <a:pt x="397" y="397"/>
                  </a:lnTo>
                  <a:lnTo>
                    <a:pt x="399" y="401"/>
                  </a:lnTo>
                  <a:lnTo>
                    <a:pt x="402" y="403"/>
                  </a:lnTo>
                  <a:lnTo>
                    <a:pt x="406" y="402"/>
                  </a:lnTo>
                  <a:lnTo>
                    <a:pt x="408" y="405"/>
                  </a:lnTo>
                  <a:lnTo>
                    <a:pt x="412" y="406"/>
                  </a:lnTo>
                  <a:lnTo>
                    <a:pt x="409" y="406"/>
                  </a:lnTo>
                  <a:lnTo>
                    <a:pt x="405" y="408"/>
                  </a:lnTo>
                  <a:lnTo>
                    <a:pt x="409" y="409"/>
                  </a:lnTo>
                  <a:lnTo>
                    <a:pt x="410" y="411"/>
                  </a:lnTo>
                  <a:lnTo>
                    <a:pt x="411" y="415"/>
                  </a:lnTo>
                  <a:lnTo>
                    <a:pt x="414" y="413"/>
                  </a:lnTo>
                  <a:lnTo>
                    <a:pt x="414" y="416"/>
                  </a:lnTo>
                  <a:lnTo>
                    <a:pt x="411" y="423"/>
                  </a:lnTo>
                  <a:lnTo>
                    <a:pt x="408" y="427"/>
                  </a:lnTo>
                  <a:lnTo>
                    <a:pt x="405" y="430"/>
                  </a:lnTo>
                  <a:lnTo>
                    <a:pt x="400" y="439"/>
                  </a:lnTo>
                  <a:lnTo>
                    <a:pt x="398" y="442"/>
                  </a:lnTo>
                  <a:lnTo>
                    <a:pt x="395" y="446"/>
                  </a:lnTo>
                  <a:lnTo>
                    <a:pt x="395" y="449"/>
                  </a:lnTo>
                  <a:lnTo>
                    <a:pt x="394" y="455"/>
                  </a:lnTo>
                  <a:lnTo>
                    <a:pt x="395" y="457"/>
                  </a:lnTo>
                  <a:lnTo>
                    <a:pt x="395" y="461"/>
                  </a:lnTo>
                  <a:lnTo>
                    <a:pt x="394" y="463"/>
                  </a:lnTo>
                  <a:lnTo>
                    <a:pt x="392" y="469"/>
                  </a:lnTo>
                  <a:lnTo>
                    <a:pt x="392" y="472"/>
                  </a:lnTo>
                  <a:lnTo>
                    <a:pt x="390" y="475"/>
                  </a:lnTo>
                  <a:lnTo>
                    <a:pt x="389" y="481"/>
                  </a:lnTo>
                  <a:lnTo>
                    <a:pt x="383" y="481"/>
                  </a:lnTo>
                  <a:lnTo>
                    <a:pt x="381" y="479"/>
                  </a:lnTo>
                  <a:lnTo>
                    <a:pt x="379" y="484"/>
                  </a:lnTo>
                  <a:lnTo>
                    <a:pt x="379" y="490"/>
                  </a:lnTo>
                  <a:lnTo>
                    <a:pt x="378" y="492"/>
                  </a:lnTo>
                  <a:lnTo>
                    <a:pt x="375" y="487"/>
                  </a:lnTo>
                  <a:lnTo>
                    <a:pt x="375" y="494"/>
                  </a:lnTo>
                  <a:lnTo>
                    <a:pt x="373" y="490"/>
                  </a:lnTo>
                  <a:lnTo>
                    <a:pt x="372" y="492"/>
                  </a:lnTo>
                  <a:lnTo>
                    <a:pt x="372" y="497"/>
                  </a:lnTo>
                  <a:lnTo>
                    <a:pt x="369" y="497"/>
                  </a:lnTo>
                  <a:lnTo>
                    <a:pt x="364" y="497"/>
                  </a:lnTo>
                  <a:lnTo>
                    <a:pt x="363" y="500"/>
                  </a:lnTo>
                  <a:lnTo>
                    <a:pt x="364" y="502"/>
                  </a:lnTo>
                  <a:lnTo>
                    <a:pt x="361" y="501"/>
                  </a:lnTo>
                  <a:lnTo>
                    <a:pt x="359" y="503"/>
                  </a:lnTo>
                  <a:lnTo>
                    <a:pt x="358" y="506"/>
                  </a:lnTo>
                  <a:lnTo>
                    <a:pt x="355" y="509"/>
                  </a:lnTo>
                  <a:lnTo>
                    <a:pt x="354" y="512"/>
                  </a:lnTo>
                  <a:lnTo>
                    <a:pt x="356" y="516"/>
                  </a:lnTo>
                  <a:lnTo>
                    <a:pt x="353" y="520"/>
                  </a:lnTo>
                  <a:lnTo>
                    <a:pt x="351" y="519"/>
                  </a:lnTo>
                  <a:lnTo>
                    <a:pt x="350" y="516"/>
                  </a:lnTo>
                  <a:lnTo>
                    <a:pt x="347" y="512"/>
                  </a:lnTo>
                  <a:lnTo>
                    <a:pt x="345" y="512"/>
                  </a:lnTo>
                  <a:lnTo>
                    <a:pt x="342" y="509"/>
                  </a:lnTo>
                  <a:lnTo>
                    <a:pt x="342" y="512"/>
                  </a:lnTo>
                  <a:lnTo>
                    <a:pt x="343" y="515"/>
                  </a:lnTo>
                  <a:lnTo>
                    <a:pt x="345" y="516"/>
                  </a:lnTo>
                  <a:lnTo>
                    <a:pt x="345" y="521"/>
                  </a:lnTo>
                  <a:lnTo>
                    <a:pt x="343" y="521"/>
                  </a:lnTo>
                  <a:lnTo>
                    <a:pt x="339" y="517"/>
                  </a:lnTo>
                  <a:lnTo>
                    <a:pt x="340" y="520"/>
                  </a:lnTo>
                  <a:lnTo>
                    <a:pt x="336" y="519"/>
                  </a:lnTo>
                  <a:lnTo>
                    <a:pt x="336" y="524"/>
                  </a:lnTo>
                  <a:lnTo>
                    <a:pt x="336" y="528"/>
                  </a:lnTo>
                  <a:lnTo>
                    <a:pt x="337" y="530"/>
                  </a:lnTo>
                  <a:lnTo>
                    <a:pt x="332" y="533"/>
                  </a:lnTo>
                  <a:lnTo>
                    <a:pt x="332" y="536"/>
                  </a:lnTo>
                  <a:lnTo>
                    <a:pt x="331" y="539"/>
                  </a:lnTo>
                  <a:lnTo>
                    <a:pt x="329" y="539"/>
                  </a:lnTo>
                  <a:lnTo>
                    <a:pt x="329" y="542"/>
                  </a:lnTo>
                  <a:lnTo>
                    <a:pt x="332" y="542"/>
                  </a:lnTo>
                  <a:lnTo>
                    <a:pt x="328" y="545"/>
                  </a:lnTo>
                  <a:lnTo>
                    <a:pt x="324" y="540"/>
                  </a:lnTo>
                  <a:lnTo>
                    <a:pt x="319" y="540"/>
                  </a:lnTo>
                  <a:lnTo>
                    <a:pt x="324" y="544"/>
                  </a:lnTo>
                  <a:lnTo>
                    <a:pt x="319" y="547"/>
                  </a:lnTo>
                  <a:lnTo>
                    <a:pt x="316" y="543"/>
                  </a:lnTo>
                  <a:lnTo>
                    <a:pt x="316" y="546"/>
                  </a:lnTo>
                  <a:lnTo>
                    <a:pt x="317" y="550"/>
                  </a:lnTo>
                  <a:lnTo>
                    <a:pt x="312" y="550"/>
                  </a:lnTo>
                  <a:lnTo>
                    <a:pt x="314" y="553"/>
                  </a:lnTo>
                  <a:lnTo>
                    <a:pt x="309" y="556"/>
                  </a:lnTo>
                  <a:lnTo>
                    <a:pt x="309" y="559"/>
                  </a:lnTo>
                  <a:lnTo>
                    <a:pt x="307" y="562"/>
                  </a:lnTo>
                  <a:lnTo>
                    <a:pt x="307" y="564"/>
                  </a:lnTo>
                  <a:lnTo>
                    <a:pt x="305" y="563"/>
                  </a:lnTo>
                  <a:lnTo>
                    <a:pt x="305" y="566"/>
                  </a:lnTo>
                  <a:lnTo>
                    <a:pt x="302" y="565"/>
                  </a:lnTo>
                  <a:lnTo>
                    <a:pt x="297" y="568"/>
                  </a:lnTo>
                  <a:lnTo>
                    <a:pt x="309" y="567"/>
                  </a:lnTo>
                  <a:lnTo>
                    <a:pt x="312" y="569"/>
                  </a:lnTo>
                  <a:lnTo>
                    <a:pt x="308" y="571"/>
                  </a:lnTo>
                  <a:lnTo>
                    <a:pt x="305" y="570"/>
                  </a:lnTo>
                  <a:lnTo>
                    <a:pt x="306" y="573"/>
                  </a:lnTo>
                  <a:lnTo>
                    <a:pt x="308" y="576"/>
                  </a:lnTo>
                  <a:lnTo>
                    <a:pt x="305" y="575"/>
                  </a:lnTo>
                  <a:lnTo>
                    <a:pt x="308" y="577"/>
                  </a:lnTo>
                  <a:lnTo>
                    <a:pt x="308" y="580"/>
                  </a:lnTo>
                  <a:lnTo>
                    <a:pt x="304" y="582"/>
                  </a:lnTo>
                  <a:lnTo>
                    <a:pt x="300" y="579"/>
                  </a:lnTo>
                  <a:lnTo>
                    <a:pt x="297" y="580"/>
                  </a:lnTo>
                  <a:lnTo>
                    <a:pt x="298" y="583"/>
                  </a:lnTo>
                  <a:lnTo>
                    <a:pt x="300" y="582"/>
                  </a:lnTo>
                  <a:lnTo>
                    <a:pt x="300" y="585"/>
                  </a:lnTo>
                  <a:lnTo>
                    <a:pt x="297" y="586"/>
                  </a:lnTo>
                  <a:lnTo>
                    <a:pt x="296" y="589"/>
                  </a:lnTo>
                  <a:lnTo>
                    <a:pt x="293" y="589"/>
                  </a:lnTo>
                  <a:lnTo>
                    <a:pt x="290" y="588"/>
                  </a:lnTo>
                  <a:lnTo>
                    <a:pt x="294" y="586"/>
                  </a:lnTo>
                  <a:lnTo>
                    <a:pt x="293" y="583"/>
                  </a:lnTo>
                  <a:lnTo>
                    <a:pt x="290" y="583"/>
                  </a:lnTo>
                  <a:lnTo>
                    <a:pt x="288" y="586"/>
                  </a:lnTo>
                  <a:lnTo>
                    <a:pt x="286" y="582"/>
                  </a:lnTo>
                  <a:lnTo>
                    <a:pt x="285" y="579"/>
                  </a:lnTo>
                  <a:lnTo>
                    <a:pt x="282" y="574"/>
                  </a:lnTo>
                  <a:lnTo>
                    <a:pt x="277" y="572"/>
                  </a:lnTo>
                  <a:lnTo>
                    <a:pt x="275" y="571"/>
                  </a:lnTo>
                  <a:lnTo>
                    <a:pt x="280" y="575"/>
                  </a:lnTo>
                  <a:lnTo>
                    <a:pt x="283" y="579"/>
                  </a:lnTo>
                  <a:lnTo>
                    <a:pt x="284" y="581"/>
                  </a:lnTo>
                  <a:lnTo>
                    <a:pt x="285" y="584"/>
                  </a:lnTo>
                  <a:lnTo>
                    <a:pt x="286" y="588"/>
                  </a:lnTo>
                  <a:lnTo>
                    <a:pt x="288" y="591"/>
                  </a:lnTo>
                  <a:lnTo>
                    <a:pt x="290" y="594"/>
                  </a:lnTo>
                  <a:lnTo>
                    <a:pt x="291" y="597"/>
                  </a:lnTo>
                  <a:lnTo>
                    <a:pt x="291" y="600"/>
                  </a:lnTo>
                  <a:lnTo>
                    <a:pt x="289" y="600"/>
                  </a:lnTo>
                  <a:lnTo>
                    <a:pt x="285" y="600"/>
                  </a:lnTo>
                  <a:lnTo>
                    <a:pt x="293" y="603"/>
                  </a:lnTo>
                  <a:lnTo>
                    <a:pt x="294" y="606"/>
                  </a:lnTo>
                  <a:lnTo>
                    <a:pt x="291" y="609"/>
                  </a:lnTo>
                  <a:lnTo>
                    <a:pt x="290" y="605"/>
                  </a:lnTo>
                  <a:lnTo>
                    <a:pt x="288" y="608"/>
                  </a:lnTo>
                  <a:lnTo>
                    <a:pt x="287" y="611"/>
                  </a:lnTo>
                  <a:lnTo>
                    <a:pt x="287" y="615"/>
                  </a:lnTo>
                  <a:lnTo>
                    <a:pt x="284" y="615"/>
                  </a:lnTo>
                  <a:lnTo>
                    <a:pt x="281" y="615"/>
                  </a:lnTo>
                  <a:lnTo>
                    <a:pt x="279" y="621"/>
                  </a:lnTo>
                  <a:lnTo>
                    <a:pt x="275" y="623"/>
                  </a:lnTo>
                  <a:lnTo>
                    <a:pt x="271" y="618"/>
                  </a:lnTo>
                  <a:lnTo>
                    <a:pt x="268" y="614"/>
                  </a:lnTo>
                  <a:lnTo>
                    <a:pt x="267" y="616"/>
                  </a:lnTo>
                  <a:lnTo>
                    <a:pt x="265" y="621"/>
                  </a:lnTo>
                  <a:lnTo>
                    <a:pt x="267" y="624"/>
                  </a:lnTo>
                  <a:lnTo>
                    <a:pt x="267" y="627"/>
                  </a:lnTo>
                  <a:lnTo>
                    <a:pt x="267" y="631"/>
                  </a:lnTo>
                  <a:lnTo>
                    <a:pt x="268" y="634"/>
                  </a:lnTo>
                  <a:lnTo>
                    <a:pt x="272" y="635"/>
                  </a:lnTo>
                  <a:lnTo>
                    <a:pt x="273" y="638"/>
                  </a:lnTo>
                  <a:lnTo>
                    <a:pt x="276" y="641"/>
                  </a:lnTo>
                  <a:lnTo>
                    <a:pt x="278" y="640"/>
                  </a:lnTo>
                  <a:lnTo>
                    <a:pt x="281" y="642"/>
                  </a:lnTo>
                  <a:lnTo>
                    <a:pt x="278" y="645"/>
                  </a:lnTo>
                  <a:lnTo>
                    <a:pt x="276" y="642"/>
                  </a:lnTo>
                  <a:lnTo>
                    <a:pt x="275" y="646"/>
                  </a:lnTo>
                  <a:lnTo>
                    <a:pt x="275" y="650"/>
                  </a:lnTo>
                  <a:lnTo>
                    <a:pt x="274" y="653"/>
                  </a:lnTo>
                  <a:lnTo>
                    <a:pt x="275" y="656"/>
                  </a:lnTo>
                  <a:lnTo>
                    <a:pt x="274" y="659"/>
                  </a:lnTo>
                  <a:lnTo>
                    <a:pt x="275" y="663"/>
                  </a:lnTo>
                  <a:lnTo>
                    <a:pt x="272" y="668"/>
                  </a:lnTo>
                  <a:lnTo>
                    <a:pt x="271" y="672"/>
                  </a:lnTo>
                  <a:lnTo>
                    <a:pt x="272" y="675"/>
                  </a:lnTo>
                  <a:lnTo>
                    <a:pt x="272" y="678"/>
                  </a:lnTo>
                  <a:lnTo>
                    <a:pt x="272" y="681"/>
                  </a:lnTo>
                  <a:lnTo>
                    <a:pt x="274" y="680"/>
                  </a:lnTo>
                  <a:lnTo>
                    <a:pt x="274" y="683"/>
                  </a:lnTo>
                  <a:lnTo>
                    <a:pt x="274" y="688"/>
                  </a:lnTo>
                  <a:lnTo>
                    <a:pt x="277" y="690"/>
                  </a:lnTo>
                  <a:lnTo>
                    <a:pt x="280" y="690"/>
                  </a:lnTo>
                  <a:lnTo>
                    <a:pt x="281" y="693"/>
                  </a:lnTo>
                  <a:lnTo>
                    <a:pt x="280" y="697"/>
                  </a:lnTo>
                  <a:lnTo>
                    <a:pt x="277" y="697"/>
                  </a:lnTo>
                  <a:lnTo>
                    <a:pt x="275" y="693"/>
                  </a:lnTo>
                  <a:lnTo>
                    <a:pt x="272" y="691"/>
                  </a:lnTo>
                  <a:lnTo>
                    <a:pt x="274" y="695"/>
                  </a:lnTo>
                  <a:lnTo>
                    <a:pt x="269" y="691"/>
                  </a:lnTo>
                  <a:lnTo>
                    <a:pt x="264" y="691"/>
                  </a:lnTo>
                  <a:lnTo>
                    <a:pt x="267" y="692"/>
                  </a:lnTo>
                  <a:lnTo>
                    <a:pt x="270" y="694"/>
                  </a:lnTo>
                  <a:lnTo>
                    <a:pt x="268" y="697"/>
                  </a:lnTo>
                  <a:lnTo>
                    <a:pt x="264" y="699"/>
                  </a:lnTo>
                  <a:lnTo>
                    <a:pt x="269" y="700"/>
                  </a:lnTo>
                  <a:lnTo>
                    <a:pt x="266" y="701"/>
                  </a:lnTo>
                  <a:lnTo>
                    <a:pt x="262" y="702"/>
                  </a:lnTo>
                  <a:lnTo>
                    <a:pt x="265" y="702"/>
                  </a:lnTo>
                  <a:lnTo>
                    <a:pt x="262" y="705"/>
                  </a:lnTo>
                  <a:lnTo>
                    <a:pt x="268" y="706"/>
                  </a:lnTo>
                  <a:lnTo>
                    <a:pt x="263" y="707"/>
                  </a:lnTo>
                  <a:lnTo>
                    <a:pt x="267" y="709"/>
                  </a:lnTo>
                  <a:lnTo>
                    <a:pt x="267" y="714"/>
                  </a:lnTo>
                  <a:lnTo>
                    <a:pt x="268" y="717"/>
                  </a:lnTo>
                  <a:lnTo>
                    <a:pt x="265" y="721"/>
                  </a:lnTo>
                  <a:lnTo>
                    <a:pt x="267" y="724"/>
                  </a:lnTo>
                  <a:lnTo>
                    <a:pt x="270" y="726"/>
                  </a:lnTo>
                  <a:lnTo>
                    <a:pt x="274" y="728"/>
                  </a:lnTo>
                  <a:lnTo>
                    <a:pt x="271" y="729"/>
                  </a:lnTo>
                  <a:lnTo>
                    <a:pt x="268" y="728"/>
                  </a:lnTo>
                  <a:lnTo>
                    <a:pt x="270" y="730"/>
                  </a:lnTo>
                  <a:lnTo>
                    <a:pt x="268" y="729"/>
                  </a:lnTo>
                  <a:lnTo>
                    <a:pt x="271" y="734"/>
                  </a:lnTo>
                  <a:lnTo>
                    <a:pt x="271" y="737"/>
                  </a:lnTo>
                  <a:lnTo>
                    <a:pt x="270" y="739"/>
                  </a:lnTo>
                  <a:lnTo>
                    <a:pt x="271" y="742"/>
                  </a:lnTo>
                  <a:lnTo>
                    <a:pt x="271" y="745"/>
                  </a:lnTo>
                  <a:lnTo>
                    <a:pt x="273" y="748"/>
                  </a:lnTo>
                  <a:lnTo>
                    <a:pt x="272" y="751"/>
                  </a:lnTo>
                  <a:lnTo>
                    <a:pt x="272" y="755"/>
                  </a:lnTo>
                  <a:lnTo>
                    <a:pt x="276" y="757"/>
                  </a:lnTo>
                  <a:lnTo>
                    <a:pt x="273" y="758"/>
                  </a:lnTo>
                  <a:lnTo>
                    <a:pt x="272" y="762"/>
                  </a:lnTo>
                  <a:lnTo>
                    <a:pt x="274" y="764"/>
                  </a:lnTo>
                  <a:lnTo>
                    <a:pt x="275" y="767"/>
                  </a:lnTo>
                  <a:lnTo>
                    <a:pt x="279" y="772"/>
                  </a:lnTo>
                  <a:lnTo>
                    <a:pt x="279" y="776"/>
                  </a:lnTo>
                  <a:lnTo>
                    <a:pt x="281" y="779"/>
                  </a:lnTo>
                  <a:lnTo>
                    <a:pt x="280" y="782"/>
                  </a:lnTo>
                  <a:lnTo>
                    <a:pt x="277" y="785"/>
                  </a:lnTo>
                  <a:lnTo>
                    <a:pt x="282" y="788"/>
                  </a:lnTo>
                  <a:lnTo>
                    <a:pt x="285" y="790"/>
                  </a:lnTo>
                  <a:lnTo>
                    <a:pt x="285" y="792"/>
                  </a:lnTo>
                  <a:lnTo>
                    <a:pt x="293" y="789"/>
                  </a:lnTo>
                  <a:lnTo>
                    <a:pt x="295" y="789"/>
                  </a:lnTo>
                  <a:lnTo>
                    <a:pt x="298" y="791"/>
                  </a:lnTo>
                  <a:lnTo>
                    <a:pt x="296" y="794"/>
                  </a:lnTo>
                  <a:lnTo>
                    <a:pt x="297" y="798"/>
                  </a:lnTo>
                  <a:lnTo>
                    <a:pt x="298" y="801"/>
                  </a:lnTo>
                  <a:lnTo>
                    <a:pt x="303" y="802"/>
                  </a:lnTo>
                  <a:lnTo>
                    <a:pt x="302" y="798"/>
                  </a:lnTo>
                  <a:lnTo>
                    <a:pt x="303" y="796"/>
                  </a:lnTo>
                  <a:lnTo>
                    <a:pt x="306" y="793"/>
                  </a:lnTo>
                  <a:lnTo>
                    <a:pt x="310" y="791"/>
                  </a:lnTo>
                  <a:lnTo>
                    <a:pt x="314" y="792"/>
                  </a:lnTo>
                  <a:lnTo>
                    <a:pt x="315" y="795"/>
                  </a:lnTo>
                  <a:lnTo>
                    <a:pt x="315" y="798"/>
                  </a:lnTo>
                  <a:lnTo>
                    <a:pt x="319" y="802"/>
                  </a:lnTo>
                  <a:lnTo>
                    <a:pt x="323" y="807"/>
                  </a:lnTo>
                  <a:lnTo>
                    <a:pt x="329" y="810"/>
                  </a:lnTo>
                  <a:lnTo>
                    <a:pt x="328" y="814"/>
                  </a:lnTo>
                  <a:lnTo>
                    <a:pt x="332" y="812"/>
                  </a:lnTo>
                  <a:lnTo>
                    <a:pt x="334" y="812"/>
                  </a:lnTo>
                  <a:lnTo>
                    <a:pt x="337" y="812"/>
                  </a:lnTo>
                  <a:lnTo>
                    <a:pt x="338" y="815"/>
                  </a:lnTo>
                  <a:lnTo>
                    <a:pt x="344" y="819"/>
                  </a:lnTo>
                  <a:lnTo>
                    <a:pt x="345" y="823"/>
                  </a:lnTo>
                  <a:lnTo>
                    <a:pt x="337" y="820"/>
                  </a:lnTo>
                  <a:lnTo>
                    <a:pt x="332" y="815"/>
                  </a:lnTo>
                  <a:lnTo>
                    <a:pt x="333" y="818"/>
                  </a:lnTo>
                  <a:lnTo>
                    <a:pt x="335" y="820"/>
                  </a:lnTo>
                  <a:lnTo>
                    <a:pt x="338" y="823"/>
                  </a:lnTo>
                  <a:lnTo>
                    <a:pt x="338" y="827"/>
                  </a:lnTo>
                  <a:lnTo>
                    <a:pt x="341" y="828"/>
                  </a:lnTo>
                  <a:lnTo>
                    <a:pt x="344" y="829"/>
                  </a:lnTo>
                  <a:lnTo>
                    <a:pt x="345" y="832"/>
                  </a:lnTo>
                  <a:lnTo>
                    <a:pt x="347" y="836"/>
                  </a:lnTo>
                  <a:lnTo>
                    <a:pt x="347" y="832"/>
                  </a:lnTo>
                  <a:lnTo>
                    <a:pt x="348" y="830"/>
                  </a:lnTo>
                  <a:lnTo>
                    <a:pt x="351" y="831"/>
                  </a:lnTo>
                  <a:lnTo>
                    <a:pt x="354" y="832"/>
                  </a:lnTo>
                  <a:lnTo>
                    <a:pt x="354" y="837"/>
                  </a:lnTo>
                  <a:lnTo>
                    <a:pt x="357" y="841"/>
                  </a:lnTo>
                  <a:lnTo>
                    <a:pt x="356" y="838"/>
                  </a:lnTo>
                  <a:lnTo>
                    <a:pt x="355" y="832"/>
                  </a:lnTo>
                  <a:lnTo>
                    <a:pt x="358" y="835"/>
                  </a:lnTo>
                  <a:lnTo>
                    <a:pt x="361" y="843"/>
                  </a:lnTo>
                  <a:lnTo>
                    <a:pt x="363" y="847"/>
                  </a:lnTo>
                  <a:lnTo>
                    <a:pt x="367" y="848"/>
                  </a:lnTo>
                  <a:lnTo>
                    <a:pt x="370" y="852"/>
                  </a:lnTo>
                  <a:lnTo>
                    <a:pt x="372" y="855"/>
                  </a:lnTo>
                  <a:lnTo>
                    <a:pt x="366" y="851"/>
                  </a:lnTo>
                  <a:lnTo>
                    <a:pt x="363" y="848"/>
                  </a:lnTo>
                  <a:lnTo>
                    <a:pt x="365" y="852"/>
                  </a:lnTo>
                  <a:lnTo>
                    <a:pt x="366" y="855"/>
                  </a:lnTo>
                  <a:lnTo>
                    <a:pt x="363" y="860"/>
                  </a:lnTo>
                  <a:lnTo>
                    <a:pt x="359" y="861"/>
                  </a:lnTo>
                  <a:lnTo>
                    <a:pt x="368" y="861"/>
                  </a:lnTo>
                  <a:lnTo>
                    <a:pt x="366" y="855"/>
                  </a:lnTo>
                  <a:lnTo>
                    <a:pt x="369" y="857"/>
                  </a:lnTo>
                  <a:lnTo>
                    <a:pt x="369" y="858"/>
                  </a:lnTo>
                  <a:lnTo>
                    <a:pt x="368" y="861"/>
                  </a:lnTo>
                  <a:lnTo>
                    <a:pt x="372" y="861"/>
                  </a:lnTo>
                  <a:lnTo>
                    <a:pt x="374" y="862"/>
                  </a:lnTo>
                  <a:lnTo>
                    <a:pt x="373" y="865"/>
                  </a:lnTo>
                  <a:lnTo>
                    <a:pt x="370" y="867"/>
                  </a:lnTo>
                  <a:lnTo>
                    <a:pt x="367" y="866"/>
                  </a:lnTo>
                  <a:lnTo>
                    <a:pt x="365" y="867"/>
                  </a:lnTo>
                  <a:lnTo>
                    <a:pt x="361" y="870"/>
                  </a:lnTo>
                  <a:lnTo>
                    <a:pt x="358" y="872"/>
                  </a:lnTo>
                  <a:lnTo>
                    <a:pt x="359" y="876"/>
                  </a:lnTo>
                  <a:lnTo>
                    <a:pt x="356" y="881"/>
                  </a:lnTo>
                  <a:lnTo>
                    <a:pt x="351" y="885"/>
                  </a:lnTo>
                  <a:lnTo>
                    <a:pt x="349" y="887"/>
                  </a:lnTo>
                  <a:lnTo>
                    <a:pt x="346" y="892"/>
                  </a:lnTo>
                  <a:lnTo>
                    <a:pt x="343" y="894"/>
                  </a:lnTo>
                  <a:lnTo>
                    <a:pt x="340" y="894"/>
                  </a:lnTo>
                  <a:lnTo>
                    <a:pt x="340" y="897"/>
                  </a:lnTo>
                  <a:lnTo>
                    <a:pt x="341" y="900"/>
                  </a:lnTo>
                  <a:lnTo>
                    <a:pt x="344" y="900"/>
                  </a:lnTo>
                  <a:lnTo>
                    <a:pt x="339" y="901"/>
                  </a:lnTo>
                  <a:lnTo>
                    <a:pt x="337" y="901"/>
                  </a:lnTo>
                  <a:lnTo>
                    <a:pt x="337" y="897"/>
                  </a:lnTo>
                  <a:lnTo>
                    <a:pt x="333" y="897"/>
                  </a:lnTo>
                  <a:lnTo>
                    <a:pt x="332" y="900"/>
                  </a:lnTo>
                  <a:lnTo>
                    <a:pt x="331" y="903"/>
                  </a:lnTo>
                  <a:lnTo>
                    <a:pt x="329" y="902"/>
                  </a:lnTo>
                  <a:lnTo>
                    <a:pt x="335" y="907"/>
                  </a:lnTo>
                  <a:lnTo>
                    <a:pt x="328" y="907"/>
                  </a:lnTo>
                  <a:lnTo>
                    <a:pt x="325" y="908"/>
                  </a:lnTo>
                  <a:lnTo>
                    <a:pt x="321" y="907"/>
                  </a:lnTo>
                  <a:lnTo>
                    <a:pt x="318" y="905"/>
                  </a:lnTo>
                  <a:lnTo>
                    <a:pt x="316" y="902"/>
                  </a:lnTo>
                  <a:lnTo>
                    <a:pt x="317" y="898"/>
                  </a:lnTo>
                  <a:lnTo>
                    <a:pt x="317" y="894"/>
                  </a:lnTo>
                  <a:lnTo>
                    <a:pt x="319" y="891"/>
                  </a:lnTo>
                  <a:lnTo>
                    <a:pt x="318" y="888"/>
                  </a:lnTo>
                  <a:lnTo>
                    <a:pt x="317" y="885"/>
                  </a:lnTo>
                  <a:lnTo>
                    <a:pt x="313" y="880"/>
                  </a:lnTo>
                  <a:lnTo>
                    <a:pt x="312" y="877"/>
                  </a:lnTo>
                  <a:lnTo>
                    <a:pt x="312" y="879"/>
                  </a:lnTo>
                  <a:lnTo>
                    <a:pt x="312" y="882"/>
                  </a:lnTo>
                  <a:lnTo>
                    <a:pt x="309" y="882"/>
                  </a:lnTo>
                  <a:lnTo>
                    <a:pt x="305" y="880"/>
                  </a:lnTo>
                  <a:lnTo>
                    <a:pt x="308" y="875"/>
                  </a:lnTo>
                  <a:lnTo>
                    <a:pt x="308" y="872"/>
                  </a:lnTo>
                  <a:lnTo>
                    <a:pt x="306" y="870"/>
                  </a:lnTo>
                  <a:lnTo>
                    <a:pt x="305" y="867"/>
                  </a:lnTo>
                  <a:lnTo>
                    <a:pt x="303" y="870"/>
                  </a:lnTo>
                  <a:lnTo>
                    <a:pt x="294" y="873"/>
                  </a:lnTo>
                  <a:lnTo>
                    <a:pt x="300" y="873"/>
                  </a:lnTo>
                  <a:lnTo>
                    <a:pt x="299" y="877"/>
                  </a:lnTo>
                  <a:lnTo>
                    <a:pt x="299" y="880"/>
                  </a:lnTo>
                  <a:lnTo>
                    <a:pt x="300" y="882"/>
                  </a:lnTo>
                  <a:lnTo>
                    <a:pt x="302" y="887"/>
                  </a:lnTo>
                  <a:lnTo>
                    <a:pt x="302" y="882"/>
                  </a:lnTo>
                  <a:lnTo>
                    <a:pt x="301" y="879"/>
                  </a:lnTo>
                  <a:lnTo>
                    <a:pt x="301" y="876"/>
                  </a:lnTo>
                  <a:lnTo>
                    <a:pt x="303" y="874"/>
                  </a:lnTo>
                  <a:lnTo>
                    <a:pt x="305" y="876"/>
                  </a:lnTo>
                  <a:lnTo>
                    <a:pt x="304" y="879"/>
                  </a:lnTo>
                  <a:lnTo>
                    <a:pt x="306" y="882"/>
                  </a:lnTo>
                  <a:lnTo>
                    <a:pt x="312" y="885"/>
                  </a:lnTo>
                  <a:lnTo>
                    <a:pt x="314" y="886"/>
                  </a:lnTo>
                  <a:lnTo>
                    <a:pt x="317" y="891"/>
                  </a:lnTo>
                  <a:lnTo>
                    <a:pt x="315" y="896"/>
                  </a:lnTo>
                  <a:lnTo>
                    <a:pt x="315" y="900"/>
                  </a:lnTo>
                  <a:lnTo>
                    <a:pt x="312" y="897"/>
                  </a:lnTo>
                  <a:lnTo>
                    <a:pt x="307" y="895"/>
                  </a:lnTo>
                  <a:lnTo>
                    <a:pt x="304" y="894"/>
                  </a:lnTo>
                  <a:lnTo>
                    <a:pt x="303" y="889"/>
                  </a:lnTo>
                  <a:lnTo>
                    <a:pt x="299" y="889"/>
                  </a:lnTo>
                  <a:lnTo>
                    <a:pt x="296" y="886"/>
                  </a:lnTo>
                  <a:lnTo>
                    <a:pt x="295" y="883"/>
                  </a:lnTo>
                  <a:lnTo>
                    <a:pt x="295" y="887"/>
                  </a:lnTo>
                  <a:lnTo>
                    <a:pt x="297" y="891"/>
                  </a:lnTo>
                  <a:lnTo>
                    <a:pt x="297" y="894"/>
                  </a:lnTo>
                  <a:lnTo>
                    <a:pt x="298" y="897"/>
                  </a:lnTo>
                  <a:lnTo>
                    <a:pt x="290" y="895"/>
                  </a:lnTo>
                  <a:lnTo>
                    <a:pt x="286" y="894"/>
                  </a:lnTo>
                  <a:lnTo>
                    <a:pt x="283" y="892"/>
                  </a:lnTo>
                  <a:lnTo>
                    <a:pt x="281" y="888"/>
                  </a:lnTo>
                  <a:lnTo>
                    <a:pt x="281" y="893"/>
                  </a:lnTo>
                  <a:lnTo>
                    <a:pt x="277" y="894"/>
                  </a:lnTo>
                  <a:lnTo>
                    <a:pt x="274" y="892"/>
                  </a:lnTo>
                  <a:lnTo>
                    <a:pt x="269" y="891"/>
                  </a:lnTo>
                  <a:lnTo>
                    <a:pt x="269" y="893"/>
                  </a:lnTo>
                  <a:lnTo>
                    <a:pt x="267" y="896"/>
                  </a:lnTo>
                  <a:lnTo>
                    <a:pt x="265" y="897"/>
                  </a:lnTo>
                  <a:lnTo>
                    <a:pt x="261" y="893"/>
                  </a:lnTo>
                  <a:lnTo>
                    <a:pt x="259" y="891"/>
                  </a:lnTo>
                  <a:lnTo>
                    <a:pt x="255" y="891"/>
                  </a:lnTo>
                  <a:lnTo>
                    <a:pt x="257" y="894"/>
                  </a:lnTo>
                  <a:lnTo>
                    <a:pt x="257" y="897"/>
                  </a:lnTo>
                  <a:lnTo>
                    <a:pt x="254" y="898"/>
                  </a:lnTo>
                  <a:lnTo>
                    <a:pt x="254" y="901"/>
                  </a:lnTo>
                  <a:lnTo>
                    <a:pt x="251" y="900"/>
                  </a:lnTo>
                  <a:lnTo>
                    <a:pt x="249" y="902"/>
                  </a:lnTo>
                  <a:lnTo>
                    <a:pt x="248" y="905"/>
                  </a:lnTo>
                  <a:lnTo>
                    <a:pt x="245" y="901"/>
                  </a:lnTo>
                  <a:lnTo>
                    <a:pt x="242" y="903"/>
                  </a:lnTo>
                  <a:lnTo>
                    <a:pt x="237" y="904"/>
                  </a:lnTo>
                  <a:lnTo>
                    <a:pt x="232" y="903"/>
                  </a:lnTo>
                  <a:lnTo>
                    <a:pt x="236" y="906"/>
                  </a:lnTo>
                  <a:lnTo>
                    <a:pt x="238" y="907"/>
                  </a:lnTo>
                  <a:lnTo>
                    <a:pt x="255" y="905"/>
                  </a:lnTo>
                  <a:lnTo>
                    <a:pt x="260" y="905"/>
                  </a:lnTo>
                  <a:lnTo>
                    <a:pt x="264" y="902"/>
                  </a:lnTo>
                  <a:lnTo>
                    <a:pt x="266" y="904"/>
                  </a:lnTo>
                  <a:lnTo>
                    <a:pt x="270" y="907"/>
                  </a:lnTo>
                  <a:lnTo>
                    <a:pt x="275" y="909"/>
                  </a:lnTo>
                  <a:lnTo>
                    <a:pt x="272" y="907"/>
                  </a:lnTo>
                  <a:lnTo>
                    <a:pt x="267" y="903"/>
                  </a:lnTo>
                  <a:lnTo>
                    <a:pt x="271" y="901"/>
                  </a:lnTo>
                  <a:lnTo>
                    <a:pt x="274" y="902"/>
                  </a:lnTo>
                  <a:lnTo>
                    <a:pt x="278" y="906"/>
                  </a:lnTo>
                  <a:lnTo>
                    <a:pt x="282" y="909"/>
                  </a:lnTo>
                  <a:lnTo>
                    <a:pt x="285" y="909"/>
                  </a:lnTo>
                  <a:lnTo>
                    <a:pt x="291" y="910"/>
                  </a:lnTo>
                  <a:lnTo>
                    <a:pt x="294" y="910"/>
                  </a:lnTo>
                  <a:lnTo>
                    <a:pt x="295" y="913"/>
                  </a:lnTo>
                  <a:lnTo>
                    <a:pt x="292" y="914"/>
                  </a:lnTo>
                  <a:lnTo>
                    <a:pt x="294" y="917"/>
                  </a:lnTo>
                  <a:lnTo>
                    <a:pt x="291" y="919"/>
                  </a:lnTo>
                  <a:lnTo>
                    <a:pt x="300" y="919"/>
                  </a:lnTo>
                  <a:lnTo>
                    <a:pt x="298" y="917"/>
                  </a:lnTo>
                  <a:lnTo>
                    <a:pt x="297" y="913"/>
                  </a:lnTo>
                  <a:lnTo>
                    <a:pt x="301" y="913"/>
                  </a:lnTo>
                  <a:lnTo>
                    <a:pt x="305" y="916"/>
                  </a:lnTo>
                  <a:lnTo>
                    <a:pt x="309" y="920"/>
                  </a:lnTo>
                  <a:lnTo>
                    <a:pt x="309" y="916"/>
                  </a:lnTo>
                  <a:lnTo>
                    <a:pt x="315" y="915"/>
                  </a:lnTo>
                  <a:lnTo>
                    <a:pt x="317" y="917"/>
                  </a:lnTo>
                  <a:lnTo>
                    <a:pt x="321" y="915"/>
                  </a:lnTo>
                  <a:lnTo>
                    <a:pt x="324" y="919"/>
                  </a:lnTo>
                  <a:lnTo>
                    <a:pt x="324" y="916"/>
                  </a:lnTo>
                  <a:lnTo>
                    <a:pt x="324" y="913"/>
                  </a:lnTo>
                  <a:lnTo>
                    <a:pt x="327" y="909"/>
                  </a:lnTo>
                  <a:lnTo>
                    <a:pt x="330" y="909"/>
                  </a:lnTo>
                  <a:lnTo>
                    <a:pt x="337" y="908"/>
                  </a:lnTo>
                  <a:lnTo>
                    <a:pt x="340" y="905"/>
                  </a:lnTo>
                  <a:lnTo>
                    <a:pt x="343" y="903"/>
                  </a:lnTo>
                  <a:lnTo>
                    <a:pt x="346" y="903"/>
                  </a:lnTo>
                  <a:lnTo>
                    <a:pt x="349" y="904"/>
                  </a:lnTo>
                  <a:lnTo>
                    <a:pt x="349" y="901"/>
                  </a:lnTo>
                  <a:lnTo>
                    <a:pt x="351" y="900"/>
                  </a:lnTo>
                  <a:lnTo>
                    <a:pt x="351" y="897"/>
                  </a:lnTo>
                  <a:lnTo>
                    <a:pt x="353" y="900"/>
                  </a:lnTo>
                  <a:lnTo>
                    <a:pt x="357" y="902"/>
                  </a:lnTo>
                  <a:lnTo>
                    <a:pt x="355" y="903"/>
                  </a:lnTo>
                  <a:lnTo>
                    <a:pt x="359" y="905"/>
                  </a:lnTo>
                  <a:lnTo>
                    <a:pt x="356" y="908"/>
                  </a:lnTo>
                  <a:lnTo>
                    <a:pt x="353" y="909"/>
                  </a:lnTo>
                  <a:lnTo>
                    <a:pt x="350" y="908"/>
                  </a:lnTo>
                  <a:lnTo>
                    <a:pt x="346" y="909"/>
                  </a:lnTo>
                  <a:lnTo>
                    <a:pt x="344" y="907"/>
                  </a:lnTo>
                  <a:lnTo>
                    <a:pt x="342" y="909"/>
                  </a:lnTo>
                  <a:lnTo>
                    <a:pt x="344" y="911"/>
                  </a:lnTo>
                  <a:lnTo>
                    <a:pt x="345" y="915"/>
                  </a:lnTo>
                  <a:lnTo>
                    <a:pt x="348" y="916"/>
                  </a:lnTo>
                  <a:lnTo>
                    <a:pt x="350" y="919"/>
                  </a:lnTo>
                  <a:lnTo>
                    <a:pt x="345" y="916"/>
                  </a:lnTo>
                  <a:lnTo>
                    <a:pt x="348" y="919"/>
                  </a:lnTo>
                  <a:lnTo>
                    <a:pt x="349" y="922"/>
                  </a:lnTo>
                  <a:lnTo>
                    <a:pt x="347" y="924"/>
                  </a:lnTo>
                  <a:lnTo>
                    <a:pt x="342" y="930"/>
                  </a:lnTo>
                  <a:lnTo>
                    <a:pt x="343" y="927"/>
                  </a:lnTo>
                  <a:lnTo>
                    <a:pt x="341" y="928"/>
                  </a:lnTo>
                  <a:lnTo>
                    <a:pt x="338" y="929"/>
                  </a:lnTo>
                  <a:lnTo>
                    <a:pt x="337" y="933"/>
                  </a:lnTo>
                  <a:lnTo>
                    <a:pt x="334" y="933"/>
                  </a:lnTo>
                  <a:lnTo>
                    <a:pt x="332" y="939"/>
                  </a:lnTo>
                  <a:lnTo>
                    <a:pt x="331" y="943"/>
                  </a:lnTo>
                  <a:lnTo>
                    <a:pt x="331" y="946"/>
                  </a:lnTo>
                  <a:lnTo>
                    <a:pt x="329" y="948"/>
                  </a:lnTo>
                  <a:lnTo>
                    <a:pt x="329" y="952"/>
                  </a:lnTo>
                  <a:lnTo>
                    <a:pt x="327" y="949"/>
                  </a:lnTo>
                  <a:lnTo>
                    <a:pt x="325" y="947"/>
                  </a:lnTo>
                  <a:lnTo>
                    <a:pt x="323" y="945"/>
                  </a:lnTo>
                  <a:lnTo>
                    <a:pt x="324" y="949"/>
                  </a:lnTo>
                  <a:lnTo>
                    <a:pt x="321" y="947"/>
                  </a:lnTo>
                  <a:lnTo>
                    <a:pt x="321" y="944"/>
                  </a:lnTo>
                  <a:lnTo>
                    <a:pt x="321" y="940"/>
                  </a:lnTo>
                  <a:lnTo>
                    <a:pt x="321" y="937"/>
                  </a:lnTo>
                  <a:lnTo>
                    <a:pt x="320" y="934"/>
                  </a:lnTo>
                  <a:lnTo>
                    <a:pt x="320" y="930"/>
                  </a:lnTo>
                  <a:lnTo>
                    <a:pt x="319" y="934"/>
                  </a:lnTo>
                  <a:lnTo>
                    <a:pt x="316" y="934"/>
                  </a:lnTo>
                  <a:lnTo>
                    <a:pt x="316" y="930"/>
                  </a:lnTo>
                  <a:lnTo>
                    <a:pt x="316" y="927"/>
                  </a:lnTo>
                  <a:lnTo>
                    <a:pt x="315" y="930"/>
                  </a:lnTo>
                  <a:lnTo>
                    <a:pt x="313" y="933"/>
                  </a:lnTo>
                  <a:lnTo>
                    <a:pt x="314" y="936"/>
                  </a:lnTo>
                  <a:lnTo>
                    <a:pt x="315" y="939"/>
                  </a:lnTo>
                  <a:lnTo>
                    <a:pt x="314" y="943"/>
                  </a:lnTo>
                  <a:lnTo>
                    <a:pt x="313" y="945"/>
                  </a:lnTo>
                  <a:lnTo>
                    <a:pt x="314" y="948"/>
                  </a:lnTo>
                  <a:lnTo>
                    <a:pt x="314" y="951"/>
                  </a:lnTo>
                  <a:lnTo>
                    <a:pt x="314" y="953"/>
                  </a:lnTo>
                  <a:lnTo>
                    <a:pt x="308" y="952"/>
                  </a:lnTo>
                  <a:lnTo>
                    <a:pt x="307" y="957"/>
                  </a:lnTo>
                  <a:lnTo>
                    <a:pt x="308" y="960"/>
                  </a:lnTo>
                  <a:lnTo>
                    <a:pt x="302" y="961"/>
                  </a:lnTo>
                  <a:lnTo>
                    <a:pt x="304" y="965"/>
                  </a:lnTo>
                  <a:lnTo>
                    <a:pt x="301" y="966"/>
                  </a:lnTo>
                  <a:lnTo>
                    <a:pt x="294" y="969"/>
                  </a:lnTo>
                  <a:lnTo>
                    <a:pt x="290" y="967"/>
                  </a:lnTo>
                  <a:lnTo>
                    <a:pt x="290" y="971"/>
                  </a:lnTo>
                  <a:lnTo>
                    <a:pt x="293" y="972"/>
                  </a:lnTo>
                  <a:lnTo>
                    <a:pt x="292" y="975"/>
                  </a:lnTo>
                  <a:lnTo>
                    <a:pt x="287" y="974"/>
                  </a:lnTo>
                  <a:lnTo>
                    <a:pt x="284" y="980"/>
                  </a:lnTo>
                  <a:lnTo>
                    <a:pt x="250" y="979"/>
                  </a:lnTo>
                  <a:lnTo>
                    <a:pt x="252" y="982"/>
                  </a:lnTo>
                  <a:lnTo>
                    <a:pt x="249" y="982"/>
                  </a:lnTo>
                  <a:lnTo>
                    <a:pt x="253" y="984"/>
                  </a:lnTo>
                  <a:lnTo>
                    <a:pt x="255" y="981"/>
                  </a:lnTo>
                  <a:lnTo>
                    <a:pt x="258" y="985"/>
                  </a:lnTo>
                  <a:lnTo>
                    <a:pt x="260" y="982"/>
                  </a:lnTo>
                  <a:lnTo>
                    <a:pt x="264" y="981"/>
                  </a:lnTo>
                  <a:lnTo>
                    <a:pt x="270" y="981"/>
                  </a:lnTo>
                  <a:lnTo>
                    <a:pt x="275" y="983"/>
                  </a:lnTo>
                  <a:lnTo>
                    <a:pt x="277" y="982"/>
                  </a:lnTo>
                  <a:lnTo>
                    <a:pt x="278" y="985"/>
                  </a:lnTo>
                  <a:lnTo>
                    <a:pt x="280" y="986"/>
                  </a:lnTo>
                  <a:lnTo>
                    <a:pt x="280" y="989"/>
                  </a:lnTo>
                  <a:lnTo>
                    <a:pt x="283" y="990"/>
                  </a:lnTo>
                  <a:lnTo>
                    <a:pt x="286" y="992"/>
                  </a:lnTo>
                  <a:lnTo>
                    <a:pt x="282" y="993"/>
                  </a:lnTo>
                  <a:lnTo>
                    <a:pt x="281" y="996"/>
                  </a:lnTo>
                  <a:lnTo>
                    <a:pt x="278" y="997"/>
                  </a:lnTo>
                  <a:lnTo>
                    <a:pt x="270" y="998"/>
                  </a:lnTo>
                  <a:lnTo>
                    <a:pt x="267" y="996"/>
                  </a:lnTo>
                  <a:lnTo>
                    <a:pt x="262" y="995"/>
                  </a:lnTo>
                  <a:lnTo>
                    <a:pt x="273" y="1000"/>
                  </a:lnTo>
                  <a:lnTo>
                    <a:pt x="275" y="1001"/>
                  </a:lnTo>
                  <a:lnTo>
                    <a:pt x="276" y="1004"/>
                  </a:lnTo>
                  <a:lnTo>
                    <a:pt x="279" y="1007"/>
                  </a:lnTo>
                  <a:lnTo>
                    <a:pt x="272" y="1006"/>
                  </a:lnTo>
                  <a:lnTo>
                    <a:pt x="275" y="1008"/>
                  </a:lnTo>
                  <a:lnTo>
                    <a:pt x="277" y="1011"/>
                  </a:lnTo>
                  <a:lnTo>
                    <a:pt x="280" y="1008"/>
                  </a:lnTo>
                  <a:lnTo>
                    <a:pt x="279" y="1011"/>
                  </a:lnTo>
                  <a:lnTo>
                    <a:pt x="277" y="1013"/>
                  </a:lnTo>
                  <a:lnTo>
                    <a:pt x="281" y="1015"/>
                  </a:lnTo>
                  <a:lnTo>
                    <a:pt x="283" y="1019"/>
                  </a:lnTo>
                  <a:lnTo>
                    <a:pt x="283" y="1021"/>
                  </a:lnTo>
                  <a:lnTo>
                    <a:pt x="281" y="1026"/>
                  </a:lnTo>
                  <a:lnTo>
                    <a:pt x="278" y="1024"/>
                  </a:lnTo>
                  <a:lnTo>
                    <a:pt x="275" y="1021"/>
                  </a:lnTo>
                  <a:lnTo>
                    <a:pt x="273" y="1020"/>
                  </a:lnTo>
                  <a:lnTo>
                    <a:pt x="276" y="1023"/>
                  </a:lnTo>
                  <a:lnTo>
                    <a:pt x="277" y="1026"/>
                  </a:lnTo>
                  <a:lnTo>
                    <a:pt x="280" y="1031"/>
                  </a:lnTo>
                  <a:lnTo>
                    <a:pt x="277" y="1034"/>
                  </a:lnTo>
                  <a:lnTo>
                    <a:pt x="281" y="1037"/>
                  </a:lnTo>
                  <a:lnTo>
                    <a:pt x="278" y="1038"/>
                  </a:lnTo>
                  <a:lnTo>
                    <a:pt x="276" y="1036"/>
                  </a:lnTo>
                  <a:lnTo>
                    <a:pt x="277" y="1040"/>
                  </a:lnTo>
                  <a:lnTo>
                    <a:pt x="281" y="1042"/>
                  </a:lnTo>
                  <a:lnTo>
                    <a:pt x="282" y="1044"/>
                  </a:lnTo>
                  <a:lnTo>
                    <a:pt x="283" y="1048"/>
                  </a:lnTo>
                  <a:lnTo>
                    <a:pt x="279" y="1047"/>
                  </a:lnTo>
                  <a:lnTo>
                    <a:pt x="277" y="1049"/>
                  </a:lnTo>
                  <a:lnTo>
                    <a:pt x="275" y="1046"/>
                  </a:lnTo>
                  <a:lnTo>
                    <a:pt x="270" y="1040"/>
                  </a:lnTo>
                  <a:lnTo>
                    <a:pt x="269" y="1043"/>
                  </a:lnTo>
                  <a:lnTo>
                    <a:pt x="274" y="1046"/>
                  </a:lnTo>
                  <a:lnTo>
                    <a:pt x="274" y="1049"/>
                  </a:lnTo>
                  <a:lnTo>
                    <a:pt x="271" y="1049"/>
                  </a:lnTo>
                  <a:lnTo>
                    <a:pt x="269" y="1048"/>
                  </a:lnTo>
                  <a:lnTo>
                    <a:pt x="280" y="1061"/>
                  </a:lnTo>
                  <a:lnTo>
                    <a:pt x="272" y="1055"/>
                  </a:lnTo>
                  <a:lnTo>
                    <a:pt x="266" y="1050"/>
                  </a:lnTo>
                  <a:lnTo>
                    <a:pt x="267" y="1053"/>
                  </a:lnTo>
                  <a:lnTo>
                    <a:pt x="272" y="1056"/>
                  </a:lnTo>
                  <a:lnTo>
                    <a:pt x="274" y="1058"/>
                  </a:lnTo>
                  <a:lnTo>
                    <a:pt x="277" y="1061"/>
                  </a:lnTo>
                  <a:lnTo>
                    <a:pt x="279" y="1063"/>
                  </a:lnTo>
                  <a:lnTo>
                    <a:pt x="282" y="1068"/>
                  </a:lnTo>
                  <a:lnTo>
                    <a:pt x="278" y="1068"/>
                  </a:lnTo>
                  <a:lnTo>
                    <a:pt x="275" y="1066"/>
                  </a:lnTo>
                  <a:lnTo>
                    <a:pt x="278" y="1070"/>
                  </a:lnTo>
                  <a:lnTo>
                    <a:pt x="278" y="1072"/>
                  </a:lnTo>
                  <a:lnTo>
                    <a:pt x="277" y="1075"/>
                  </a:lnTo>
                  <a:lnTo>
                    <a:pt x="275" y="1074"/>
                  </a:lnTo>
                  <a:lnTo>
                    <a:pt x="274" y="1077"/>
                  </a:lnTo>
                  <a:lnTo>
                    <a:pt x="273" y="1080"/>
                  </a:lnTo>
                  <a:lnTo>
                    <a:pt x="277" y="1079"/>
                  </a:lnTo>
                  <a:lnTo>
                    <a:pt x="281" y="1084"/>
                  </a:lnTo>
                  <a:lnTo>
                    <a:pt x="283" y="1088"/>
                  </a:lnTo>
                  <a:lnTo>
                    <a:pt x="282" y="1093"/>
                  </a:lnTo>
                  <a:lnTo>
                    <a:pt x="281" y="1097"/>
                  </a:lnTo>
                  <a:lnTo>
                    <a:pt x="278" y="1097"/>
                  </a:lnTo>
                  <a:lnTo>
                    <a:pt x="276" y="1100"/>
                  </a:lnTo>
                  <a:lnTo>
                    <a:pt x="277" y="1102"/>
                  </a:lnTo>
                  <a:lnTo>
                    <a:pt x="274" y="1106"/>
                  </a:lnTo>
                  <a:lnTo>
                    <a:pt x="275" y="1110"/>
                  </a:lnTo>
                  <a:lnTo>
                    <a:pt x="274" y="1114"/>
                  </a:lnTo>
                  <a:lnTo>
                    <a:pt x="275" y="1119"/>
                  </a:lnTo>
                  <a:lnTo>
                    <a:pt x="278" y="1122"/>
                  </a:lnTo>
                  <a:lnTo>
                    <a:pt x="280" y="1124"/>
                  </a:lnTo>
                  <a:lnTo>
                    <a:pt x="281" y="1127"/>
                  </a:lnTo>
                  <a:lnTo>
                    <a:pt x="277" y="1129"/>
                  </a:lnTo>
                  <a:lnTo>
                    <a:pt x="275" y="1128"/>
                  </a:lnTo>
                  <a:lnTo>
                    <a:pt x="274" y="1132"/>
                  </a:lnTo>
                  <a:lnTo>
                    <a:pt x="275" y="1135"/>
                  </a:lnTo>
                  <a:lnTo>
                    <a:pt x="276" y="1138"/>
                  </a:lnTo>
                  <a:lnTo>
                    <a:pt x="275" y="1142"/>
                  </a:lnTo>
                  <a:lnTo>
                    <a:pt x="276" y="1145"/>
                  </a:lnTo>
                  <a:lnTo>
                    <a:pt x="275" y="1151"/>
                  </a:lnTo>
                  <a:lnTo>
                    <a:pt x="277" y="1152"/>
                  </a:lnTo>
                  <a:lnTo>
                    <a:pt x="273" y="1155"/>
                  </a:lnTo>
                  <a:lnTo>
                    <a:pt x="274" y="1158"/>
                  </a:lnTo>
                  <a:lnTo>
                    <a:pt x="274" y="1161"/>
                  </a:lnTo>
                  <a:lnTo>
                    <a:pt x="274" y="1165"/>
                  </a:lnTo>
                  <a:lnTo>
                    <a:pt x="272" y="1166"/>
                  </a:lnTo>
                  <a:lnTo>
                    <a:pt x="268" y="1168"/>
                  </a:lnTo>
                  <a:lnTo>
                    <a:pt x="267" y="1170"/>
                  </a:lnTo>
                  <a:lnTo>
                    <a:pt x="267" y="1174"/>
                  </a:lnTo>
                  <a:lnTo>
                    <a:pt x="267" y="1177"/>
                  </a:lnTo>
                  <a:lnTo>
                    <a:pt x="265" y="1180"/>
                  </a:lnTo>
                  <a:lnTo>
                    <a:pt x="263" y="1185"/>
                  </a:lnTo>
                  <a:lnTo>
                    <a:pt x="262" y="1189"/>
                  </a:lnTo>
                  <a:lnTo>
                    <a:pt x="260" y="1204"/>
                  </a:lnTo>
                  <a:lnTo>
                    <a:pt x="259" y="1207"/>
                  </a:lnTo>
                  <a:lnTo>
                    <a:pt x="256" y="1211"/>
                  </a:lnTo>
                  <a:lnTo>
                    <a:pt x="253" y="1219"/>
                  </a:lnTo>
                  <a:lnTo>
                    <a:pt x="249" y="1219"/>
                  </a:lnTo>
                  <a:lnTo>
                    <a:pt x="250" y="1216"/>
                  </a:lnTo>
                  <a:lnTo>
                    <a:pt x="247" y="1214"/>
                  </a:lnTo>
                  <a:lnTo>
                    <a:pt x="244" y="1213"/>
                  </a:lnTo>
                  <a:lnTo>
                    <a:pt x="242" y="1212"/>
                  </a:lnTo>
                  <a:lnTo>
                    <a:pt x="237" y="1215"/>
                  </a:lnTo>
                  <a:lnTo>
                    <a:pt x="237" y="1212"/>
                  </a:lnTo>
                  <a:lnTo>
                    <a:pt x="234" y="1212"/>
                  </a:lnTo>
                  <a:lnTo>
                    <a:pt x="230" y="1215"/>
                  </a:lnTo>
                  <a:lnTo>
                    <a:pt x="228" y="1214"/>
                  </a:lnTo>
                  <a:lnTo>
                    <a:pt x="226" y="1216"/>
                  </a:lnTo>
                  <a:lnTo>
                    <a:pt x="224" y="1218"/>
                  </a:lnTo>
                  <a:lnTo>
                    <a:pt x="222" y="1213"/>
                  </a:lnTo>
                  <a:lnTo>
                    <a:pt x="219" y="1216"/>
                  </a:lnTo>
                  <a:lnTo>
                    <a:pt x="215" y="1215"/>
                  </a:lnTo>
                  <a:lnTo>
                    <a:pt x="212" y="1216"/>
                  </a:lnTo>
                  <a:lnTo>
                    <a:pt x="209" y="1215"/>
                  </a:lnTo>
                  <a:lnTo>
                    <a:pt x="209" y="1217"/>
                  </a:lnTo>
                  <a:lnTo>
                    <a:pt x="206" y="1216"/>
                  </a:lnTo>
                  <a:lnTo>
                    <a:pt x="203" y="1217"/>
                  </a:lnTo>
                  <a:lnTo>
                    <a:pt x="200" y="1217"/>
                  </a:lnTo>
                  <a:lnTo>
                    <a:pt x="198" y="1219"/>
                  </a:lnTo>
                  <a:lnTo>
                    <a:pt x="195" y="1217"/>
                  </a:lnTo>
                  <a:lnTo>
                    <a:pt x="193" y="1217"/>
                  </a:lnTo>
                  <a:lnTo>
                    <a:pt x="191" y="1222"/>
                  </a:lnTo>
                  <a:lnTo>
                    <a:pt x="193" y="1225"/>
                  </a:lnTo>
                  <a:lnTo>
                    <a:pt x="195" y="1228"/>
                  </a:lnTo>
                  <a:lnTo>
                    <a:pt x="194" y="1231"/>
                  </a:lnTo>
                  <a:lnTo>
                    <a:pt x="192" y="1231"/>
                  </a:lnTo>
                  <a:lnTo>
                    <a:pt x="188" y="1233"/>
                  </a:lnTo>
                  <a:lnTo>
                    <a:pt x="187" y="1229"/>
                  </a:lnTo>
                  <a:lnTo>
                    <a:pt x="183" y="1229"/>
                  </a:lnTo>
                  <a:lnTo>
                    <a:pt x="181" y="1230"/>
                  </a:lnTo>
                  <a:lnTo>
                    <a:pt x="179" y="1234"/>
                  </a:lnTo>
                  <a:lnTo>
                    <a:pt x="178" y="1237"/>
                  </a:lnTo>
                  <a:lnTo>
                    <a:pt x="174" y="1243"/>
                  </a:lnTo>
                  <a:lnTo>
                    <a:pt x="171" y="1245"/>
                  </a:lnTo>
                  <a:lnTo>
                    <a:pt x="169" y="1248"/>
                  </a:lnTo>
                  <a:lnTo>
                    <a:pt x="168" y="1252"/>
                  </a:lnTo>
                  <a:lnTo>
                    <a:pt x="168" y="1255"/>
                  </a:lnTo>
                  <a:lnTo>
                    <a:pt x="168" y="1259"/>
                  </a:lnTo>
                  <a:lnTo>
                    <a:pt x="169" y="1262"/>
                  </a:lnTo>
                  <a:lnTo>
                    <a:pt x="172" y="1264"/>
                  </a:lnTo>
                  <a:lnTo>
                    <a:pt x="173" y="1267"/>
                  </a:lnTo>
                  <a:lnTo>
                    <a:pt x="174" y="1270"/>
                  </a:lnTo>
                  <a:lnTo>
                    <a:pt x="177" y="1275"/>
                  </a:lnTo>
                  <a:lnTo>
                    <a:pt x="178" y="1278"/>
                  </a:lnTo>
                  <a:lnTo>
                    <a:pt x="175" y="1283"/>
                  </a:lnTo>
                  <a:lnTo>
                    <a:pt x="171" y="1289"/>
                  </a:lnTo>
                  <a:lnTo>
                    <a:pt x="169" y="1291"/>
                  </a:lnTo>
                  <a:lnTo>
                    <a:pt x="164" y="1292"/>
                  </a:lnTo>
                  <a:lnTo>
                    <a:pt x="160" y="1291"/>
                  </a:lnTo>
                  <a:lnTo>
                    <a:pt x="156" y="1289"/>
                  </a:lnTo>
                  <a:lnTo>
                    <a:pt x="153" y="1288"/>
                  </a:lnTo>
                  <a:lnTo>
                    <a:pt x="147" y="1289"/>
                  </a:lnTo>
                  <a:lnTo>
                    <a:pt x="140" y="1290"/>
                  </a:lnTo>
                  <a:lnTo>
                    <a:pt x="134" y="1293"/>
                  </a:lnTo>
                  <a:lnTo>
                    <a:pt x="128" y="1297"/>
                  </a:lnTo>
                  <a:lnTo>
                    <a:pt x="123" y="1298"/>
                  </a:lnTo>
                  <a:lnTo>
                    <a:pt x="112" y="1295"/>
                  </a:lnTo>
                  <a:lnTo>
                    <a:pt x="110" y="1295"/>
                  </a:lnTo>
                  <a:lnTo>
                    <a:pt x="105" y="1293"/>
                  </a:lnTo>
                  <a:lnTo>
                    <a:pt x="103" y="1295"/>
                  </a:lnTo>
                  <a:lnTo>
                    <a:pt x="100" y="1294"/>
                  </a:lnTo>
                  <a:lnTo>
                    <a:pt x="99" y="1291"/>
                  </a:lnTo>
                  <a:lnTo>
                    <a:pt x="101" y="1292"/>
                  </a:lnTo>
                  <a:lnTo>
                    <a:pt x="104" y="1291"/>
                  </a:lnTo>
                  <a:lnTo>
                    <a:pt x="104" y="1289"/>
                  </a:lnTo>
                  <a:lnTo>
                    <a:pt x="102" y="1283"/>
                  </a:lnTo>
                  <a:lnTo>
                    <a:pt x="102" y="1277"/>
                  </a:lnTo>
                  <a:lnTo>
                    <a:pt x="107" y="1273"/>
                  </a:lnTo>
                  <a:lnTo>
                    <a:pt x="108" y="1269"/>
                  </a:lnTo>
                  <a:lnTo>
                    <a:pt x="108" y="1266"/>
                  </a:lnTo>
                  <a:lnTo>
                    <a:pt x="106" y="1263"/>
                  </a:lnTo>
                  <a:lnTo>
                    <a:pt x="101" y="1261"/>
                  </a:lnTo>
                  <a:lnTo>
                    <a:pt x="101" y="1258"/>
                  </a:lnTo>
                  <a:lnTo>
                    <a:pt x="101" y="1254"/>
                  </a:lnTo>
                  <a:lnTo>
                    <a:pt x="97" y="1251"/>
                  </a:lnTo>
                  <a:lnTo>
                    <a:pt x="94" y="1248"/>
                  </a:lnTo>
                  <a:lnTo>
                    <a:pt x="94" y="1245"/>
                  </a:lnTo>
                  <a:lnTo>
                    <a:pt x="91" y="1242"/>
                  </a:lnTo>
                  <a:lnTo>
                    <a:pt x="90" y="1239"/>
                  </a:lnTo>
                  <a:lnTo>
                    <a:pt x="88" y="1237"/>
                  </a:lnTo>
                  <a:lnTo>
                    <a:pt x="87" y="1234"/>
                  </a:lnTo>
                  <a:lnTo>
                    <a:pt x="82" y="1227"/>
                  </a:lnTo>
                  <a:lnTo>
                    <a:pt x="80" y="1222"/>
                  </a:lnTo>
                  <a:lnTo>
                    <a:pt x="79" y="1219"/>
                  </a:lnTo>
                  <a:lnTo>
                    <a:pt x="77" y="1215"/>
                  </a:lnTo>
                  <a:lnTo>
                    <a:pt x="74" y="1211"/>
                  </a:lnTo>
                  <a:lnTo>
                    <a:pt x="84" y="1214"/>
                  </a:lnTo>
                  <a:lnTo>
                    <a:pt x="86" y="1217"/>
                  </a:lnTo>
                  <a:lnTo>
                    <a:pt x="91" y="1217"/>
                  </a:lnTo>
                  <a:lnTo>
                    <a:pt x="94" y="1213"/>
                  </a:lnTo>
                  <a:lnTo>
                    <a:pt x="91" y="1211"/>
                  </a:lnTo>
                  <a:lnTo>
                    <a:pt x="88" y="1205"/>
                  </a:lnTo>
                  <a:lnTo>
                    <a:pt x="83" y="1202"/>
                  </a:lnTo>
                  <a:lnTo>
                    <a:pt x="84" y="1196"/>
                  </a:lnTo>
                  <a:lnTo>
                    <a:pt x="86" y="1195"/>
                  </a:lnTo>
                  <a:lnTo>
                    <a:pt x="94" y="1197"/>
                  </a:lnTo>
                  <a:lnTo>
                    <a:pt x="96" y="1196"/>
                  </a:lnTo>
                  <a:lnTo>
                    <a:pt x="98" y="1193"/>
                  </a:lnTo>
                  <a:lnTo>
                    <a:pt x="99" y="1189"/>
                  </a:lnTo>
                  <a:lnTo>
                    <a:pt x="97" y="1183"/>
                  </a:lnTo>
                  <a:lnTo>
                    <a:pt x="96" y="1179"/>
                  </a:lnTo>
                  <a:lnTo>
                    <a:pt x="92" y="1177"/>
                  </a:lnTo>
                  <a:lnTo>
                    <a:pt x="89" y="1179"/>
                  </a:lnTo>
                  <a:lnTo>
                    <a:pt x="87" y="1178"/>
                  </a:lnTo>
                  <a:lnTo>
                    <a:pt x="84" y="1175"/>
                  </a:lnTo>
                  <a:lnTo>
                    <a:pt x="83" y="1172"/>
                  </a:lnTo>
                  <a:lnTo>
                    <a:pt x="80" y="1169"/>
                  </a:lnTo>
                  <a:lnTo>
                    <a:pt x="79" y="1166"/>
                  </a:lnTo>
                  <a:lnTo>
                    <a:pt x="79" y="1162"/>
                  </a:lnTo>
                  <a:lnTo>
                    <a:pt x="76" y="1159"/>
                  </a:lnTo>
                  <a:lnTo>
                    <a:pt x="73" y="1156"/>
                  </a:lnTo>
                  <a:lnTo>
                    <a:pt x="71" y="1155"/>
                  </a:lnTo>
                  <a:lnTo>
                    <a:pt x="68" y="1154"/>
                  </a:lnTo>
                  <a:lnTo>
                    <a:pt x="66" y="1151"/>
                  </a:lnTo>
                  <a:lnTo>
                    <a:pt x="66" y="1148"/>
                  </a:lnTo>
                  <a:lnTo>
                    <a:pt x="66" y="1145"/>
                  </a:lnTo>
                  <a:lnTo>
                    <a:pt x="64" y="1143"/>
                  </a:lnTo>
                  <a:lnTo>
                    <a:pt x="61" y="1140"/>
                  </a:lnTo>
                  <a:lnTo>
                    <a:pt x="59" y="1137"/>
                  </a:lnTo>
                  <a:lnTo>
                    <a:pt x="60" y="1135"/>
                  </a:lnTo>
                  <a:lnTo>
                    <a:pt x="58" y="1131"/>
                  </a:lnTo>
                  <a:lnTo>
                    <a:pt x="58" y="1129"/>
                  </a:lnTo>
                  <a:lnTo>
                    <a:pt x="58" y="1126"/>
                  </a:lnTo>
                  <a:lnTo>
                    <a:pt x="55" y="1126"/>
                  </a:lnTo>
                  <a:lnTo>
                    <a:pt x="53" y="1123"/>
                  </a:lnTo>
                  <a:lnTo>
                    <a:pt x="55" y="1120"/>
                  </a:lnTo>
                  <a:lnTo>
                    <a:pt x="55" y="1117"/>
                  </a:lnTo>
                  <a:lnTo>
                    <a:pt x="53" y="1115"/>
                  </a:lnTo>
                  <a:lnTo>
                    <a:pt x="52" y="1111"/>
                  </a:lnTo>
                  <a:lnTo>
                    <a:pt x="52" y="1108"/>
                  </a:lnTo>
                  <a:lnTo>
                    <a:pt x="50" y="1104"/>
                  </a:lnTo>
                  <a:lnTo>
                    <a:pt x="47" y="1112"/>
                  </a:lnTo>
                  <a:lnTo>
                    <a:pt x="43" y="1110"/>
                  </a:lnTo>
                  <a:lnTo>
                    <a:pt x="43" y="1106"/>
                  </a:lnTo>
                  <a:lnTo>
                    <a:pt x="43" y="1103"/>
                  </a:lnTo>
                  <a:lnTo>
                    <a:pt x="45" y="1101"/>
                  </a:lnTo>
                  <a:lnTo>
                    <a:pt x="43" y="1098"/>
                  </a:lnTo>
                  <a:lnTo>
                    <a:pt x="43" y="1090"/>
                  </a:lnTo>
                  <a:lnTo>
                    <a:pt x="42" y="1088"/>
                  </a:lnTo>
                  <a:lnTo>
                    <a:pt x="39" y="1085"/>
                  </a:lnTo>
                  <a:lnTo>
                    <a:pt x="39" y="1083"/>
                  </a:lnTo>
                  <a:lnTo>
                    <a:pt x="42" y="1082"/>
                  </a:lnTo>
                  <a:lnTo>
                    <a:pt x="39" y="1082"/>
                  </a:lnTo>
                  <a:lnTo>
                    <a:pt x="35" y="1080"/>
                  </a:lnTo>
                  <a:lnTo>
                    <a:pt x="33" y="1082"/>
                  </a:lnTo>
                  <a:lnTo>
                    <a:pt x="32" y="1079"/>
                  </a:lnTo>
                  <a:lnTo>
                    <a:pt x="37" y="1074"/>
                  </a:lnTo>
                  <a:lnTo>
                    <a:pt x="34" y="1073"/>
                  </a:lnTo>
                  <a:lnTo>
                    <a:pt x="32" y="1070"/>
                  </a:lnTo>
                  <a:lnTo>
                    <a:pt x="29" y="1068"/>
                  </a:lnTo>
                  <a:lnTo>
                    <a:pt x="32" y="1066"/>
                  </a:lnTo>
                  <a:lnTo>
                    <a:pt x="32" y="1064"/>
                  </a:lnTo>
                  <a:lnTo>
                    <a:pt x="34" y="1062"/>
                  </a:lnTo>
                  <a:lnTo>
                    <a:pt x="33" y="1059"/>
                  </a:lnTo>
                  <a:lnTo>
                    <a:pt x="35" y="1054"/>
                  </a:lnTo>
                  <a:lnTo>
                    <a:pt x="36" y="1050"/>
                  </a:lnTo>
                  <a:lnTo>
                    <a:pt x="35" y="1047"/>
                  </a:lnTo>
                  <a:lnTo>
                    <a:pt x="36" y="1044"/>
                  </a:lnTo>
                  <a:lnTo>
                    <a:pt x="37" y="1036"/>
                  </a:lnTo>
                  <a:lnTo>
                    <a:pt x="38" y="1030"/>
                  </a:lnTo>
                  <a:lnTo>
                    <a:pt x="36" y="1025"/>
                  </a:lnTo>
                  <a:lnTo>
                    <a:pt x="39" y="1022"/>
                  </a:lnTo>
                  <a:lnTo>
                    <a:pt x="36" y="1022"/>
                  </a:lnTo>
                  <a:lnTo>
                    <a:pt x="33" y="1022"/>
                  </a:lnTo>
                  <a:lnTo>
                    <a:pt x="27" y="1028"/>
                  </a:lnTo>
                  <a:lnTo>
                    <a:pt x="25" y="1030"/>
                  </a:lnTo>
                  <a:lnTo>
                    <a:pt x="20" y="1031"/>
                  </a:lnTo>
                  <a:lnTo>
                    <a:pt x="20" y="1028"/>
                  </a:lnTo>
                  <a:lnTo>
                    <a:pt x="23" y="1022"/>
                  </a:lnTo>
                  <a:lnTo>
                    <a:pt x="27" y="1017"/>
                  </a:lnTo>
                  <a:lnTo>
                    <a:pt x="29" y="1014"/>
                  </a:lnTo>
                  <a:lnTo>
                    <a:pt x="25" y="1016"/>
                  </a:lnTo>
                  <a:lnTo>
                    <a:pt x="23" y="1011"/>
                  </a:lnTo>
                  <a:lnTo>
                    <a:pt x="23" y="1016"/>
                  </a:lnTo>
                  <a:lnTo>
                    <a:pt x="23" y="1019"/>
                  </a:lnTo>
                  <a:lnTo>
                    <a:pt x="22" y="1022"/>
                  </a:lnTo>
                  <a:lnTo>
                    <a:pt x="18" y="1026"/>
                  </a:lnTo>
                  <a:lnTo>
                    <a:pt x="15" y="1030"/>
                  </a:lnTo>
                  <a:lnTo>
                    <a:pt x="16" y="1025"/>
                  </a:lnTo>
                  <a:lnTo>
                    <a:pt x="15" y="1022"/>
                  </a:lnTo>
                  <a:lnTo>
                    <a:pt x="17" y="1021"/>
                  </a:lnTo>
                  <a:lnTo>
                    <a:pt x="16" y="1017"/>
                  </a:lnTo>
                  <a:lnTo>
                    <a:pt x="14" y="1020"/>
                  </a:lnTo>
                  <a:lnTo>
                    <a:pt x="14" y="1016"/>
                  </a:lnTo>
                  <a:lnTo>
                    <a:pt x="15" y="1013"/>
                  </a:lnTo>
                  <a:lnTo>
                    <a:pt x="13" y="1016"/>
                  </a:lnTo>
                  <a:lnTo>
                    <a:pt x="12" y="1019"/>
                  </a:lnTo>
                  <a:lnTo>
                    <a:pt x="9" y="1019"/>
                  </a:lnTo>
                  <a:lnTo>
                    <a:pt x="7" y="1022"/>
                  </a:lnTo>
                  <a:lnTo>
                    <a:pt x="6" y="1019"/>
                  </a:lnTo>
                  <a:lnTo>
                    <a:pt x="5" y="1016"/>
                  </a:lnTo>
                  <a:lnTo>
                    <a:pt x="8" y="1014"/>
                  </a:lnTo>
                  <a:lnTo>
                    <a:pt x="8" y="1011"/>
                  </a:lnTo>
                  <a:lnTo>
                    <a:pt x="8" y="1009"/>
                  </a:lnTo>
                  <a:lnTo>
                    <a:pt x="7" y="1006"/>
                  </a:lnTo>
                  <a:lnTo>
                    <a:pt x="7" y="1003"/>
                  </a:lnTo>
                  <a:lnTo>
                    <a:pt x="9" y="1000"/>
                  </a:lnTo>
                  <a:lnTo>
                    <a:pt x="7" y="996"/>
                  </a:lnTo>
                  <a:lnTo>
                    <a:pt x="7" y="993"/>
                  </a:lnTo>
                  <a:lnTo>
                    <a:pt x="5" y="991"/>
                  </a:lnTo>
                  <a:lnTo>
                    <a:pt x="5" y="988"/>
                  </a:lnTo>
                  <a:lnTo>
                    <a:pt x="4" y="984"/>
                  </a:lnTo>
                  <a:lnTo>
                    <a:pt x="5" y="981"/>
                  </a:lnTo>
                  <a:lnTo>
                    <a:pt x="6" y="975"/>
                  </a:lnTo>
                  <a:lnTo>
                    <a:pt x="4" y="971"/>
                  </a:lnTo>
                  <a:lnTo>
                    <a:pt x="4" y="968"/>
                  </a:lnTo>
                  <a:lnTo>
                    <a:pt x="2" y="967"/>
                  </a:lnTo>
                  <a:lnTo>
                    <a:pt x="3" y="962"/>
                  </a:lnTo>
                  <a:lnTo>
                    <a:pt x="0" y="958"/>
                  </a:lnTo>
                  <a:lnTo>
                    <a:pt x="4" y="953"/>
                  </a:lnTo>
                  <a:lnTo>
                    <a:pt x="10" y="951"/>
                  </a:lnTo>
                  <a:lnTo>
                    <a:pt x="12" y="954"/>
                  </a:lnTo>
                  <a:lnTo>
                    <a:pt x="13" y="958"/>
                  </a:lnTo>
                  <a:lnTo>
                    <a:pt x="15" y="962"/>
                  </a:lnTo>
                  <a:lnTo>
                    <a:pt x="16" y="964"/>
                  </a:lnTo>
                  <a:lnTo>
                    <a:pt x="16" y="970"/>
                  </a:lnTo>
                  <a:lnTo>
                    <a:pt x="22" y="971"/>
                  </a:lnTo>
                  <a:lnTo>
                    <a:pt x="25" y="970"/>
                  </a:lnTo>
                  <a:lnTo>
                    <a:pt x="27" y="968"/>
                  </a:lnTo>
                  <a:lnTo>
                    <a:pt x="29" y="963"/>
                  </a:lnTo>
                  <a:lnTo>
                    <a:pt x="29" y="958"/>
                  </a:lnTo>
                  <a:lnTo>
                    <a:pt x="30" y="954"/>
                  </a:lnTo>
                  <a:lnTo>
                    <a:pt x="31" y="947"/>
                  </a:lnTo>
                  <a:lnTo>
                    <a:pt x="32" y="941"/>
                  </a:lnTo>
                  <a:lnTo>
                    <a:pt x="33" y="938"/>
                  </a:lnTo>
                  <a:lnTo>
                    <a:pt x="34" y="935"/>
                  </a:lnTo>
                  <a:lnTo>
                    <a:pt x="32" y="926"/>
                  </a:lnTo>
                  <a:lnTo>
                    <a:pt x="27" y="908"/>
                  </a:lnTo>
                  <a:lnTo>
                    <a:pt x="26" y="904"/>
                  </a:lnTo>
                  <a:lnTo>
                    <a:pt x="33" y="899"/>
                  </a:lnTo>
                  <a:lnTo>
                    <a:pt x="36" y="894"/>
                  </a:lnTo>
                  <a:lnTo>
                    <a:pt x="37" y="888"/>
                  </a:lnTo>
                  <a:lnTo>
                    <a:pt x="36" y="885"/>
                  </a:lnTo>
                  <a:lnTo>
                    <a:pt x="34" y="881"/>
                  </a:lnTo>
                  <a:lnTo>
                    <a:pt x="34" y="878"/>
                  </a:lnTo>
                  <a:lnTo>
                    <a:pt x="38" y="875"/>
                  </a:lnTo>
                  <a:lnTo>
                    <a:pt x="45" y="876"/>
                  </a:lnTo>
                  <a:lnTo>
                    <a:pt x="54" y="870"/>
                  </a:lnTo>
                  <a:lnTo>
                    <a:pt x="61" y="861"/>
                  </a:lnTo>
                  <a:lnTo>
                    <a:pt x="63" y="858"/>
                  </a:lnTo>
                  <a:lnTo>
                    <a:pt x="64" y="855"/>
                  </a:lnTo>
                  <a:lnTo>
                    <a:pt x="64" y="851"/>
                  </a:lnTo>
                  <a:lnTo>
                    <a:pt x="64" y="847"/>
                  </a:lnTo>
                  <a:lnTo>
                    <a:pt x="62" y="842"/>
                  </a:lnTo>
                  <a:lnTo>
                    <a:pt x="62" y="838"/>
                  </a:lnTo>
                  <a:lnTo>
                    <a:pt x="63" y="836"/>
                  </a:lnTo>
                  <a:lnTo>
                    <a:pt x="65" y="832"/>
                  </a:lnTo>
                  <a:lnTo>
                    <a:pt x="66" y="829"/>
                  </a:lnTo>
                  <a:lnTo>
                    <a:pt x="67" y="824"/>
                  </a:lnTo>
                  <a:lnTo>
                    <a:pt x="67" y="820"/>
                  </a:lnTo>
                  <a:lnTo>
                    <a:pt x="66" y="817"/>
                  </a:lnTo>
                  <a:lnTo>
                    <a:pt x="61" y="804"/>
                  </a:lnTo>
                  <a:lnTo>
                    <a:pt x="55" y="796"/>
                  </a:lnTo>
                  <a:lnTo>
                    <a:pt x="54" y="792"/>
                  </a:lnTo>
                  <a:lnTo>
                    <a:pt x="53" y="789"/>
                  </a:lnTo>
                  <a:lnTo>
                    <a:pt x="52" y="782"/>
                  </a:lnTo>
                  <a:lnTo>
                    <a:pt x="51" y="779"/>
                  </a:lnTo>
                  <a:lnTo>
                    <a:pt x="49" y="775"/>
                  </a:lnTo>
                  <a:lnTo>
                    <a:pt x="50" y="772"/>
                  </a:lnTo>
                  <a:lnTo>
                    <a:pt x="60" y="768"/>
                  </a:lnTo>
                  <a:lnTo>
                    <a:pt x="63" y="768"/>
                  </a:lnTo>
                  <a:lnTo>
                    <a:pt x="68" y="769"/>
                  </a:lnTo>
                  <a:lnTo>
                    <a:pt x="70" y="761"/>
                  </a:lnTo>
                  <a:lnTo>
                    <a:pt x="74" y="752"/>
                  </a:lnTo>
                  <a:lnTo>
                    <a:pt x="75" y="748"/>
                  </a:lnTo>
                  <a:lnTo>
                    <a:pt x="76" y="739"/>
                  </a:lnTo>
                  <a:lnTo>
                    <a:pt x="63" y="721"/>
                  </a:lnTo>
                  <a:lnTo>
                    <a:pt x="60" y="720"/>
                  </a:lnTo>
                  <a:lnTo>
                    <a:pt x="57" y="720"/>
                  </a:lnTo>
                  <a:lnTo>
                    <a:pt x="51" y="714"/>
                  </a:lnTo>
                  <a:lnTo>
                    <a:pt x="43" y="707"/>
                  </a:lnTo>
                  <a:lnTo>
                    <a:pt x="48" y="658"/>
                  </a:lnTo>
                  <a:lnTo>
                    <a:pt x="48" y="653"/>
                  </a:lnTo>
                  <a:lnTo>
                    <a:pt x="46" y="649"/>
                  </a:lnTo>
                  <a:lnTo>
                    <a:pt x="37" y="626"/>
                  </a:lnTo>
                  <a:lnTo>
                    <a:pt x="38" y="621"/>
                  </a:lnTo>
                  <a:lnTo>
                    <a:pt x="39" y="616"/>
                  </a:lnTo>
                  <a:lnTo>
                    <a:pt x="39" y="611"/>
                  </a:lnTo>
                  <a:lnTo>
                    <a:pt x="37" y="597"/>
                  </a:lnTo>
                  <a:lnTo>
                    <a:pt x="37" y="594"/>
                  </a:lnTo>
                  <a:lnTo>
                    <a:pt x="41" y="587"/>
                  </a:lnTo>
                  <a:lnTo>
                    <a:pt x="31" y="560"/>
                  </a:lnTo>
                  <a:lnTo>
                    <a:pt x="39" y="544"/>
                  </a:lnTo>
                  <a:lnTo>
                    <a:pt x="40" y="540"/>
                  </a:lnTo>
                  <a:lnTo>
                    <a:pt x="37" y="531"/>
                  </a:lnTo>
                  <a:lnTo>
                    <a:pt x="42" y="525"/>
                  </a:lnTo>
                  <a:lnTo>
                    <a:pt x="50" y="511"/>
                  </a:lnTo>
                  <a:lnTo>
                    <a:pt x="57" y="497"/>
                  </a:lnTo>
                  <a:lnTo>
                    <a:pt x="60" y="494"/>
                  </a:lnTo>
                  <a:lnTo>
                    <a:pt x="69" y="488"/>
                  </a:lnTo>
                  <a:lnTo>
                    <a:pt x="79" y="484"/>
                  </a:lnTo>
                  <a:lnTo>
                    <a:pt x="109" y="490"/>
                  </a:lnTo>
                  <a:lnTo>
                    <a:pt x="117" y="474"/>
                  </a:lnTo>
                  <a:lnTo>
                    <a:pt x="117" y="471"/>
                  </a:lnTo>
                  <a:lnTo>
                    <a:pt x="114" y="449"/>
                  </a:lnTo>
                  <a:lnTo>
                    <a:pt x="111" y="446"/>
                  </a:lnTo>
                  <a:lnTo>
                    <a:pt x="108" y="446"/>
                  </a:lnTo>
                  <a:lnTo>
                    <a:pt x="94" y="437"/>
                  </a:lnTo>
                  <a:lnTo>
                    <a:pt x="113" y="398"/>
                  </a:lnTo>
                  <a:lnTo>
                    <a:pt x="118" y="389"/>
                  </a:lnTo>
                  <a:lnTo>
                    <a:pt x="118" y="385"/>
                  </a:lnTo>
                  <a:lnTo>
                    <a:pt x="119" y="377"/>
                  </a:lnTo>
                  <a:lnTo>
                    <a:pt x="120" y="373"/>
                  </a:lnTo>
                  <a:lnTo>
                    <a:pt x="123" y="370"/>
                  </a:lnTo>
                  <a:lnTo>
                    <a:pt x="124" y="367"/>
                  </a:lnTo>
                  <a:lnTo>
                    <a:pt x="124" y="363"/>
                  </a:lnTo>
                  <a:lnTo>
                    <a:pt x="123" y="358"/>
                  </a:lnTo>
                  <a:lnTo>
                    <a:pt x="123" y="354"/>
                  </a:lnTo>
                  <a:lnTo>
                    <a:pt x="123" y="331"/>
                  </a:lnTo>
                  <a:lnTo>
                    <a:pt x="126" y="323"/>
                  </a:lnTo>
                  <a:lnTo>
                    <a:pt x="126" y="318"/>
                  </a:lnTo>
                  <a:lnTo>
                    <a:pt x="120" y="292"/>
                  </a:lnTo>
                  <a:lnTo>
                    <a:pt x="139" y="288"/>
                  </a:lnTo>
                  <a:lnTo>
                    <a:pt x="154" y="276"/>
                  </a:lnTo>
                  <a:lnTo>
                    <a:pt x="154" y="272"/>
                  </a:lnTo>
                  <a:lnTo>
                    <a:pt x="153" y="269"/>
                  </a:lnTo>
                  <a:lnTo>
                    <a:pt x="151" y="258"/>
                  </a:lnTo>
                  <a:lnTo>
                    <a:pt x="158" y="245"/>
                  </a:lnTo>
                  <a:lnTo>
                    <a:pt x="170" y="218"/>
                  </a:lnTo>
                  <a:lnTo>
                    <a:pt x="173" y="213"/>
                  </a:lnTo>
                  <a:lnTo>
                    <a:pt x="179" y="205"/>
                  </a:lnTo>
                  <a:lnTo>
                    <a:pt x="183" y="200"/>
                  </a:lnTo>
                  <a:lnTo>
                    <a:pt x="182" y="188"/>
                  </a:lnTo>
                  <a:lnTo>
                    <a:pt x="169" y="168"/>
                  </a:lnTo>
                  <a:lnTo>
                    <a:pt x="170" y="161"/>
                  </a:lnTo>
                  <a:lnTo>
                    <a:pt x="177" y="158"/>
                  </a:lnTo>
                  <a:lnTo>
                    <a:pt x="180" y="154"/>
                  </a:lnTo>
                  <a:lnTo>
                    <a:pt x="183" y="148"/>
                  </a:lnTo>
                  <a:lnTo>
                    <a:pt x="187" y="123"/>
                  </a:lnTo>
                  <a:lnTo>
                    <a:pt x="188" y="120"/>
                  </a:lnTo>
                  <a:lnTo>
                    <a:pt x="201" y="107"/>
                  </a:lnTo>
                  <a:lnTo>
                    <a:pt x="203" y="101"/>
                  </a:lnTo>
                  <a:lnTo>
                    <a:pt x="226" y="110"/>
                  </a:lnTo>
                  <a:lnTo>
                    <a:pt x="227" y="108"/>
                  </a:lnTo>
                  <a:lnTo>
                    <a:pt x="233" y="92"/>
                  </a:lnTo>
                  <a:lnTo>
                    <a:pt x="233" y="89"/>
                  </a:lnTo>
                  <a:lnTo>
                    <a:pt x="229" y="71"/>
                  </a:lnTo>
                  <a:lnTo>
                    <a:pt x="228" y="67"/>
                  </a:lnTo>
                  <a:lnTo>
                    <a:pt x="228" y="59"/>
                  </a:lnTo>
                  <a:lnTo>
                    <a:pt x="237" y="53"/>
                  </a:lnTo>
                  <a:lnTo>
                    <a:pt x="246" y="58"/>
                  </a:lnTo>
                  <a:lnTo>
                    <a:pt x="259" y="56"/>
                  </a:lnTo>
                  <a:lnTo>
                    <a:pt x="275" y="61"/>
                  </a:lnTo>
                  <a:lnTo>
                    <a:pt x="292" y="66"/>
                  </a:lnTo>
                  <a:lnTo>
                    <a:pt x="294" y="64"/>
                  </a:lnTo>
                  <a:lnTo>
                    <a:pt x="300" y="53"/>
                  </a:lnTo>
                  <a:lnTo>
                    <a:pt x="290" y="49"/>
                  </a:lnTo>
                  <a:lnTo>
                    <a:pt x="295" y="42"/>
                  </a:lnTo>
                  <a:lnTo>
                    <a:pt x="297" y="37"/>
                  </a:lnTo>
                  <a:lnTo>
                    <a:pt x="299" y="26"/>
                  </a:lnTo>
                  <a:lnTo>
                    <a:pt x="299" y="23"/>
                  </a:lnTo>
                  <a:lnTo>
                    <a:pt x="298" y="15"/>
                  </a:lnTo>
                  <a:lnTo>
                    <a:pt x="287" y="4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3" name="CH">
              <a:extLst>
                <a:ext uri="{FF2B5EF4-FFF2-40B4-BE49-F238E27FC236}">
                  <a16:creationId xmlns:a16="http://schemas.microsoft.com/office/drawing/2014/main" id="{6818F3FE-734E-8F34-8CCC-12E34323F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8832" y="4887826"/>
              <a:ext cx="556077" cy="326965"/>
            </a:xfrm>
            <a:custGeom>
              <a:avLst/>
              <a:gdLst>
                <a:gd name="T0" fmla="*/ 181 w 292"/>
                <a:gd name="T1" fmla="*/ 5 h 185"/>
                <a:gd name="T2" fmla="*/ 194 w 292"/>
                <a:gd name="T3" fmla="*/ 14 h 185"/>
                <a:gd name="T4" fmla="*/ 214 w 292"/>
                <a:gd name="T5" fmla="*/ 14 h 185"/>
                <a:gd name="T6" fmla="*/ 240 w 292"/>
                <a:gd name="T7" fmla="*/ 37 h 185"/>
                <a:gd name="T8" fmla="*/ 230 w 292"/>
                <a:gd name="T9" fmla="*/ 59 h 185"/>
                <a:gd name="T10" fmla="*/ 237 w 292"/>
                <a:gd name="T11" fmla="*/ 70 h 185"/>
                <a:gd name="T12" fmla="*/ 256 w 292"/>
                <a:gd name="T13" fmla="*/ 83 h 185"/>
                <a:gd name="T14" fmla="*/ 276 w 292"/>
                <a:gd name="T15" fmla="*/ 88 h 185"/>
                <a:gd name="T16" fmla="*/ 289 w 292"/>
                <a:gd name="T17" fmla="*/ 79 h 185"/>
                <a:gd name="T18" fmla="*/ 290 w 292"/>
                <a:gd name="T19" fmla="*/ 96 h 185"/>
                <a:gd name="T20" fmla="*/ 291 w 292"/>
                <a:gd name="T21" fmla="*/ 109 h 185"/>
                <a:gd name="T22" fmla="*/ 278 w 292"/>
                <a:gd name="T23" fmla="*/ 115 h 185"/>
                <a:gd name="T24" fmla="*/ 265 w 292"/>
                <a:gd name="T25" fmla="*/ 119 h 185"/>
                <a:gd name="T26" fmla="*/ 271 w 292"/>
                <a:gd name="T27" fmla="*/ 133 h 185"/>
                <a:gd name="T28" fmla="*/ 268 w 292"/>
                <a:gd name="T29" fmla="*/ 148 h 185"/>
                <a:gd name="T30" fmla="*/ 257 w 292"/>
                <a:gd name="T31" fmla="*/ 134 h 185"/>
                <a:gd name="T32" fmla="*/ 234 w 292"/>
                <a:gd name="T33" fmla="*/ 141 h 185"/>
                <a:gd name="T34" fmla="*/ 224 w 292"/>
                <a:gd name="T35" fmla="*/ 124 h 185"/>
                <a:gd name="T36" fmla="*/ 215 w 292"/>
                <a:gd name="T37" fmla="*/ 132 h 185"/>
                <a:gd name="T38" fmla="*/ 209 w 292"/>
                <a:gd name="T39" fmla="*/ 149 h 185"/>
                <a:gd name="T40" fmla="*/ 199 w 292"/>
                <a:gd name="T41" fmla="*/ 163 h 185"/>
                <a:gd name="T42" fmla="*/ 201 w 292"/>
                <a:gd name="T43" fmla="*/ 179 h 185"/>
                <a:gd name="T44" fmla="*/ 191 w 292"/>
                <a:gd name="T45" fmla="*/ 177 h 185"/>
                <a:gd name="T46" fmla="*/ 184 w 292"/>
                <a:gd name="T47" fmla="*/ 159 h 185"/>
                <a:gd name="T48" fmla="*/ 164 w 292"/>
                <a:gd name="T49" fmla="*/ 147 h 185"/>
                <a:gd name="T50" fmla="*/ 162 w 292"/>
                <a:gd name="T51" fmla="*/ 129 h 185"/>
                <a:gd name="T52" fmla="*/ 149 w 292"/>
                <a:gd name="T53" fmla="*/ 134 h 185"/>
                <a:gd name="T54" fmla="*/ 141 w 292"/>
                <a:gd name="T55" fmla="*/ 149 h 185"/>
                <a:gd name="T56" fmla="*/ 134 w 292"/>
                <a:gd name="T57" fmla="*/ 161 h 185"/>
                <a:gd name="T58" fmla="*/ 120 w 292"/>
                <a:gd name="T59" fmla="*/ 174 h 185"/>
                <a:gd name="T60" fmla="*/ 100 w 292"/>
                <a:gd name="T61" fmla="*/ 169 h 185"/>
                <a:gd name="T62" fmla="*/ 79 w 292"/>
                <a:gd name="T63" fmla="*/ 176 h 185"/>
                <a:gd name="T64" fmla="*/ 62 w 292"/>
                <a:gd name="T65" fmla="*/ 160 h 185"/>
                <a:gd name="T66" fmla="*/ 54 w 292"/>
                <a:gd name="T67" fmla="*/ 147 h 185"/>
                <a:gd name="T68" fmla="*/ 55 w 292"/>
                <a:gd name="T69" fmla="*/ 127 h 185"/>
                <a:gd name="T70" fmla="*/ 29 w 292"/>
                <a:gd name="T71" fmla="*/ 125 h 185"/>
                <a:gd name="T72" fmla="*/ 20 w 292"/>
                <a:gd name="T73" fmla="*/ 138 h 185"/>
                <a:gd name="T74" fmla="*/ 5 w 292"/>
                <a:gd name="T75" fmla="*/ 148 h 185"/>
                <a:gd name="T76" fmla="*/ 9 w 292"/>
                <a:gd name="T77" fmla="*/ 139 h 185"/>
                <a:gd name="T78" fmla="*/ 9 w 292"/>
                <a:gd name="T79" fmla="*/ 120 h 185"/>
                <a:gd name="T80" fmla="*/ 22 w 292"/>
                <a:gd name="T81" fmla="*/ 99 h 185"/>
                <a:gd name="T82" fmla="*/ 34 w 292"/>
                <a:gd name="T83" fmla="*/ 85 h 185"/>
                <a:gd name="T84" fmla="*/ 45 w 292"/>
                <a:gd name="T85" fmla="*/ 72 h 185"/>
                <a:gd name="T86" fmla="*/ 61 w 292"/>
                <a:gd name="T87" fmla="*/ 56 h 185"/>
                <a:gd name="T88" fmla="*/ 75 w 292"/>
                <a:gd name="T89" fmla="*/ 39 h 185"/>
                <a:gd name="T90" fmla="*/ 71 w 292"/>
                <a:gd name="T91" fmla="*/ 30 h 185"/>
                <a:gd name="T92" fmla="*/ 81 w 292"/>
                <a:gd name="T93" fmla="*/ 26 h 185"/>
                <a:gd name="T94" fmla="*/ 96 w 292"/>
                <a:gd name="T95" fmla="*/ 32 h 185"/>
                <a:gd name="T96" fmla="*/ 103 w 292"/>
                <a:gd name="T97" fmla="*/ 22 h 185"/>
                <a:gd name="T98" fmla="*/ 115 w 292"/>
                <a:gd name="T99" fmla="*/ 22 h 185"/>
                <a:gd name="T100" fmla="*/ 142 w 292"/>
                <a:gd name="T101" fmla="*/ 21 h 185"/>
                <a:gd name="T102" fmla="*/ 158 w 292"/>
                <a:gd name="T103" fmla="*/ 20 h 185"/>
                <a:gd name="T104" fmla="*/ 173 w 292"/>
                <a:gd name="T105" fmla="*/ 16 h 185"/>
                <a:gd name="T106" fmla="*/ 164 w 292"/>
                <a:gd name="T107" fmla="*/ 14 h 185"/>
                <a:gd name="T108" fmla="*/ 170 w 292"/>
                <a:gd name="T109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2" h="185">
                  <a:moveTo>
                    <a:pt x="173" y="0"/>
                  </a:moveTo>
                  <a:lnTo>
                    <a:pt x="174" y="2"/>
                  </a:lnTo>
                  <a:lnTo>
                    <a:pt x="177" y="1"/>
                  </a:lnTo>
                  <a:lnTo>
                    <a:pt x="179" y="4"/>
                  </a:lnTo>
                  <a:lnTo>
                    <a:pt x="181" y="5"/>
                  </a:lnTo>
                  <a:lnTo>
                    <a:pt x="180" y="8"/>
                  </a:lnTo>
                  <a:lnTo>
                    <a:pt x="184" y="7"/>
                  </a:lnTo>
                  <a:lnTo>
                    <a:pt x="188" y="9"/>
                  </a:lnTo>
                  <a:lnTo>
                    <a:pt x="189" y="12"/>
                  </a:lnTo>
                  <a:lnTo>
                    <a:pt x="194" y="14"/>
                  </a:lnTo>
                  <a:lnTo>
                    <a:pt x="196" y="14"/>
                  </a:lnTo>
                  <a:lnTo>
                    <a:pt x="199" y="13"/>
                  </a:lnTo>
                  <a:lnTo>
                    <a:pt x="208" y="12"/>
                  </a:lnTo>
                  <a:lnTo>
                    <a:pt x="211" y="12"/>
                  </a:lnTo>
                  <a:lnTo>
                    <a:pt x="214" y="14"/>
                  </a:lnTo>
                  <a:lnTo>
                    <a:pt x="217" y="14"/>
                  </a:lnTo>
                  <a:lnTo>
                    <a:pt x="234" y="25"/>
                  </a:lnTo>
                  <a:lnTo>
                    <a:pt x="236" y="30"/>
                  </a:lnTo>
                  <a:lnTo>
                    <a:pt x="238" y="31"/>
                  </a:lnTo>
                  <a:lnTo>
                    <a:pt x="240" y="37"/>
                  </a:lnTo>
                  <a:lnTo>
                    <a:pt x="237" y="41"/>
                  </a:lnTo>
                  <a:lnTo>
                    <a:pt x="236" y="44"/>
                  </a:lnTo>
                  <a:lnTo>
                    <a:pt x="232" y="51"/>
                  </a:lnTo>
                  <a:lnTo>
                    <a:pt x="230" y="56"/>
                  </a:lnTo>
                  <a:lnTo>
                    <a:pt x="230" y="59"/>
                  </a:lnTo>
                  <a:lnTo>
                    <a:pt x="231" y="62"/>
                  </a:lnTo>
                  <a:lnTo>
                    <a:pt x="231" y="65"/>
                  </a:lnTo>
                  <a:lnTo>
                    <a:pt x="229" y="68"/>
                  </a:lnTo>
                  <a:lnTo>
                    <a:pt x="234" y="70"/>
                  </a:lnTo>
                  <a:lnTo>
                    <a:pt x="237" y="70"/>
                  </a:lnTo>
                  <a:lnTo>
                    <a:pt x="240" y="70"/>
                  </a:lnTo>
                  <a:lnTo>
                    <a:pt x="253" y="74"/>
                  </a:lnTo>
                  <a:lnTo>
                    <a:pt x="253" y="77"/>
                  </a:lnTo>
                  <a:lnTo>
                    <a:pt x="253" y="80"/>
                  </a:lnTo>
                  <a:lnTo>
                    <a:pt x="256" y="83"/>
                  </a:lnTo>
                  <a:lnTo>
                    <a:pt x="262" y="85"/>
                  </a:lnTo>
                  <a:lnTo>
                    <a:pt x="266" y="88"/>
                  </a:lnTo>
                  <a:lnTo>
                    <a:pt x="270" y="89"/>
                  </a:lnTo>
                  <a:lnTo>
                    <a:pt x="273" y="89"/>
                  </a:lnTo>
                  <a:lnTo>
                    <a:pt x="276" y="88"/>
                  </a:lnTo>
                  <a:lnTo>
                    <a:pt x="277" y="84"/>
                  </a:lnTo>
                  <a:lnTo>
                    <a:pt x="280" y="82"/>
                  </a:lnTo>
                  <a:lnTo>
                    <a:pt x="283" y="79"/>
                  </a:lnTo>
                  <a:lnTo>
                    <a:pt x="286" y="76"/>
                  </a:lnTo>
                  <a:lnTo>
                    <a:pt x="289" y="79"/>
                  </a:lnTo>
                  <a:lnTo>
                    <a:pt x="292" y="81"/>
                  </a:lnTo>
                  <a:lnTo>
                    <a:pt x="291" y="86"/>
                  </a:lnTo>
                  <a:lnTo>
                    <a:pt x="291" y="91"/>
                  </a:lnTo>
                  <a:lnTo>
                    <a:pt x="289" y="94"/>
                  </a:lnTo>
                  <a:lnTo>
                    <a:pt x="290" y="96"/>
                  </a:lnTo>
                  <a:lnTo>
                    <a:pt x="288" y="100"/>
                  </a:lnTo>
                  <a:lnTo>
                    <a:pt x="288" y="103"/>
                  </a:lnTo>
                  <a:lnTo>
                    <a:pt x="286" y="105"/>
                  </a:lnTo>
                  <a:lnTo>
                    <a:pt x="288" y="108"/>
                  </a:lnTo>
                  <a:lnTo>
                    <a:pt x="291" y="109"/>
                  </a:lnTo>
                  <a:lnTo>
                    <a:pt x="292" y="112"/>
                  </a:lnTo>
                  <a:lnTo>
                    <a:pt x="292" y="117"/>
                  </a:lnTo>
                  <a:lnTo>
                    <a:pt x="285" y="118"/>
                  </a:lnTo>
                  <a:lnTo>
                    <a:pt x="282" y="118"/>
                  </a:lnTo>
                  <a:lnTo>
                    <a:pt x="278" y="115"/>
                  </a:lnTo>
                  <a:lnTo>
                    <a:pt x="278" y="111"/>
                  </a:lnTo>
                  <a:lnTo>
                    <a:pt x="275" y="110"/>
                  </a:lnTo>
                  <a:lnTo>
                    <a:pt x="269" y="111"/>
                  </a:lnTo>
                  <a:lnTo>
                    <a:pt x="267" y="116"/>
                  </a:lnTo>
                  <a:lnTo>
                    <a:pt x="265" y="119"/>
                  </a:lnTo>
                  <a:lnTo>
                    <a:pt x="265" y="122"/>
                  </a:lnTo>
                  <a:lnTo>
                    <a:pt x="265" y="125"/>
                  </a:lnTo>
                  <a:lnTo>
                    <a:pt x="266" y="128"/>
                  </a:lnTo>
                  <a:lnTo>
                    <a:pt x="270" y="130"/>
                  </a:lnTo>
                  <a:lnTo>
                    <a:pt x="271" y="133"/>
                  </a:lnTo>
                  <a:lnTo>
                    <a:pt x="269" y="136"/>
                  </a:lnTo>
                  <a:lnTo>
                    <a:pt x="269" y="139"/>
                  </a:lnTo>
                  <a:lnTo>
                    <a:pt x="272" y="142"/>
                  </a:lnTo>
                  <a:lnTo>
                    <a:pt x="272" y="146"/>
                  </a:lnTo>
                  <a:lnTo>
                    <a:pt x="268" y="148"/>
                  </a:lnTo>
                  <a:lnTo>
                    <a:pt x="265" y="144"/>
                  </a:lnTo>
                  <a:lnTo>
                    <a:pt x="261" y="142"/>
                  </a:lnTo>
                  <a:lnTo>
                    <a:pt x="260" y="139"/>
                  </a:lnTo>
                  <a:lnTo>
                    <a:pt x="260" y="135"/>
                  </a:lnTo>
                  <a:lnTo>
                    <a:pt x="257" y="134"/>
                  </a:lnTo>
                  <a:lnTo>
                    <a:pt x="253" y="134"/>
                  </a:lnTo>
                  <a:lnTo>
                    <a:pt x="248" y="137"/>
                  </a:lnTo>
                  <a:lnTo>
                    <a:pt x="245" y="136"/>
                  </a:lnTo>
                  <a:lnTo>
                    <a:pt x="243" y="139"/>
                  </a:lnTo>
                  <a:lnTo>
                    <a:pt x="234" y="141"/>
                  </a:lnTo>
                  <a:lnTo>
                    <a:pt x="231" y="140"/>
                  </a:lnTo>
                  <a:lnTo>
                    <a:pt x="229" y="135"/>
                  </a:lnTo>
                  <a:lnTo>
                    <a:pt x="226" y="134"/>
                  </a:lnTo>
                  <a:lnTo>
                    <a:pt x="226" y="123"/>
                  </a:lnTo>
                  <a:lnTo>
                    <a:pt x="224" y="124"/>
                  </a:lnTo>
                  <a:lnTo>
                    <a:pt x="221" y="123"/>
                  </a:lnTo>
                  <a:lnTo>
                    <a:pt x="216" y="122"/>
                  </a:lnTo>
                  <a:lnTo>
                    <a:pt x="214" y="126"/>
                  </a:lnTo>
                  <a:lnTo>
                    <a:pt x="214" y="129"/>
                  </a:lnTo>
                  <a:lnTo>
                    <a:pt x="215" y="132"/>
                  </a:lnTo>
                  <a:lnTo>
                    <a:pt x="216" y="136"/>
                  </a:lnTo>
                  <a:lnTo>
                    <a:pt x="215" y="140"/>
                  </a:lnTo>
                  <a:lnTo>
                    <a:pt x="213" y="143"/>
                  </a:lnTo>
                  <a:lnTo>
                    <a:pt x="212" y="147"/>
                  </a:lnTo>
                  <a:lnTo>
                    <a:pt x="209" y="149"/>
                  </a:lnTo>
                  <a:lnTo>
                    <a:pt x="208" y="152"/>
                  </a:lnTo>
                  <a:lnTo>
                    <a:pt x="204" y="155"/>
                  </a:lnTo>
                  <a:lnTo>
                    <a:pt x="202" y="158"/>
                  </a:lnTo>
                  <a:lnTo>
                    <a:pt x="202" y="161"/>
                  </a:lnTo>
                  <a:lnTo>
                    <a:pt x="199" y="163"/>
                  </a:lnTo>
                  <a:lnTo>
                    <a:pt x="199" y="168"/>
                  </a:lnTo>
                  <a:lnTo>
                    <a:pt x="196" y="171"/>
                  </a:lnTo>
                  <a:lnTo>
                    <a:pt x="198" y="174"/>
                  </a:lnTo>
                  <a:lnTo>
                    <a:pt x="200" y="175"/>
                  </a:lnTo>
                  <a:lnTo>
                    <a:pt x="201" y="179"/>
                  </a:lnTo>
                  <a:lnTo>
                    <a:pt x="200" y="182"/>
                  </a:lnTo>
                  <a:lnTo>
                    <a:pt x="196" y="185"/>
                  </a:lnTo>
                  <a:lnTo>
                    <a:pt x="190" y="185"/>
                  </a:lnTo>
                  <a:lnTo>
                    <a:pt x="191" y="180"/>
                  </a:lnTo>
                  <a:lnTo>
                    <a:pt x="191" y="177"/>
                  </a:lnTo>
                  <a:lnTo>
                    <a:pt x="189" y="174"/>
                  </a:lnTo>
                  <a:lnTo>
                    <a:pt x="184" y="169"/>
                  </a:lnTo>
                  <a:lnTo>
                    <a:pt x="183" y="166"/>
                  </a:lnTo>
                  <a:lnTo>
                    <a:pt x="186" y="161"/>
                  </a:lnTo>
                  <a:lnTo>
                    <a:pt x="184" y="159"/>
                  </a:lnTo>
                  <a:lnTo>
                    <a:pt x="181" y="159"/>
                  </a:lnTo>
                  <a:lnTo>
                    <a:pt x="178" y="158"/>
                  </a:lnTo>
                  <a:lnTo>
                    <a:pt x="173" y="157"/>
                  </a:lnTo>
                  <a:lnTo>
                    <a:pt x="167" y="150"/>
                  </a:lnTo>
                  <a:lnTo>
                    <a:pt x="164" y="147"/>
                  </a:lnTo>
                  <a:lnTo>
                    <a:pt x="161" y="145"/>
                  </a:lnTo>
                  <a:lnTo>
                    <a:pt x="160" y="142"/>
                  </a:lnTo>
                  <a:lnTo>
                    <a:pt x="162" y="135"/>
                  </a:lnTo>
                  <a:lnTo>
                    <a:pt x="162" y="132"/>
                  </a:lnTo>
                  <a:lnTo>
                    <a:pt x="162" y="129"/>
                  </a:lnTo>
                  <a:lnTo>
                    <a:pt x="161" y="126"/>
                  </a:lnTo>
                  <a:lnTo>
                    <a:pt x="155" y="126"/>
                  </a:lnTo>
                  <a:lnTo>
                    <a:pt x="152" y="129"/>
                  </a:lnTo>
                  <a:lnTo>
                    <a:pt x="152" y="131"/>
                  </a:lnTo>
                  <a:lnTo>
                    <a:pt x="149" y="134"/>
                  </a:lnTo>
                  <a:lnTo>
                    <a:pt x="146" y="138"/>
                  </a:lnTo>
                  <a:lnTo>
                    <a:pt x="141" y="140"/>
                  </a:lnTo>
                  <a:lnTo>
                    <a:pt x="139" y="142"/>
                  </a:lnTo>
                  <a:lnTo>
                    <a:pt x="139" y="145"/>
                  </a:lnTo>
                  <a:lnTo>
                    <a:pt x="141" y="149"/>
                  </a:lnTo>
                  <a:lnTo>
                    <a:pt x="141" y="152"/>
                  </a:lnTo>
                  <a:lnTo>
                    <a:pt x="140" y="155"/>
                  </a:lnTo>
                  <a:lnTo>
                    <a:pt x="137" y="157"/>
                  </a:lnTo>
                  <a:lnTo>
                    <a:pt x="134" y="158"/>
                  </a:lnTo>
                  <a:lnTo>
                    <a:pt x="134" y="161"/>
                  </a:lnTo>
                  <a:lnTo>
                    <a:pt x="133" y="164"/>
                  </a:lnTo>
                  <a:lnTo>
                    <a:pt x="132" y="166"/>
                  </a:lnTo>
                  <a:lnTo>
                    <a:pt x="126" y="168"/>
                  </a:lnTo>
                  <a:lnTo>
                    <a:pt x="123" y="172"/>
                  </a:lnTo>
                  <a:lnTo>
                    <a:pt x="120" y="174"/>
                  </a:lnTo>
                  <a:lnTo>
                    <a:pt x="114" y="172"/>
                  </a:lnTo>
                  <a:lnTo>
                    <a:pt x="112" y="172"/>
                  </a:lnTo>
                  <a:lnTo>
                    <a:pt x="109" y="169"/>
                  </a:lnTo>
                  <a:lnTo>
                    <a:pt x="102" y="167"/>
                  </a:lnTo>
                  <a:lnTo>
                    <a:pt x="100" y="169"/>
                  </a:lnTo>
                  <a:lnTo>
                    <a:pt x="96" y="170"/>
                  </a:lnTo>
                  <a:lnTo>
                    <a:pt x="92" y="173"/>
                  </a:lnTo>
                  <a:lnTo>
                    <a:pt x="85" y="173"/>
                  </a:lnTo>
                  <a:lnTo>
                    <a:pt x="83" y="174"/>
                  </a:lnTo>
                  <a:lnTo>
                    <a:pt x="79" y="176"/>
                  </a:lnTo>
                  <a:lnTo>
                    <a:pt x="75" y="176"/>
                  </a:lnTo>
                  <a:lnTo>
                    <a:pt x="68" y="171"/>
                  </a:lnTo>
                  <a:lnTo>
                    <a:pt x="67" y="168"/>
                  </a:lnTo>
                  <a:lnTo>
                    <a:pt x="67" y="165"/>
                  </a:lnTo>
                  <a:lnTo>
                    <a:pt x="62" y="160"/>
                  </a:lnTo>
                  <a:lnTo>
                    <a:pt x="60" y="160"/>
                  </a:lnTo>
                  <a:lnTo>
                    <a:pt x="58" y="156"/>
                  </a:lnTo>
                  <a:lnTo>
                    <a:pt x="58" y="153"/>
                  </a:lnTo>
                  <a:lnTo>
                    <a:pt x="53" y="151"/>
                  </a:lnTo>
                  <a:lnTo>
                    <a:pt x="54" y="147"/>
                  </a:lnTo>
                  <a:lnTo>
                    <a:pt x="55" y="143"/>
                  </a:lnTo>
                  <a:lnTo>
                    <a:pt x="57" y="139"/>
                  </a:lnTo>
                  <a:lnTo>
                    <a:pt x="54" y="134"/>
                  </a:lnTo>
                  <a:lnTo>
                    <a:pt x="53" y="131"/>
                  </a:lnTo>
                  <a:lnTo>
                    <a:pt x="55" y="127"/>
                  </a:lnTo>
                  <a:lnTo>
                    <a:pt x="55" y="125"/>
                  </a:lnTo>
                  <a:lnTo>
                    <a:pt x="43" y="121"/>
                  </a:lnTo>
                  <a:lnTo>
                    <a:pt x="39" y="121"/>
                  </a:lnTo>
                  <a:lnTo>
                    <a:pt x="35" y="122"/>
                  </a:lnTo>
                  <a:lnTo>
                    <a:pt x="29" y="125"/>
                  </a:lnTo>
                  <a:lnTo>
                    <a:pt x="25" y="126"/>
                  </a:lnTo>
                  <a:lnTo>
                    <a:pt x="21" y="128"/>
                  </a:lnTo>
                  <a:lnTo>
                    <a:pt x="18" y="132"/>
                  </a:lnTo>
                  <a:lnTo>
                    <a:pt x="18" y="136"/>
                  </a:lnTo>
                  <a:lnTo>
                    <a:pt x="20" y="138"/>
                  </a:lnTo>
                  <a:lnTo>
                    <a:pt x="20" y="142"/>
                  </a:lnTo>
                  <a:lnTo>
                    <a:pt x="15" y="144"/>
                  </a:lnTo>
                  <a:lnTo>
                    <a:pt x="12" y="148"/>
                  </a:lnTo>
                  <a:lnTo>
                    <a:pt x="8" y="148"/>
                  </a:lnTo>
                  <a:lnTo>
                    <a:pt x="5" y="148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3"/>
                  </a:lnTo>
                  <a:lnTo>
                    <a:pt x="6" y="139"/>
                  </a:lnTo>
                  <a:lnTo>
                    <a:pt x="9" y="139"/>
                  </a:lnTo>
                  <a:lnTo>
                    <a:pt x="10" y="134"/>
                  </a:lnTo>
                  <a:lnTo>
                    <a:pt x="13" y="129"/>
                  </a:lnTo>
                  <a:lnTo>
                    <a:pt x="11" y="125"/>
                  </a:lnTo>
                  <a:lnTo>
                    <a:pt x="8" y="123"/>
                  </a:lnTo>
                  <a:lnTo>
                    <a:pt x="9" y="120"/>
                  </a:lnTo>
                  <a:lnTo>
                    <a:pt x="9" y="118"/>
                  </a:lnTo>
                  <a:lnTo>
                    <a:pt x="12" y="113"/>
                  </a:lnTo>
                  <a:lnTo>
                    <a:pt x="14" y="110"/>
                  </a:lnTo>
                  <a:lnTo>
                    <a:pt x="13" y="107"/>
                  </a:lnTo>
                  <a:lnTo>
                    <a:pt x="22" y="99"/>
                  </a:lnTo>
                  <a:lnTo>
                    <a:pt x="27" y="96"/>
                  </a:lnTo>
                  <a:lnTo>
                    <a:pt x="29" y="94"/>
                  </a:lnTo>
                  <a:lnTo>
                    <a:pt x="32" y="93"/>
                  </a:lnTo>
                  <a:lnTo>
                    <a:pt x="33" y="90"/>
                  </a:lnTo>
                  <a:lnTo>
                    <a:pt x="34" y="85"/>
                  </a:lnTo>
                  <a:lnTo>
                    <a:pt x="35" y="82"/>
                  </a:lnTo>
                  <a:lnTo>
                    <a:pt x="34" y="79"/>
                  </a:lnTo>
                  <a:lnTo>
                    <a:pt x="35" y="75"/>
                  </a:lnTo>
                  <a:lnTo>
                    <a:pt x="38" y="73"/>
                  </a:lnTo>
                  <a:lnTo>
                    <a:pt x="45" y="72"/>
                  </a:lnTo>
                  <a:lnTo>
                    <a:pt x="50" y="69"/>
                  </a:lnTo>
                  <a:lnTo>
                    <a:pt x="51" y="65"/>
                  </a:lnTo>
                  <a:lnTo>
                    <a:pt x="54" y="62"/>
                  </a:lnTo>
                  <a:lnTo>
                    <a:pt x="55" y="60"/>
                  </a:lnTo>
                  <a:lnTo>
                    <a:pt x="61" y="56"/>
                  </a:lnTo>
                  <a:lnTo>
                    <a:pt x="65" y="52"/>
                  </a:lnTo>
                  <a:lnTo>
                    <a:pt x="69" y="49"/>
                  </a:lnTo>
                  <a:lnTo>
                    <a:pt x="69" y="44"/>
                  </a:lnTo>
                  <a:lnTo>
                    <a:pt x="72" y="41"/>
                  </a:lnTo>
                  <a:lnTo>
                    <a:pt x="75" y="39"/>
                  </a:lnTo>
                  <a:lnTo>
                    <a:pt x="72" y="37"/>
                  </a:lnTo>
                  <a:lnTo>
                    <a:pt x="64" y="38"/>
                  </a:lnTo>
                  <a:lnTo>
                    <a:pt x="65" y="35"/>
                  </a:lnTo>
                  <a:lnTo>
                    <a:pt x="68" y="33"/>
                  </a:lnTo>
                  <a:lnTo>
                    <a:pt x="71" y="30"/>
                  </a:lnTo>
                  <a:lnTo>
                    <a:pt x="72" y="28"/>
                  </a:lnTo>
                  <a:lnTo>
                    <a:pt x="72" y="25"/>
                  </a:lnTo>
                  <a:lnTo>
                    <a:pt x="74" y="25"/>
                  </a:lnTo>
                  <a:lnTo>
                    <a:pt x="79" y="25"/>
                  </a:lnTo>
                  <a:lnTo>
                    <a:pt x="81" y="26"/>
                  </a:lnTo>
                  <a:lnTo>
                    <a:pt x="84" y="26"/>
                  </a:lnTo>
                  <a:lnTo>
                    <a:pt x="83" y="29"/>
                  </a:lnTo>
                  <a:lnTo>
                    <a:pt x="86" y="32"/>
                  </a:lnTo>
                  <a:lnTo>
                    <a:pt x="90" y="32"/>
                  </a:lnTo>
                  <a:lnTo>
                    <a:pt x="96" y="32"/>
                  </a:lnTo>
                  <a:lnTo>
                    <a:pt x="99" y="30"/>
                  </a:lnTo>
                  <a:lnTo>
                    <a:pt x="98" y="27"/>
                  </a:lnTo>
                  <a:lnTo>
                    <a:pt x="101" y="27"/>
                  </a:lnTo>
                  <a:lnTo>
                    <a:pt x="102" y="25"/>
                  </a:lnTo>
                  <a:lnTo>
                    <a:pt x="103" y="22"/>
                  </a:lnTo>
                  <a:lnTo>
                    <a:pt x="106" y="20"/>
                  </a:lnTo>
                  <a:lnTo>
                    <a:pt x="109" y="18"/>
                  </a:lnTo>
                  <a:lnTo>
                    <a:pt x="113" y="17"/>
                  </a:lnTo>
                  <a:lnTo>
                    <a:pt x="113" y="20"/>
                  </a:lnTo>
                  <a:lnTo>
                    <a:pt x="115" y="22"/>
                  </a:lnTo>
                  <a:lnTo>
                    <a:pt x="122" y="21"/>
                  </a:lnTo>
                  <a:lnTo>
                    <a:pt x="125" y="18"/>
                  </a:lnTo>
                  <a:lnTo>
                    <a:pt x="130" y="18"/>
                  </a:lnTo>
                  <a:lnTo>
                    <a:pt x="139" y="21"/>
                  </a:lnTo>
                  <a:lnTo>
                    <a:pt x="142" y="21"/>
                  </a:lnTo>
                  <a:lnTo>
                    <a:pt x="145" y="18"/>
                  </a:lnTo>
                  <a:lnTo>
                    <a:pt x="151" y="16"/>
                  </a:lnTo>
                  <a:lnTo>
                    <a:pt x="154" y="16"/>
                  </a:lnTo>
                  <a:lnTo>
                    <a:pt x="156" y="19"/>
                  </a:lnTo>
                  <a:lnTo>
                    <a:pt x="158" y="20"/>
                  </a:lnTo>
                  <a:lnTo>
                    <a:pt x="162" y="20"/>
                  </a:lnTo>
                  <a:lnTo>
                    <a:pt x="165" y="18"/>
                  </a:lnTo>
                  <a:lnTo>
                    <a:pt x="169" y="16"/>
                  </a:lnTo>
                  <a:lnTo>
                    <a:pt x="171" y="19"/>
                  </a:lnTo>
                  <a:lnTo>
                    <a:pt x="173" y="16"/>
                  </a:lnTo>
                  <a:lnTo>
                    <a:pt x="174" y="13"/>
                  </a:lnTo>
                  <a:lnTo>
                    <a:pt x="172" y="13"/>
                  </a:lnTo>
                  <a:lnTo>
                    <a:pt x="169" y="13"/>
                  </a:lnTo>
                  <a:lnTo>
                    <a:pt x="166" y="15"/>
                  </a:lnTo>
                  <a:lnTo>
                    <a:pt x="164" y="14"/>
                  </a:lnTo>
                  <a:lnTo>
                    <a:pt x="161" y="12"/>
                  </a:lnTo>
                  <a:lnTo>
                    <a:pt x="161" y="9"/>
                  </a:lnTo>
                  <a:lnTo>
                    <a:pt x="164" y="7"/>
                  </a:lnTo>
                  <a:lnTo>
                    <a:pt x="165" y="3"/>
                  </a:lnTo>
                  <a:lnTo>
                    <a:pt x="170" y="0"/>
                  </a:lnTo>
                  <a:lnTo>
                    <a:pt x="173" y="0"/>
                  </a:lnTo>
                  <a:close/>
                </a:path>
              </a:pathLst>
            </a:custGeom>
            <a:pattFill prst="wdUpDiag">
              <a:fgClr>
                <a:srgbClr val="DC7306"/>
              </a:fgClr>
              <a:bgClr>
                <a:srgbClr val="D9D9D9"/>
              </a:bgClr>
            </a:patt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4" name="CY">
              <a:extLst>
                <a:ext uri="{FF2B5EF4-FFF2-40B4-BE49-F238E27FC236}">
                  <a16:creationId xmlns:a16="http://schemas.microsoft.com/office/drawing/2014/main" id="{5C470B40-F2AC-E41C-4C36-C20EB8D1B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9708" y="6352242"/>
              <a:ext cx="285472" cy="249380"/>
            </a:xfrm>
            <a:custGeom>
              <a:avLst/>
              <a:gdLst>
                <a:gd name="T0" fmla="*/ 154 w 154"/>
                <a:gd name="T1" fmla="*/ 4 h 140"/>
                <a:gd name="T2" fmla="*/ 146 w 154"/>
                <a:gd name="T3" fmla="*/ 14 h 140"/>
                <a:gd name="T4" fmla="*/ 128 w 154"/>
                <a:gd name="T5" fmla="*/ 36 h 140"/>
                <a:gd name="T6" fmla="*/ 125 w 154"/>
                <a:gd name="T7" fmla="*/ 45 h 140"/>
                <a:gd name="T8" fmla="*/ 118 w 154"/>
                <a:gd name="T9" fmla="*/ 49 h 140"/>
                <a:gd name="T10" fmla="*/ 115 w 154"/>
                <a:gd name="T11" fmla="*/ 57 h 140"/>
                <a:gd name="T12" fmla="*/ 122 w 154"/>
                <a:gd name="T13" fmla="*/ 67 h 140"/>
                <a:gd name="T14" fmla="*/ 123 w 154"/>
                <a:gd name="T15" fmla="*/ 72 h 140"/>
                <a:gd name="T16" fmla="*/ 117 w 154"/>
                <a:gd name="T17" fmla="*/ 68 h 140"/>
                <a:gd name="T18" fmla="*/ 120 w 154"/>
                <a:gd name="T19" fmla="*/ 70 h 140"/>
                <a:gd name="T20" fmla="*/ 122 w 154"/>
                <a:gd name="T21" fmla="*/ 73 h 140"/>
                <a:gd name="T22" fmla="*/ 128 w 154"/>
                <a:gd name="T23" fmla="*/ 72 h 140"/>
                <a:gd name="T24" fmla="*/ 134 w 154"/>
                <a:gd name="T25" fmla="*/ 76 h 140"/>
                <a:gd name="T26" fmla="*/ 126 w 154"/>
                <a:gd name="T27" fmla="*/ 79 h 140"/>
                <a:gd name="T28" fmla="*/ 120 w 154"/>
                <a:gd name="T29" fmla="*/ 83 h 140"/>
                <a:gd name="T30" fmla="*/ 115 w 154"/>
                <a:gd name="T31" fmla="*/ 78 h 140"/>
                <a:gd name="T32" fmla="*/ 117 w 154"/>
                <a:gd name="T33" fmla="*/ 83 h 140"/>
                <a:gd name="T34" fmla="*/ 118 w 154"/>
                <a:gd name="T35" fmla="*/ 85 h 140"/>
                <a:gd name="T36" fmla="*/ 111 w 154"/>
                <a:gd name="T37" fmla="*/ 84 h 140"/>
                <a:gd name="T38" fmla="*/ 106 w 154"/>
                <a:gd name="T39" fmla="*/ 83 h 140"/>
                <a:gd name="T40" fmla="*/ 104 w 154"/>
                <a:gd name="T41" fmla="*/ 89 h 140"/>
                <a:gd name="T42" fmla="*/ 104 w 154"/>
                <a:gd name="T43" fmla="*/ 95 h 140"/>
                <a:gd name="T44" fmla="*/ 103 w 154"/>
                <a:gd name="T45" fmla="*/ 102 h 140"/>
                <a:gd name="T46" fmla="*/ 98 w 154"/>
                <a:gd name="T47" fmla="*/ 106 h 140"/>
                <a:gd name="T48" fmla="*/ 91 w 154"/>
                <a:gd name="T49" fmla="*/ 112 h 140"/>
                <a:gd name="T50" fmla="*/ 84 w 154"/>
                <a:gd name="T51" fmla="*/ 118 h 140"/>
                <a:gd name="T52" fmla="*/ 75 w 154"/>
                <a:gd name="T53" fmla="*/ 122 h 140"/>
                <a:gd name="T54" fmla="*/ 65 w 154"/>
                <a:gd name="T55" fmla="*/ 130 h 140"/>
                <a:gd name="T56" fmla="*/ 65 w 154"/>
                <a:gd name="T57" fmla="*/ 136 h 140"/>
                <a:gd name="T58" fmla="*/ 61 w 154"/>
                <a:gd name="T59" fmla="*/ 140 h 140"/>
                <a:gd name="T60" fmla="*/ 57 w 154"/>
                <a:gd name="T61" fmla="*/ 132 h 140"/>
                <a:gd name="T62" fmla="*/ 57 w 154"/>
                <a:gd name="T63" fmla="*/ 131 h 140"/>
                <a:gd name="T64" fmla="*/ 53 w 154"/>
                <a:gd name="T65" fmla="*/ 132 h 140"/>
                <a:gd name="T66" fmla="*/ 51 w 154"/>
                <a:gd name="T67" fmla="*/ 133 h 140"/>
                <a:gd name="T68" fmla="*/ 48 w 154"/>
                <a:gd name="T69" fmla="*/ 134 h 140"/>
                <a:gd name="T70" fmla="*/ 47 w 154"/>
                <a:gd name="T71" fmla="*/ 134 h 140"/>
                <a:gd name="T72" fmla="*/ 38 w 154"/>
                <a:gd name="T73" fmla="*/ 138 h 140"/>
                <a:gd name="T74" fmla="*/ 31 w 154"/>
                <a:gd name="T75" fmla="*/ 137 h 140"/>
                <a:gd name="T76" fmla="*/ 24 w 154"/>
                <a:gd name="T77" fmla="*/ 137 h 140"/>
                <a:gd name="T78" fmla="*/ 16 w 154"/>
                <a:gd name="T79" fmla="*/ 133 h 140"/>
                <a:gd name="T80" fmla="*/ 9 w 154"/>
                <a:gd name="T81" fmla="*/ 126 h 140"/>
                <a:gd name="T82" fmla="*/ 5 w 154"/>
                <a:gd name="T83" fmla="*/ 120 h 140"/>
                <a:gd name="T84" fmla="*/ 2 w 154"/>
                <a:gd name="T85" fmla="*/ 113 h 140"/>
                <a:gd name="T86" fmla="*/ 5 w 154"/>
                <a:gd name="T87" fmla="*/ 110 h 140"/>
                <a:gd name="T88" fmla="*/ 11 w 154"/>
                <a:gd name="T89" fmla="*/ 110 h 140"/>
                <a:gd name="T90" fmla="*/ 16 w 154"/>
                <a:gd name="T91" fmla="*/ 101 h 140"/>
                <a:gd name="T92" fmla="*/ 17 w 154"/>
                <a:gd name="T93" fmla="*/ 94 h 140"/>
                <a:gd name="T94" fmla="*/ 23 w 154"/>
                <a:gd name="T95" fmla="*/ 94 h 140"/>
                <a:gd name="T96" fmla="*/ 29 w 154"/>
                <a:gd name="T97" fmla="*/ 92 h 140"/>
                <a:gd name="T98" fmla="*/ 34 w 154"/>
                <a:gd name="T99" fmla="*/ 89 h 140"/>
                <a:gd name="T100" fmla="*/ 41 w 154"/>
                <a:gd name="T101" fmla="*/ 88 h 140"/>
                <a:gd name="T102" fmla="*/ 44 w 154"/>
                <a:gd name="T103" fmla="*/ 80 h 140"/>
                <a:gd name="T104" fmla="*/ 42 w 154"/>
                <a:gd name="T105" fmla="*/ 71 h 140"/>
                <a:gd name="T106" fmla="*/ 39 w 154"/>
                <a:gd name="T107" fmla="*/ 66 h 140"/>
                <a:gd name="T108" fmla="*/ 49 w 154"/>
                <a:gd name="T109" fmla="*/ 66 h 140"/>
                <a:gd name="T110" fmla="*/ 66 w 154"/>
                <a:gd name="T111" fmla="*/ 63 h 140"/>
                <a:gd name="T112" fmla="*/ 94 w 154"/>
                <a:gd name="T113" fmla="*/ 53 h 140"/>
                <a:gd name="T114" fmla="*/ 104 w 154"/>
                <a:gd name="T115" fmla="*/ 45 h 140"/>
                <a:gd name="T116" fmla="*/ 122 w 154"/>
                <a:gd name="T117" fmla="*/ 32 h 140"/>
                <a:gd name="T118" fmla="*/ 128 w 154"/>
                <a:gd name="T119" fmla="*/ 22 h 140"/>
                <a:gd name="T120" fmla="*/ 137 w 154"/>
                <a:gd name="T121" fmla="*/ 16 h 140"/>
                <a:gd name="T122" fmla="*/ 151 w 154"/>
                <a:gd name="T123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" h="140">
                  <a:moveTo>
                    <a:pt x="154" y="0"/>
                  </a:moveTo>
                  <a:lnTo>
                    <a:pt x="154" y="4"/>
                  </a:lnTo>
                  <a:lnTo>
                    <a:pt x="152" y="7"/>
                  </a:lnTo>
                  <a:lnTo>
                    <a:pt x="146" y="14"/>
                  </a:lnTo>
                  <a:lnTo>
                    <a:pt x="141" y="21"/>
                  </a:lnTo>
                  <a:lnTo>
                    <a:pt x="128" y="36"/>
                  </a:lnTo>
                  <a:lnTo>
                    <a:pt x="126" y="42"/>
                  </a:lnTo>
                  <a:lnTo>
                    <a:pt x="125" y="45"/>
                  </a:lnTo>
                  <a:lnTo>
                    <a:pt x="122" y="48"/>
                  </a:lnTo>
                  <a:lnTo>
                    <a:pt x="118" y="49"/>
                  </a:lnTo>
                  <a:lnTo>
                    <a:pt x="115" y="54"/>
                  </a:lnTo>
                  <a:lnTo>
                    <a:pt x="115" y="57"/>
                  </a:lnTo>
                  <a:lnTo>
                    <a:pt x="117" y="64"/>
                  </a:lnTo>
                  <a:lnTo>
                    <a:pt x="122" y="67"/>
                  </a:lnTo>
                  <a:lnTo>
                    <a:pt x="125" y="69"/>
                  </a:lnTo>
                  <a:lnTo>
                    <a:pt x="123" y="72"/>
                  </a:lnTo>
                  <a:lnTo>
                    <a:pt x="120" y="70"/>
                  </a:lnTo>
                  <a:lnTo>
                    <a:pt x="117" y="68"/>
                  </a:lnTo>
                  <a:lnTo>
                    <a:pt x="117" y="70"/>
                  </a:lnTo>
                  <a:lnTo>
                    <a:pt x="120" y="70"/>
                  </a:lnTo>
                  <a:lnTo>
                    <a:pt x="120" y="73"/>
                  </a:lnTo>
                  <a:lnTo>
                    <a:pt x="122" y="73"/>
                  </a:lnTo>
                  <a:lnTo>
                    <a:pt x="125" y="72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4" y="76"/>
                  </a:lnTo>
                  <a:lnTo>
                    <a:pt x="132" y="78"/>
                  </a:lnTo>
                  <a:lnTo>
                    <a:pt x="126" y="79"/>
                  </a:lnTo>
                  <a:lnTo>
                    <a:pt x="123" y="81"/>
                  </a:lnTo>
                  <a:lnTo>
                    <a:pt x="120" y="83"/>
                  </a:lnTo>
                  <a:lnTo>
                    <a:pt x="118" y="80"/>
                  </a:lnTo>
                  <a:lnTo>
                    <a:pt x="115" y="78"/>
                  </a:lnTo>
                  <a:lnTo>
                    <a:pt x="116" y="81"/>
                  </a:lnTo>
                  <a:lnTo>
                    <a:pt x="117" y="83"/>
                  </a:lnTo>
                  <a:lnTo>
                    <a:pt x="122" y="83"/>
                  </a:lnTo>
                  <a:lnTo>
                    <a:pt x="118" y="85"/>
                  </a:lnTo>
                  <a:lnTo>
                    <a:pt x="114" y="83"/>
                  </a:lnTo>
                  <a:lnTo>
                    <a:pt x="111" y="84"/>
                  </a:lnTo>
                  <a:lnTo>
                    <a:pt x="108" y="85"/>
                  </a:lnTo>
                  <a:lnTo>
                    <a:pt x="106" y="83"/>
                  </a:lnTo>
                  <a:lnTo>
                    <a:pt x="105" y="82"/>
                  </a:lnTo>
                  <a:lnTo>
                    <a:pt x="104" y="89"/>
                  </a:lnTo>
                  <a:lnTo>
                    <a:pt x="104" y="92"/>
                  </a:lnTo>
                  <a:lnTo>
                    <a:pt x="104" y="95"/>
                  </a:lnTo>
                  <a:lnTo>
                    <a:pt x="104" y="98"/>
                  </a:lnTo>
                  <a:lnTo>
                    <a:pt x="103" y="102"/>
                  </a:lnTo>
                  <a:lnTo>
                    <a:pt x="99" y="103"/>
                  </a:lnTo>
                  <a:lnTo>
                    <a:pt x="98" y="106"/>
                  </a:lnTo>
                  <a:lnTo>
                    <a:pt x="95" y="110"/>
                  </a:lnTo>
                  <a:lnTo>
                    <a:pt x="91" y="112"/>
                  </a:lnTo>
                  <a:lnTo>
                    <a:pt x="89" y="116"/>
                  </a:lnTo>
                  <a:lnTo>
                    <a:pt x="84" y="118"/>
                  </a:lnTo>
                  <a:lnTo>
                    <a:pt x="81" y="121"/>
                  </a:lnTo>
                  <a:lnTo>
                    <a:pt x="75" y="122"/>
                  </a:lnTo>
                  <a:lnTo>
                    <a:pt x="70" y="125"/>
                  </a:lnTo>
                  <a:lnTo>
                    <a:pt x="65" y="130"/>
                  </a:lnTo>
                  <a:lnTo>
                    <a:pt x="63" y="133"/>
                  </a:lnTo>
                  <a:lnTo>
                    <a:pt x="65" y="136"/>
                  </a:lnTo>
                  <a:lnTo>
                    <a:pt x="68" y="138"/>
                  </a:lnTo>
                  <a:lnTo>
                    <a:pt x="61" y="140"/>
                  </a:lnTo>
                  <a:lnTo>
                    <a:pt x="58" y="134"/>
                  </a:lnTo>
                  <a:lnTo>
                    <a:pt x="57" y="132"/>
                  </a:lnTo>
                  <a:lnTo>
                    <a:pt x="60" y="130"/>
                  </a:lnTo>
                  <a:lnTo>
                    <a:pt x="57" y="131"/>
                  </a:lnTo>
                  <a:lnTo>
                    <a:pt x="53" y="132"/>
                  </a:lnTo>
                  <a:lnTo>
                    <a:pt x="53" y="132"/>
                  </a:lnTo>
                  <a:lnTo>
                    <a:pt x="55" y="133"/>
                  </a:lnTo>
                  <a:lnTo>
                    <a:pt x="51" y="133"/>
                  </a:lnTo>
                  <a:lnTo>
                    <a:pt x="45" y="136"/>
                  </a:lnTo>
                  <a:lnTo>
                    <a:pt x="48" y="134"/>
                  </a:lnTo>
                  <a:lnTo>
                    <a:pt x="50" y="131"/>
                  </a:lnTo>
                  <a:lnTo>
                    <a:pt x="47" y="134"/>
                  </a:lnTo>
                  <a:lnTo>
                    <a:pt x="41" y="138"/>
                  </a:lnTo>
                  <a:lnTo>
                    <a:pt x="38" y="138"/>
                  </a:lnTo>
                  <a:lnTo>
                    <a:pt x="35" y="138"/>
                  </a:lnTo>
                  <a:lnTo>
                    <a:pt x="31" y="137"/>
                  </a:lnTo>
                  <a:lnTo>
                    <a:pt x="27" y="137"/>
                  </a:lnTo>
                  <a:lnTo>
                    <a:pt x="24" y="137"/>
                  </a:lnTo>
                  <a:lnTo>
                    <a:pt x="18" y="135"/>
                  </a:lnTo>
                  <a:lnTo>
                    <a:pt x="16" y="133"/>
                  </a:lnTo>
                  <a:lnTo>
                    <a:pt x="13" y="127"/>
                  </a:lnTo>
                  <a:lnTo>
                    <a:pt x="9" y="126"/>
                  </a:lnTo>
                  <a:lnTo>
                    <a:pt x="7" y="123"/>
                  </a:lnTo>
                  <a:lnTo>
                    <a:pt x="5" y="120"/>
                  </a:lnTo>
                  <a:lnTo>
                    <a:pt x="5" y="117"/>
                  </a:lnTo>
                  <a:lnTo>
                    <a:pt x="2" y="113"/>
                  </a:lnTo>
                  <a:lnTo>
                    <a:pt x="0" y="110"/>
                  </a:lnTo>
                  <a:lnTo>
                    <a:pt x="5" y="110"/>
                  </a:lnTo>
                  <a:lnTo>
                    <a:pt x="8" y="111"/>
                  </a:lnTo>
                  <a:lnTo>
                    <a:pt x="11" y="110"/>
                  </a:lnTo>
                  <a:lnTo>
                    <a:pt x="13" y="106"/>
                  </a:lnTo>
                  <a:lnTo>
                    <a:pt x="16" y="101"/>
                  </a:lnTo>
                  <a:lnTo>
                    <a:pt x="16" y="98"/>
                  </a:lnTo>
                  <a:lnTo>
                    <a:pt x="17" y="94"/>
                  </a:lnTo>
                  <a:lnTo>
                    <a:pt x="20" y="93"/>
                  </a:lnTo>
                  <a:lnTo>
                    <a:pt x="23" y="94"/>
                  </a:lnTo>
                  <a:lnTo>
                    <a:pt x="25" y="90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34" y="89"/>
                  </a:lnTo>
                  <a:lnTo>
                    <a:pt x="38" y="90"/>
                  </a:lnTo>
                  <a:lnTo>
                    <a:pt x="41" y="88"/>
                  </a:lnTo>
                  <a:lnTo>
                    <a:pt x="43" y="83"/>
                  </a:lnTo>
                  <a:lnTo>
                    <a:pt x="44" y="80"/>
                  </a:lnTo>
                  <a:lnTo>
                    <a:pt x="43" y="77"/>
                  </a:lnTo>
                  <a:lnTo>
                    <a:pt x="42" y="71"/>
                  </a:lnTo>
                  <a:lnTo>
                    <a:pt x="41" y="68"/>
                  </a:lnTo>
                  <a:lnTo>
                    <a:pt x="39" y="66"/>
                  </a:lnTo>
                  <a:lnTo>
                    <a:pt x="44" y="67"/>
                  </a:lnTo>
                  <a:lnTo>
                    <a:pt x="49" y="66"/>
                  </a:lnTo>
                  <a:lnTo>
                    <a:pt x="52" y="66"/>
                  </a:lnTo>
                  <a:lnTo>
                    <a:pt x="66" y="63"/>
                  </a:lnTo>
                  <a:lnTo>
                    <a:pt x="78" y="61"/>
                  </a:lnTo>
                  <a:lnTo>
                    <a:pt x="94" y="53"/>
                  </a:lnTo>
                  <a:lnTo>
                    <a:pt x="100" y="47"/>
                  </a:lnTo>
                  <a:lnTo>
                    <a:pt x="104" y="45"/>
                  </a:lnTo>
                  <a:lnTo>
                    <a:pt x="109" y="43"/>
                  </a:lnTo>
                  <a:lnTo>
                    <a:pt x="122" y="32"/>
                  </a:lnTo>
                  <a:lnTo>
                    <a:pt x="126" y="27"/>
                  </a:lnTo>
                  <a:lnTo>
                    <a:pt x="128" y="22"/>
                  </a:lnTo>
                  <a:lnTo>
                    <a:pt x="132" y="21"/>
                  </a:lnTo>
                  <a:lnTo>
                    <a:pt x="137" y="16"/>
                  </a:lnTo>
                  <a:lnTo>
                    <a:pt x="140" y="13"/>
                  </a:lnTo>
                  <a:lnTo>
                    <a:pt x="151" y="3"/>
                  </a:lnTo>
                  <a:lnTo>
                    <a:pt x="15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5" name="UA">
              <a:extLst>
                <a:ext uri="{FF2B5EF4-FFF2-40B4-BE49-F238E27FC236}">
                  <a16:creationId xmlns:a16="http://schemas.microsoft.com/office/drawing/2014/main" id="{8694B8D4-2455-199E-B1AC-DC7E817D6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8744" y="3735136"/>
              <a:ext cx="2023581" cy="1302320"/>
            </a:xfrm>
            <a:custGeom>
              <a:avLst/>
              <a:gdLst>
                <a:gd name="T0" fmla="*/ 713 w 1064"/>
                <a:gd name="T1" fmla="*/ 582 h 732"/>
                <a:gd name="T2" fmla="*/ 719 w 1064"/>
                <a:gd name="T3" fmla="*/ 581 h 732"/>
                <a:gd name="T4" fmla="*/ 619 w 1064"/>
                <a:gd name="T5" fmla="*/ 33 h 732"/>
                <a:gd name="T6" fmla="*/ 643 w 1064"/>
                <a:gd name="T7" fmla="*/ 82 h 732"/>
                <a:gd name="T8" fmla="*/ 697 w 1064"/>
                <a:gd name="T9" fmla="*/ 90 h 732"/>
                <a:gd name="T10" fmla="*/ 745 w 1064"/>
                <a:gd name="T11" fmla="*/ 143 h 732"/>
                <a:gd name="T12" fmla="*/ 825 w 1064"/>
                <a:gd name="T13" fmla="*/ 114 h 732"/>
                <a:gd name="T14" fmla="*/ 899 w 1064"/>
                <a:gd name="T15" fmla="*/ 120 h 732"/>
                <a:gd name="T16" fmla="*/ 972 w 1064"/>
                <a:gd name="T17" fmla="*/ 116 h 732"/>
                <a:gd name="T18" fmla="*/ 1027 w 1064"/>
                <a:gd name="T19" fmla="*/ 127 h 732"/>
                <a:gd name="T20" fmla="*/ 1044 w 1064"/>
                <a:gd name="T21" fmla="*/ 175 h 732"/>
                <a:gd name="T22" fmla="*/ 1062 w 1064"/>
                <a:gd name="T23" fmla="*/ 230 h 732"/>
                <a:gd name="T24" fmla="*/ 1013 w 1064"/>
                <a:gd name="T25" fmla="*/ 290 h 732"/>
                <a:gd name="T26" fmla="*/ 998 w 1064"/>
                <a:gd name="T27" fmla="*/ 361 h 732"/>
                <a:gd name="T28" fmla="*/ 945 w 1064"/>
                <a:gd name="T29" fmla="*/ 413 h 732"/>
                <a:gd name="T30" fmla="*/ 902 w 1064"/>
                <a:gd name="T31" fmla="*/ 460 h 732"/>
                <a:gd name="T32" fmla="*/ 851 w 1064"/>
                <a:gd name="T33" fmla="*/ 522 h 732"/>
                <a:gd name="T34" fmla="*/ 830 w 1064"/>
                <a:gd name="T35" fmla="*/ 525 h 732"/>
                <a:gd name="T36" fmla="*/ 920 w 1064"/>
                <a:gd name="T37" fmla="*/ 578 h 732"/>
                <a:gd name="T38" fmla="*/ 953 w 1064"/>
                <a:gd name="T39" fmla="*/ 578 h 732"/>
                <a:gd name="T40" fmla="*/ 897 w 1064"/>
                <a:gd name="T41" fmla="*/ 616 h 732"/>
                <a:gd name="T42" fmla="*/ 852 w 1064"/>
                <a:gd name="T43" fmla="*/ 664 h 732"/>
                <a:gd name="T44" fmla="*/ 784 w 1064"/>
                <a:gd name="T45" fmla="*/ 706 h 732"/>
                <a:gd name="T46" fmla="*/ 757 w 1064"/>
                <a:gd name="T47" fmla="*/ 653 h 732"/>
                <a:gd name="T48" fmla="*/ 727 w 1064"/>
                <a:gd name="T49" fmla="*/ 615 h 732"/>
                <a:gd name="T50" fmla="*/ 752 w 1064"/>
                <a:gd name="T51" fmla="*/ 560 h 732"/>
                <a:gd name="T52" fmla="*/ 691 w 1064"/>
                <a:gd name="T53" fmla="*/ 586 h 732"/>
                <a:gd name="T54" fmla="*/ 645 w 1064"/>
                <a:gd name="T55" fmla="*/ 564 h 732"/>
                <a:gd name="T56" fmla="*/ 678 w 1064"/>
                <a:gd name="T57" fmla="*/ 539 h 732"/>
                <a:gd name="T58" fmla="*/ 631 w 1064"/>
                <a:gd name="T59" fmla="*/ 520 h 732"/>
                <a:gd name="T60" fmla="*/ 634 w 1064"/>
                <a:gd name="T61" fmla="*/ 525 h 732"/>
                <a:gd name="T62" fmla="*/ 610 w 1064"/>
                <a:gd name="T63" fmla="*/ 544 h 732"/>
                <a:gd name="T64" fmla="*/ 574 w 1064"/>
                <a:gd name="T65" fmla="*/ 590 h 732"/>
                <a:gd name="T66" fmla="*/ 536 w 1064"/>
                <a:gd name="T67" fmla="*/ 662 h 732"/>
                <a:gd name="T68" fmla="*/ 519 w 1064"/>
                <a:gd name="T69" fmla="*/ 683 h 732"/>
                <a:gd name="T70" fmla="*/ 530 w 1064"/>
                <a:gd name="T71" fmla="*/ 709 h 732"/>
                <a:gd name="T72" fmla="*/ 457 w 1064"/>
                <a:gd name="T73" fmla="*/ 731 h 732"/>
                <a:gd name="T74" fmla="*/ 456 w 1064"/>
                <a:gd name="T75" fmla="*/ 681 h 732"/>
                <a:gd name="T76" fmla="*/ 476 w 1064"/>
                <a:gd name="T77" fmla="*/ 615 h 732"/>
                <a:gd name="T78" fmla="*/ 515 w 1064"/>
                <a:gd name="T79" fmla="*/ 610 h 732"/>
                <a:gd name="T80" fmla="*/ 507 w 1064"/>
                <a:gd name="T81" fmla="*/ 567 h 732"/>
                <a:gd name="T82" fmla="*/ 472 w 1064"/>
                <a:gd name="T83" fmla="*/ 527 h 732"/>
                <a:gd name="T84" fmla="*/ 442 w 1064"/>
                <a:gd name="T85" fmla="*/ 489 h 732"/>
                <a:gd name="T86" fmla="*/ 388 w 1064"/>
                <a:gd name="T87" fmla="*/ 469 h 732"/>
                <a:gd name="T88" fmla="*/ 329 w 1064"/>
                <a:gd name="T89" fmla="*/ 454 h 732"/>
                <a:gd name="T90" fmla="*/ 264 w 1064"/>
                <a:gd name="T91" fmla="*/ 494 h 732"/>
                <a:gd name="T92" fmla="*/ 189 w 1064"/>
                <a:gd name="T93" fmla="*/ 558 h 732"/>
                <a:gd name="T94" fmla="*/ 110 w 1064"/>
                <a:gd name="T95" fmla="*/ 549 h 732"/>
                <a:gd name="T96" fmla="*/ 52 w 1064"/>
                <a:gd name="T97" fmla="*/ 553 h 732"/>
                <a:gd name="T98" fmla="*/ 0 w 1064"/>
                <a:gd name="T99" fmla="*/ 512 h 732"/>
                <a:gd name="T100" fmla="*/ 36 w 1064"/>
                <a:gd name="T101" fmla="*/ 464 h 732"/>
                <a:gd name="T102" fmla="*/ 37 w 1064"/>
                <a:gd name="T103" fmla="*/ 372 h 732"/>
                <a:gd name="T104" fmla="*/ 71 w 1064"/>
                <a:gd name="T105" fmla="*/ 288 h 732"/>
                <a:gd name="T106" fmla="*/ 41 w 1064"/>
                <a:gd name="T107" fmla="*/ 229 h 732"/>
                <a:gd name="T108" fmla="*/ 120 w 1064"/>
                <a:gd name="T109" fmla="*/ 169 h 732"/>
                <a:gd name="T110" fmla="*/ 251 w 1064"/>
                <a:gd name="T111" fmla="*/ 173 h 732"/>
                <a:gd name="T112" fmla="*/ 299 w 1064"/>
                <a:gd name="T113" fmla="*/ 158 h 732"/>
                <a:gd name="T114" fmla="*/ 353 w 1064"/>
                <a:gd name="T115" fmla="*/ 149 h 732"/>
                <a:gd name="T116" fmla="*/ 416 w 1064"/>
                <a:gd name="T117" fmla="*/ 144 h 732"/>
                <a:gd name="T118" fmla="*/ 427 w 1064"/>
                <a:gd name="T119" fmla="*/ 123 h 732"/>
                <a:gd name="T120" fmla="*/ 460 w 1064"/>
                <a:gd name="T121" fmla="*/ 64 h 732"/>
                <a:gd name="T122" fmla="*/ 534 w 1064"/>
                <a:gd name="T123" fmla="*/ 27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4" h="732">
                  <a:moveTo>
                    <a:pt x="548" y="654"/>
                  </a:moveTo>
                  <a:lnTo>
                    <a:pt x="537" y="672"/>
                  </a:lnTo>
                  <a:lnTo>
                    <a:pt x="532" y="678"/>
                  </a:lnTo>
                  <a:lnTo>
                    <a:pt x="528" y="681"/>
                  </a:lnTo>
                  <a:lnTo>
                    <a:pt x="531" y="679"/>
                  </a:lnTo>
                  <a:lnTo>
                    <a:pt x="532" y="676"/>
                  </a:lnTo>
                  <a:lnTo>
                    <a:pt x="534" y="674"/>
                  </a:lnTo>
                  <a:lnTo>
                    <a:pt x="536" y="671"/>
                  </a:lnTo>
                  <a:lnTo>
                    <a:pt x="545" y="658"/>
                  </a:lnTo>
                  <a:lnTo>
                    <a:pt x="548" y="654"/>
                  </a:lnTo>
                  <a:close/>
                  <a:moveTo>
                    <a:pt x="698" y="586"/>
                  </a:moveTo>
                  <a:lnTo>
                    <a:pt x="696" y="586"/>
                  </a:lnTo>
                  <a:lnTo>
                    <a:pt x="697" y="586"/>
                  </a:lnTo>
                  <a:lnTo>
                    <a:pt x="698" y="586"/>
                  </a:lnTo>
                  <a:close/>
                  <a:moveTo>
                    <a:pt x="709" y="584"/>
                  </a:moveTo>
                  <a:lnTo>
                    <a:pt x="707" y="584"/>
                  </a:lnTo>
                  <a:lnTo>
                    <a:pt x="698" y="586"/>
                  </a:lnTo>
                  <a:lnTo>
                    <a:pt x="709" y="584"/>
                  </a:lnTo>
                  <a:close/>
                  <a:moveTo>
                    <a:pt x="711" y="582"/>
                  </a:moveTo>
                  <a:lnTo>
                    <a:pt x="713" y="582"/>
                  </a:lnTo>
                  <a:lnTo>
                    <a:pt x="709" y="584"/>
                  </a:lnTo>
                  <a:lnTo>
                    <a:pt x="711" y="582"/>
                  </a:lnTo>
                  <a:close/>
                  <a:moveTo>
                    <a:pt x="716" y="582"/>
                  </a:moveTo>
                  <a:lnTo>
                    <a:pt x="715" y="583"/>
                  </a:lnTo>
                  <a:lnTo>
                    <a:pt x="713" y="582"/>
                  </a:lnTo>
                  <a:lnTo>
                    <a:pt x="716" y="582"/>
                  </a:lnTo>
                  <a:close/>
                  <a:moveTo>
                    <a:pt x="619" y="581"/>
                  </a:moveTo>
                  <a:lnTo>
                    <a:pt x="622" y="583"/>
                  </a:lnTo>
                  <a:lnTo>
                    <a:pt x="624" y="586"/>
                  </a:lnTo>
                  <a:lnTo>
                    <a:pt x="629" y="588"/>
                  </a:lnTo>
                  <a:lnTo>
                    <a:pt x="651" y="587"/>
                  </a:lnTo>
                  <a:lnTo>
                    <a:pt x="659" y="586"/>
                  </a:lnTo>
                  <a:lnTo>
                    <a:pt x="665" y="587"/>
                  </a:lnTo>
                  <a:lnTo>
                    <a:pt x="661" y="587"/>
                  </a:lnTo>
                  <a:lnTo>
                    <a:pt x="638" y="589"/>
                  </a:lnTo>
                  <a:lnTo>
                    <a:pt x="626" y="588"/>
                  </a:lnTo>
                  <a:lnTo>
                    <a:pt x="621" y="585"/>
                  </a:lnTo>
                  <a:lnTo>
                    <a:pt x="619" y="581"/>
                  </a:lnTo>
                  <a:close/>
                  <a:moveTo>
                    <a:pt x="717" y="581"/>
                  </a:moveTo>
                  <a:lnTo>
                    <a:pt x="719" y="581"/>
                  </a:lnTo>
                  <a:lnTo>
                    <a:pt x="716" y="582"/>
                  </a:lnTo>
                  <a:lnTo>
                    <a:pt x="717" y="581"/>
                  </a:lnTo>
                  <a:close/>
                  <a:moveTo>
                    <a:pt x="723" y="580"/>
                  </a:moveTo>
                  <a:lnTo>
                    <a:pt x="720" y="581"/>
                  </a:lnTo>
                  <a:lnTo>
                    <a:pt x="719" y="581"/>
                  </a:lnTo>
                  <a:lnTo>
                    <a:pt x="723" y="580"/>
                  </a:lnTo>
                  <a:close/>
                  <a:moveTo>
                    <a:pt x="583" y="0"/>
                  </a:moveTo>
                  <a:lnTo>
                    <a:pt x="585" y="1"/>
                  </a:lnTo>
                  <a:lnTo>
                    <a:pt x="588" y="3"/>
                  </a:lnTo>
                  <a:lnTo>
                    <a:pt x="592" y="4"/>
                  </a:lnTo>
                  <a:lnTo>
                    <a:pt x="595" y="8"/>
                  </a:lnTo>
                  <a:lnTo>
                    <a:pt x="601" y="11"/>
                  </a:lnTo>
                  <a:lnTo>
                    <a:pt x="604" y="13"/>
                  </a:lnTo>
                  <a:lnTo>
                    <a:pt x="606" y="16"/>
                  </a:lnTo>
                  <a:lnTo>
                    <a:pt x="606" y="20"/>
                  </a:lnTo>
                  <a:lnTo>
                    <a:pt x="607" y="23"/>
                  </a:lnTo>
                  <a:lnTo>
                    <a:pt x="609" y="26"/>
                  </a:lnTo>
                  <a:lnTo>
                    <a:pt x="612" y="29"/>
                  </a:lnTo>
                  <a:lnTo>
                    <a:pt x="615" y="30"/>
                  </a:lnTo>
                  <a:lnTo>
                    <a:pt x="619" y="33"/>
                  </a:lnTo>
                  <a:lnTo>
                    <a:pt x="622" y="35"/>
                  </a:lnTo>
                  <a:lnTo>
                    <a:pt x="624" y="34"/>
                  </a:lnTo>
                  <a:lnTo>
                    <a:pt x="627" y="36"/>
                  </a:lnTo>
                  <a:lnTo>
                    <a:pt x="633" y="37"/>
                  </a:lnTo>
                  <a:lnTo>
                    <a:pt x="635" y="40"/>
                  </a:lnTo>
                  <a:lnTo>
                    <a:pt x="637" y="44"/>
                  </a:lnTo>
                  <a:lnTo>
                    <a:pt x="635" y="47"/>
                  </a:lnTo>
                  <a:lnTo>
                    <a:pt x="630" y="49"/>
                  </a:lnTo>
                  <a:lnTo>
                    <a:pt x="622" y="54"/>
                  </a:lnTo>
                  <a:lnTo>
                    <a:pt x="621" y="59"/>
                  </a:lnTo>
                  <a:lnTo>
                    <a:pt x="624" y="59"/>
                  </a:lnTo>
                  <a:lnTo>
                    <a:pt x="626" y="62"/>
                  </a:lnTo>
                  <a:lnTo>
                    <a:pt x="630" y="65"/>
                  </a:lnTo>
                  <a:lnTo>
                    <a:pt x="633" y="67"/>
                  </a:lnTo>
                  <a:lnTo>
                    <a:pt x="634" y="70"/>
                  </a:lnTo>
                  <a:lnTo>
                    <a:pt x="635" y="73"/>
                  </a:lnTo>
                  <a:lnTo>
                    <a:pt x="635" y="76"/>
                  </a:lnTo>
                  <a:lnTo>
                    <a:pt x="637" y="81"/>
                  </a:lnTo>
                  <a:lnTo>
                    <a:pt x="640" y="81"/>
                  </a:lnTo>
                  <a:lnTo>
                    <a:pt x="643" y="82"/>
                  </a:lnTo>
                  <a:lnTo>
                    <a:pt x="643" y="86"/>
                  </a:lnTo>
                  <a:lnTo>
                    <a:pt x="641" y="89"/>
                  </a:lnTo>
                  <a:lnTo>
                    <a:pt x="639" y="92"/>
                  </a:lnTo>
                  <a:lnTo>
                    <a:pt x="643" y="92"/>
                  </a:lnTo>
                  <a:lnTo>
                    <a:pt x="646" y="91"/>
                  </a:lnTo>
                  <a:lnTo>
                    <a:pt x="647" y="89"/>
                  </a:lnTo>
                  <a:lnTo>
                    <a:pt x="651" y="87"/>
                  </a:lnTo>
                  <a:lnTo>
                    <a:pt x="655" y="88"/>
                  </a:lnTo>
                  <a:lnTo>
                    <a:pt x="661" y="86"/>
                  </a:lnTo>
                  <a:lnTo>
                    <a:pt x="663" y="86"/>
                  </a:lnTo>
                  <a:lnTo>
                    <a:pt x="665" y="88"/>
                  </a:lnTo>
                  <a:lnTo>
                    <a:pt x="668" y="90"/>
                  </a:lnTo>
                  <a:lnTo>
                    <a:pt x="672" y="89"/>
                  </a:lnTo>
                  <a:lnTo>
                    <a:pt x="675" y="86"/>
                  </a:lnTo>
                  <a:lnTo>
                    <a:pt x="679" y="83"/>
                  </a:lnTo>
                  <a:lnTo>
                    <a:pt x="681" y="81"/>
                  </a:lnTo>
                  <a:lnTo>
                    <a:pt x="684" y="81"/>
                  </a:lnTo>
                  <a:lnTo>
                    <a:pt x="688" y="79"/>
                  </a:lnTo>
                  <a:lnTo>
                    <a:pt x="695" y="88"/>
                  </a:lnTo>
                  <a:lnTo>
                    <a:pt x="697" y="90"/>
                  </a:lnTo>
                  <a:lnTo>
                    <a:pt x="701" y="91"/>
                  </a:lnTo>
                  <a:lnTo>
                    <a:pt x="705" y="89"/>
                  </a:lnTo>
                  <a:lnTo>
                    <a:pt x="708" y="88"/>
                  </a:lnTo>
                  <a:lnTo>
                    <a:pt x="710" y="91"/>
                  </a:lnTo>
                  <a:lnTo>
                    <a:pt x="707" y="93"/>
                  </a:lnTo>
                  <a:lnTo>
                    <a:pt x="708" y="97"/>
                  </a:lnTo>
                  <a:lnTo>
                    <a:pt x="712" y="98"/>
                  </a:lnTo>
                  <a:lnTo>
                    <a:pt x="713" y="101"/>
                  </a:lnTo>
                  <a:lnTo>
                    <a:pt x="716" y="104"/>
                  </a:lnTo>
                  <a:lnTo>
                    <a:pt x="718" y="108"/>
                  </a:lnTo>
                  <a:lnTo>
                    <a:pt x="721" y="109"/>
                  </a:lnTo>
                  <a:lnTo>
                    <a:pt x="724" y="113"/>
                  </a:lnTo>
                  <a:lnTo>
                    <a:pt x="726" y="117"/>
                  </a:lnTo>
                  <a:lnTo>
                    <a:pt x="724" y="121"/>
                  </a:lnTo>
                  <a:lnTo>
                    <a:pt x="730" y="133"/>
                  </a:lnTo>
                  <a:lnTo>
                    <a:pt x="734" y="135"/>
                  </a:lnTo>
                  <a:lnTo>
                    <a:pt x="737" y="135"/>
                  </a:lnTo>
                  <a:lnTo>
                    <a:pt x="741" y="139"/>
                  </a:lnTo>
                  <a:lnTo>
                    <a:pt x="742" y="141"/>
                  </a:lnTo>
                  <a:lnTo>
                    <a:pt x="745" y="143"/>
                  </a:lnTo>
                  <a:lnTo>
                    <a:pt x="748" y="143"/>
                  </a:lnTo>
                  <a:lnTo>
                    <a:pt x="750" y="142"/>
                  </a:lnTo>
                  <a:lnTo>
                    <a:pt x="751" y="138"/>
                  </a:lnTo>
                  <a:lnTo>
                    <a:pt x="754" y="133"/>
                  </a:lnTo>
                  <a:lnTo>
                    <a:pt x="760" y="129"/>
                  </a:lnTo>
                  <a:lnTo>
                    <a:pt x="770" y="127"/>
                  </a:lnTo>
                  <a:lnTo>
                    <a:pt x="773" y="128"/>
                  </a:lnTo>
                  <a:lnTo>
                    <a:pt x="784" y="135"/>
                  </a:lnTo>
                  <a:lnTo>
                    <a:pt x="787" y="135"/>
                  </a:lnTo>
                  <a:lnTo>
                    <a:pt x="789" y="132"/>
                  </a:lnTo>
                  <a:lnTo>
                    <a:pt x="794" y="130"/>
                  </a:lnTo>
                  <a:lnTo>
                    <a:pt x="798" y="131"/>
                  </a:lnTo>
                  <a:lnTo>
                    <a:pt x="800" y="133"/>
                  </a:lnTo>
                  <a:lnTo>
                    <a:pt x="803" y="135"/>
                  </a:lnTo>
                  <a:lnTo>
                    <a:pt x="806" y="135"/>
                  </a:lnTo>
                  <a:lnTo>
                    <a:pt x="807" y="130"/>
                  </a:lnTo>
                  <a:lnTo>
                    <a:pt x="815" y="119"/>
                  </a:lnTo>
                  <a:lnTo>
                    <a:pt x="818" y="117"/>
                  </a:lnTo>
                  <a:lnTo>
                    <a:pt x="821" y="115"/>
                  </a:lnTo>
                  <a:lnTo>
                    <a:pt x="825" y="114"/>
                  </a:lnTo>
                  <a:lnTo>
                    <a:pt x="832" y="109"/>
                  </a:lnTo>
                  <a:lnTo>
                    <a:pt x="835" y="102"/>
                  </a:lnTo>
                  <a:lnTo>
                    <a:pt x="842" y="98"/>
                  </a:lnTo>
                  <a:lnTo>
                    <a:pt x="845" y="100"/>
                  </a:lnTo>
                  <a:lnTo>
                    <a:pt x="847" y="103"/>
                  </a:lnTo>
                  <a:lnTo>
                    <a:pt x="855" y="105"/>
                  </a:lnTo>
                  <a:lnTo>
                    <a:pt x="859" y="110"/>
                  </a:lnTo>
                  <a:lnTo>
                    <a:pt x="859" y="113"/>
                  </a:lnTo>
                  <a:lnTo>
                    <a:pt x="863" y="116"/>
                  </a:lnTo>
                  <a:lnTo>
                    <a:pt x="872" y="122"/>
                  </a:lnTo>
                  <a:lnTo>
                    <a:pt x="874" y="122"/>
                  </a:lnTo>
                  <a:lnTo>
                    <a:pt x="879" y="123"/>
                  </a:lnTo>
                  <a:lnTo>
                    <a:pt x="882" y="123"/>
                  </a:lnTo>
                  <a:lnTo>
                    <a:pt x="887" y="126"/>
                  </a:lnTo>
                  <a:lnTo>
                    <a:pt x="890" y="128"/>
                  </a:lnTo>
                  <a:lnTo>
                    <a:pt x="892" y="131"/>
                  </a:lnTo>
                  <a:lnTo>
                    <a:pt x="895" y="127"/>
                  </a:lnTo>
                  <a:lnTo>
                    <a:pt x="898" y="127"/>
                  </a:lnTo>
                  <a:lnTo>
                    <a:pt x="900" y="124"/>
                  </a:lnTo>
                  <a:lnTo>
                    <a:pt x="899" y="120"/>
                  </a:lnTo>
                  <a:lnTo>
                    <a:pt x="897" y="116"/>
                  </a:lnTo>
                  <a:lnTo>
                    <a:pt x="896" y="113"/>
                  </a:lnTo>
                  <a:lnTo>
                    <a:pt x="901" y="112"/>
                  </a:lnTo>
                  <a:lnTo>
                    <a:pt x="903" y="111"/>
                  </a:lnTo>
                  <a:lnTo>
                    <a:pt x="908" y="115"/>
                  </a:lnTo>
                  <a:lnTo>
                    <a:pt x="913" y="115"/>
                  </a:lnTo>
                  <a:lnTo>
                    <a:pt x="916" y="116"/>
                  </a:lnTo>
                  <a:lnTo>
                    <a:pt x="918" y="116"/>
                  </a:lnTo>
                  <a:lnTo>
                    <a:pt x="921" y="113"/>
                  </a:lnTo>
                  <a:lnTo>
                    <a:pt x="925" y="113"/>
                  </a:lnTo>
                  <a:lnTo>
                    <a:pt x="929" y="114"/>
                  </a:lnTo>
                  <a:lnTo>
                    <a:pt x="935" y="115"/>
                  </a:lnTo>
                  <a:lnTo>
                    <a:pt x="941" y="115"/>
                  </a:lnTo>
                  <a:lnTo>
                    <a:pt x="946" y="117"/>
                  </a:lnTo>
                  <a:lnTo>
                    <a:pt x="953" y="116"/>
                  </a:lnTo>
                  <a:lnTo>
                    <a:pt x="955" y="110"/>
                  </a:lnTo>
                  <a:lnTo>
                    <a:pt x="957" y="107"/>
                  </a:lnTo>
                  <a:lnTo>
                    <a:pt x="965" y="115"/>
                  </a:lnTo>
                  <a:lnTo>
                    <a:pt x="969" y="116"/>
                  </a:lnTo>
                  <a:lnTo>
                    <a:pt x="972" y="116"/>
                  </a:lnTo>
                  <a:lnTo>
                    <a:pt x="975" y="112"/>
                  </a:lnTo>
                  <a:lnTo>
                    <a:pt x="980" y="112"/>
                  </a:lnTo>
                  <a:lnTo>
                    <a:pt x="984" y="111"/>
                  </a:lnTo>
                  <a:lnTo>
                    <a:pt x="987" y="113"/>
                  </a:lnTo>
                  <a:lnTo>
                    <a:pt x="989" y="116"/>
                  </a:lnTo>
                  <a:lnTo>
                    <a:pt x="992" y="119"/>
                  </a:lnTo>
                  <a:lnTo>
                    <a:pt x="997" y="119"/>
                  </a:lnTo>
                  <a:lnTo>
                    <a:pt x="1000" y="119"/>
                  </a:lnTo>
                  <a:lnTo>
                    <a:pt x="1004" y="120"/>
                  </a:lnTo>
                  <a:lnTo>
                    <a:pt x="1006" y="120"/>
                  </a:lnTo>
                  <a:lnTo>
                    <a:pt x="1009" y="117"/>
                  </a:lnTo>
                  <a:lnTo>
                    <a:pt x="1012" y="111"/>
                  </a:lnTo>
                  <a:lnTo>
                    <a:pt x="1014" y="110"/>
                  </a:lnTo>
                  <a:lnTo>
                    <a:pt x="1020" y="109"/>
                  </a:lnTo>
                  <a:lnTo>
                    <a:pt x="1022" y="111"/>
                  </a:lnTo>
                  <a:lnTo>
                    <a:pt x="1020" y="115"/>
                  </a:lnTo>
                  <a:lnTo>
                    <a:pt x="1020" y="120"/>
                  </a:lnTo>
                  <a:lnTo>
                    <a:pt x="1021" y="122"/>
                  </a:lnTo>
                  <a:lnTo>
                    <a:pt x="1023" y="124"/>
                  </a:lnTo>
                  <a:lnTo>
                    <a:pt x="1027" y="127"/>
                  </a:lnTo>
                  <a:lnTo>
                    <a:pt x="1031" y="129"/>
                  </a:lnTo>
                  <a:lnTo>
                    <a:pt x="1032" y="131"/>
                  </a:lnTo>
                  <a:lnTo>
                    <a:pt x="1033" y="134"/>
                  </a:lnTo>
                  <a:lnTo>
                    <a:pt x="1034" y="138"/>
                  </a:lnTo>
                  <a:lnTo>
                    <a:pt x="1032" y="141"/>
                  </a:lnTo>
                  <a:lnTo>
                    <a:pt x="1032" y="146"/>
                  </a:lnTo>
                  <a:lnTo>
                    <a:pt x="1029" y="151"/>
                  </a:lnTo>
                  <a:lnTo>
                    <a:pt x="1028" y="156"/>
                  </a:lnTo>
                  <a:lnTo>
                    <a:pt x="1029" y="160"/>
                  </a:lnTo>
                  <a:lnTo>
                    <a:pt x="1026" y="163"/>
                  </a:lnTo>
                  <a:lnTo>
                    <a:pt x="1021" y="167"/>
                  </a:lnTo>
                  <a:lnTo>
                    <a:pt x="1018" y="168"/>
                  </a:lnTo>
                  <a:lnTo>
                    <a:pt x="1018" y="173"/>
                  </a:lnTo>
                  <a:lnTo>
                    <a:pt x="1023" y="175"/>
                  </a:lnTo>
                  <a:lnTo>
                    <a:pt x="1025" y="177"/>
                  </a:lnTo>
                  <a:lnTo>
                    <a:pt x="1032" y="177"/>
                  </a:lnTo>
                  <a:lnTo>
                    <a:pt x="1035" y="176"/>
                  </a:lnTo>
                  <a:lnTo>
                    <a:pt x="1038" y="177"/>
                  </a:lnTo>
                  <a:lnTo>
                    <a:pt x="1039" y="174"/>
                  </a:lnTo>
                  <a:lnTo>
                    <a:pt x="1044" y="175"/>
                  </a:lnTo>
                  <a:lnTo>
                    <a:pt x="1043" y="179"/>
                  </a:lnTo>
                  <a:lnTo>
                    <a:pt x="1042" y="182"/>
                  </a:lnTo>
                  <a:lnTo>
                    <a:pt x="1032" y="183"/>
                  </a:lnTo>
                  <a:lnTo>
                    <a:pt x="1030" y="185"/>
                  </a:lnTo>
                  <a:lnTo>
                    <a:pt x="1029" y="189"/>
                  </a:lnTo>
                  <a:lnTo>
                    <a:pt x="1028" y="192"/>
                  </a:lnTo>
                  <a:lnTo>
                    <a:pt x="1029" y="205"/>
                  </a:lnTo>
                  <a:lnTo>
                    <a:pt x="1033" y="205"/>
                  </a:lnTo>
                  <a:lnTo>
                    <a:pt x="1040" y="203"/>
                  </a:lnTo>
                  <a:lnTo>
                    <a:pt x="1043" y="205"/>
                  </a:lnTo>
                  <a:lnTo>
                    <a:pt x="1045" y="207"/>
                  </a:lnTo>
                  <a:lnTo>
                    <a:pt x="1045" y="211"/>
                  </a:lnTo>
                  <a:lnTo>
                    <a:pt x="1050" y="216"/>
                  </a:lnTo>
                  <a:lnTo>
                    <a:pt x="1053" y="219"/>
                  </a:lnTo>
                  <a:lnTo>
                    <a:pt x="1052" y="223"/>
                  </a:lnTo>
                  <a:lnTo>
                    <a:pt x="1050" y="228"/>
                  </a:lnTo>
                  <a:lnTo>
                    <a:pt x="1055" y="229"/>
                  </a:lnTo>
                  <a:lnTo>
                    <a:pt x="1058" y="226"/>
                  </a:lnTo>
                  <a:lnTo>
                    <a:pt x="1061" y="227"/>
                  </a:lnTo>
                  <a:lnTo>
                    <a:pt x="1062" y="230"/>
                  </a:lnTo>
                  <a:lnTo>
                    <a:pt x="1059" y="235"/>
                  </a:lnTo>
                  <a:lnTo>
                    <a:pt x="1058" y="243"/>
                  </a:lnTo>
                  <a:lnTo>
                    <a:pt x="1059" y="247"/>
                  </a:lnTo>
                  <a:lnTo>
                    <a:pt x="1061" y="250"/>
                  </a:lnTo>
                  <a:lnTo>
                    <a:pt x="1058" y="253"/>
                  </a:lnTo>
                  <a:lnTo>
                    <a:pt x="1059" y="256"/>
                  </a:lnTo>
                  <a:lnTo>
                    <a:pt x="1061" y="258"/>
                  </a:lnTo>
                  <a:lnTo>
                    <a:pt x="1062" y="262"/>
                  </a:lnTo>
                  <a:lnTo>
                    <a:pt x="1063" y="264"/>
                  </a:lnTo>
                  <a:lnTo>
                    <a:pt x="1064" y="268"/>
                  </a:lnTo>
                  <a:lnTo>
                    <a:pt x="1063" y="272"/>
                  </a:lnTo>
                  <a:lnTo>
                    <a:pt x="1055" y="274"/>
                  </a:lnTo>
                  <a:lnTo>
                    <a:pt x="1050" y="277"/>
                  </a:lnTo>
                  <a:lnTo>
                    <a:pt x="1047" y="278"/>
                  </a:lnTo>
                  <a:lnTo>
                    <a:pt x="1042" y="280"/>
                  </a:lnTo>
                  <a:lnTo>
                    <a:pt x="1038" y="280"/>
                  </a:lnTo>
                  <a:lnTo>
                    <a:pt x="1030" y="285"/>
                  </a:lnTo>
                  <a:lnTo>
                    <a:pt x="1026" y="287"/>
                  </a:lnTo>
                  <a:lnTo>
                    <a:pt x="1022" y="286"/>
                  </a:lnTo>
                  <a:lnTo>
                    <a:pt x="1013" y="290"/>
                  </a:lnTo>
                  <a:lnTo>
                    <a:pt x="1011" y="292"/>
                  </a:lnTo>
                  <a:lnTo>
                    <a:pt x="1010" y="295"/>
                  </a:lnTo>
                  <a:lnTo>
                    <a:pt x="1010" y="299"/>
                  </a:lnTo>
                  <a:lnTo>
                    <a:pt x="1010" y="304"/>
                  </a:lnTo>
                  <a:lnTo>
                    <a:pt x="1011" y="308"/>
                  </a:lnTo>
                  <a:lnTo>
                    <a:pt x="1008" y="310"/>
                  </a:lnTo>
                  <a:lnTo>
                    <a:pt x="1005" y="315"/>
                  </a:lnTo>
                  <a:lnTo>
                    <a:pt x="1003" y="318"/>
                  </a:lnTo>
                  <a:lnTo>
                    <a:pt x="991" y="324"/>
                  </a:lnTo>
                  <a:lnTo>
                    <a:pt x="989" y="330"/>
                  </a:lnTo>
                  <a:lnTo>
                    <a:pt x="989" y="333"/>
                  </a:lnTo>
                  <a:lnTo>
                    <a:pt x="989" y="336"/>
                  </a:lnTo>
                  <a:lnTo>
                    <a:pt x="992" y="342"/>
                  </a:lnTo>
                  <a:lnTo>
                    <a:pt x="993" y="345"/>
                  </a:lnTo>
                  <a:lnTo>
                    <a:pt x="992" y="348"/>
                  </a:lnTo>
                  <a:lnTo>
                    <a:pt x="991" y="354"/>
                  </a:lnTo>
                  <a:lnTo>
                    <a:pt x="995" y="356"/>
                  </a:lnTo>
                  <a:lnTo>
                    <a:pt x="1000" y="355"/>
                  </a:lnTo>
                  <a:lnTo>
                    <a:pt x="1000" y="359"/>
                  </a:lnTo>
                  <a:lnTo>
                    <a:pt x="998" y="361"/>
                  </a:lnTo>
                  <a:lnTo>
                    <a:pt x="997" y="365"/>
                  </a:lnTo>
                  <a:lnTo>
                    <a:pt x="998" y="367"/>
                  </a:lnTo>
                  <a:lnTo>
                    <a:pt x="999" y="370"/>
                  </a:lnTo>
                  <a:lnTo>
                    <a:pt x="1000" y="374"/>
                  </a:lnTo>
                  <a:lnTo>
                    <a:pt x="999" y="380"/>
                  </a:lnTo>
                  <a:lnTo>
                    <a:pt x="997" y="377"/>
                  </a:lnTo>
                  <a:lnTo>
                    <a:pt x="992" y="376"/>
                  </a:lnTo>
                  <a:lnTo>
                    <a:pt x="990" y="378"/>
                  </a:lnTo>
                  <a:lnTo>
                    <a:pt x="987" y="378"/>
                  </a:lnTo>
                  <a:lnTo>
                    <a:pt x="979" y="381"/>
                  </a:lnTo>
                  <a:lnTo>
                    <a:pt x="974" y="385"/>
                  </a:lnTo>
                  <a:lnTo>
                    <a:pt x="972" y="386"/>
                  </a:lnTo>
                  <a:lnTo>
                    <a:pt x="964" y="388"/>
                  </a:lnTo>
                  <a:lnTo>
                    <a:pt x="960" y="395"/>
                  </a:lnTo>
                  <a:lnTo>
                    <a:pt x="957" y="406"/>
                  </a:lnTo>
                  <a:lnTo>
                    <a:pt x="957" y="410"/>
                  </a:lnTo>
                  <a:lnTo>
                    <a:pt x="955" y="413"/>
                  </a:lnTo>
                  <a:lnTo>
                    <a:pt x="953" y="409"/>
                  </a:lnTo>
                  <a:lnTo>
                    <a:pt x="948" y="409"/>
                  </a:lnTo>
                  <a:lnTo>
                    <a:pt x="945" y="413"/>
                  </a:lnTo>
                  <a:lnTo>
                    <a:pt x="939" y="420"/>
                  </a:lnTo>
                  <a:lnTo>
                    <a:pt x="937" y="423"/>
                  </a:lnTo>
                  <a:lnTo>
                    <a:pt x="934" y="425"/>
                  </a:lnTo>
                  <a:lnTo>
                    <a:pt x="932" y="430"/>
                  </a:lnTo>
                  <a:lnTo>
                    <a:pt x="932" y="435"/>
                  </a:lnTo>
                  <a:lnTo>
                    <a:pt x="932" y="440"/>
                  </a:lnTo>
                  <a:lnTo>
                    <a:pt x="932" y="445"/>
                  </a:lnTo>
                  <a:lnTo>
                    <a:pt x="929" y="447"/>
                  </a:lnTo>
                  <a:lnTo>
                    <a:pt x="931" y="443"/>
                  </a:lnTo>
                  <a:lnTo>
                    <a:pt x="931" y="440"/>
                  </a:lnTo>
                  <a:lnTo>
                    <a:pt x="926" y="437"/>
                  </a:lnTo>
                  <a:lnTo>
                    <a:pt x="923" y="436"/>
                  </a:lnTo>
                  <a:lnTo>
                    <a:pt x="919" y="437"/>
                  </a:lnTo>
                  <a:lnTo>
                    <a:pt x="917" y="438"/>
                  </a:lnTo>
                  <a:lnTo>
                    <a:pt x="912" y="442"/>
                  </a:lnTo>
                  <a:lnTo>
                    <a:pt x="910" y="444"/>
                  </a:lnTo>
                  <a:lnTo>
                    <a:pt x="907" y="446"/>
                  </a:lnTo>
                  <a:lnTo>
                    <a:pt x="904" y="450"/>
                  </a:lnTo>
                  <a:lnTo>
                    <a:pt x="902" y="455"/>
                  </a:lnTo>
                  <a:lnTo>
                    <a:pt x="902" y="460"/>
                  </a:lnTo>
                  <a:lnTo>
                    <a:pt x="899" y="460"/>
                  </a:lnTo>
                  <a:lnTo>
                    <a:pt x="897" y="458"/>
                  </a:lnTo>
                  <a:lnTo>
                    <a:pt x="894" y="457"/>
                  </a:lnTo>
                  <a:lnTo>
                    <a:pt x="887" y="460"/>
                  </a:lnTo>
                  <a:lnTo>
                    <a:pt x="880" y="464"/>
                  </a:lnTo>
                  <a:lnTo>
                    <a:pt x="875" y="469"/>
                  </a:lnTo>
                  <a:lnTo>
                    <a:pt x="872" y="472"/>
                  </a:lnTo>
                  <a:lnTo>
                    <a:pt x="868" y="482"/>
                  </a:lnTo>
                  <a:lnTo>
                    <a:pt x="861" y="491"/>
                  </a:lnTo>
                  <a:lnTo>
                    <a:pt x="859" y="497"/>
                  </a:lnTo>
                  <a:lnTo>
                    <a:pt x="857" y="501"/>
                  </a:lnTo>
                  <a:lnTo>
                    <a:pt x="854" y="514"/>
                  </a:lnTo>
                  <a:lnTo>
                    <a:pt x="852" y="523"/>
                  </a:lnTo>
                  <a:lnTo>
                    <a:pt x="850" y="528"/>
                  </a:lnTo>
                  <a:lnTo>
                    <a:pt x="844" y="532"/>
                  </a:lnTo>
                  <a:lnTo>
                    <a:pt x="841" y="536"/>
                  </a:lnTo>
                  <a:lnTo>
                    <a:pt x="841" y="532"/>
                  </a:lnTo>
                  <a:lnTo>
                    <a:pt x="842" y="529"/>
                  </a:lnTo>
                  <a:lnTo>
                    <a:pt x="847" y="525"/>
                  </a:lnTo>
                  <a:lnTo>
                    <a:pt x="851" y="522"/>
                  </a:lnTo>
                  <a:lnTo>
                    <a:pt x="851" y="518"/>
                  </a:lnTo>
                  <a:lnTo>
                    <a:pt x="852" y="514"/>
                  </a:lnTo>
                  <a:lnTo>
                    <a:pt x="853" y="510"/>
                  </a:lnTo>
                  <a:lnTo>
                    <a:pt x="854" y="507"/>
                  </a:lnTo>
                  <a:lnTo>
                    <a:pt x="854" y="503"/>
                  </a:lnTo>
                  <a:lnTo>
                    <a:pt x="852" y="507"/>
                  </a:lnTo>
                  <a:lnTo>
                    <a:pt x="848" y="504"/>
                  </a:lnTo>
                  <a:lnTo>
                    <a:pt x="847" y="498"/>
                  </a:lnTo>
                  <a:lnTo>
                    <a:pt x="844" y="498"/>
                  </a:lnTo>
                  <a:lnTo>
                    <a:pt x="841" y="496"/>
                  </a:lnTo>
                  <a:lnTo>
                    <a:pt x="839" y="493"/>
                  </a:lnTo>
                  <a:lnTo>
                    <a:pt x="840" y="497"/>
                  </a:lnTo>
                  <a:lnTo>
                    <a:pt x="842" y="499"/>
                  </a:lnTo>
                  <a:lnTo>
                    <a:pt x="844" y="502"/>
                  </a:lnTo>
                  <a:lnTo>
                    <a:pt x="843" y="507"/>
                  </a:lnTo>
                  <a:lnTo>
                    <a:pt x="841" y="514"/>
                  </a:lnTo>
                  <a:lnTo>
                    <a:pt x="838" y="520"/>
                  </a:lnTo>
                  <a:lnTo>
                    <a:pt x="832" y="523"/>
                  </a:lnTo>
                  <a:lnTo>
                    <a:pt x="829" y="523"/>
                  </a:lnTo>
                  <a:lnTo>
                    <a:pt x="830" y="525"/>
                  </a:lnTo>
                  <a:lnTo>
                    <a:pt x="827" y="528"/>
                  </a:lnTo>
                  <a:lnTo>
                    <a:pt x="827" y="531"/>
                  </a:lnTo>
                  <a:lnTo>
                    <a:pt x="828" y="534"/>
                  </a:lnTo>
                  <a:lnTo>
                    <a:pt x="830" y="539"/>
                  </a:lnTo>
                  <a:lnTo>
                    <a:pt x="832" y="542"/>
                  </a:lnTo>
                  <a:lnTo>
                    <a:pt x="838" y="552"/>
                  </a:lnTo>
                  <a:lnTo>
                    <a:pt x="841" y="554"/>
                  </a:lnTo>
                  <a:lnTo>
                    <a:pt x="847" y="563"/>
                  </a:lnTo>
                  <a:lnTo>
                    <a:pt x="856" y="571"/>
                  </a:lnTo>
                  <a:lnTo>
                    <a:pt x="883" y="591"/>
                  </a:lnTo>
                  <a:lnTo>
                    <a:pt x="894" y="595"/>
                  </a:lnTo>
                  <a:lnTo>
                    <a:pt x="896" y="594"/>
                  </a:lnTo>
                  <a:lnTo>
                    <a:pt x="906" y="587"/>
                  </a:lnTo>
                  <a:lnTo>
                    <a:pt x="908" y="583"/>
                  </a:lnTo>
                  <a:lnTo>
                    <a:pt x="909" y="580"/>
                  </a:lnTo>
                  <a:lnTo>
                    <a:pt x="909" y="576"/>
                  </a:lnTo>
                  <a:lnTo>
                    <a:pt x="909" y="573"/>
                  </a:lnTo>
                  <a:lnTo>
                    <a:pt x="912" y="571"/>
                  </a:lnTo>
                  <a:lnTo>
                    <a:pt x="912" y="575"/>
                  </a:lnTo>
                  <a:lnTo>
                    <a:pt x="920" y="578"/>
                  </a:lnTo>
                  <a:lnTo>
                    <a:pt x="923" y="578"/>
                  </a:lnTo>
                  <a:lnTo>
                    <a:pt x="926" y="570"/>
                  </a:lnTo>
                  <a:lnTo>
                    <a:pt x="929" y="567"/>
                  </a:lnTo>
                  <a:lnTo>
                    <a:pt x="937" y="563"/>
                  </a:lnTo>
                  <a:lnTo>
                    <a:pt x="939" y="561"/>
                  </a:lnTo>
                  <a:lnTo>
                    <a:pt x="940" y="564"/>
                  </a:lnTo>
                  <a:lnTo>
                    <a:pt x="942" y="562"/>
                  </a:lnTo>
                  <a:lnTo>
                    <a:pt x="946" y="562"/>
                  </a:lnTo>
                  <a:lnTo>
                    <a:pt x="950" y="560"/>
                  </a:lnTo>
                  <a:lnTo>
                    <a:pt x="954" y="561"/>
                  </a:lnTo>
                  <a:lnTo>
                    <a:pt x="957" y="559"/>
                  </a:lnTo>
                  <a:lnTo>
                    <a:pt x="960" y="560"/>
                  </a:lnTo>
                  <a:lnTo>
                    <a:pt x="962" y="562"/>
                  </a:lnTo>
                  <a:lnTo>
                    <a:pt x="963" y="565"/>
                  </a:lnTo>
                  <a:lnTo>
                    <a:pt x="961" y="567"/>
                  </a:lnTo>
                  <a:lnTo>
                    <a:pt x="958" y="566"/>
                  </a:lnTo>
                  <a:lnTo>
                    <a:pt x="955" y="567"/>
                  </a:lnTo>
                  <a:lnTo>
                    <a:pt x="955" y="571"/>
                  </a:lnTo>
                  <a:lnTo>
                    <a:pt x="954" y="574"/>
                  </a:lnTo>
                  <a:lnTo>
                    <a:pt x="953" y="578"/>
                  </a:lnTo>
                  <a:lnTo>
                    <a:pt x="955" y="585"/>
                  </a:lnTo>
                  <a:lnTo>
                    <a:pt x="957" y="589"/>
                  </a:lnTo>
                  <a:lnTo>
                    <a:pt x="960" y="591"/>
                  </a:lnTo>
                  <a:lnTo>
                    <a:pt x="956" y="597"/>
                  </a:lnTo>
                  <a:lnTo>
                    <a:pt x="951" y="599"/>
                  </a:lnTo>
                  <a:lnTo>
                    <a:pt x="950" y="602"/>
                  </a:lnTo>
                  <a:lnTo>
                    <a:pt x="943" y="604"/>
                  </a:lnTo>
                  <a:lnTo>
                    <a:pt x="939" y="603"/>
                  </a:lnTo>
                  <a:lnTo>
                    <a:pt x="936" y="606"/>
                  </a:lnTo>
                  <a:lnTo>
                    <a:pt x="935" y="609"/>
                  </a:lnTo>
                  <a:lnTo>
                    <a:pt x="930" y="611"/>
                  </a:lnTo>
                  <a:lnTo>
                    <a:pt x="926" y="613"/>
                  </a:lnTo>
                  <a:lnTo>
                    <a:pt x="924" y="611"/>
                  </a:lnTo>
                  <a:lnTo>
                    <a:pt x="919" y="609"/>
                  </a:lnTo>
                  <a:lnTo>
                    <a:pt x="914" y="607"/>
                  </a:lnTo>
                  <a:lnTo>
                    <a:pt x="909" y="607"/>
                  </a:lnTo>
                  <a:lnTo>
                    <a:pt x="906" y="608"/>
                  </a:lnTo>
                  <a:lnTo>
                    <a:pt x="903" y="609"/>
                  </a:lnTo>
                  <a:lnTo>
                    <a:pt x="901" y="610"/>
                  </a:lnTo>
                  <a:lnTo>
                    <a:pt x="897" y="616"/>
                  </a:lnTo>
                  <a:lnTo>
                    <a:pt x="896" y="619"/>
                  </a:lnTo>
                  <a:lnTo>
                    <a:pt x="900" y="621"/>
                  </a:lnTo>
                  <a:lnTo>
                    <a:pt x="897" y="623"/>
                  </a:lnTo>
                  <a:lnTo>
                    <a:pt x="896" y="627"/>
                  </a:lnTo>
                  <a:lnTo>
                    <a:pt x="897" y="629"/>
                  </a:lnTo>
                  <a:lnTo>
                    <a:pt x="894" y="628"/>
                  </a:lnTo>
                  <a:lnTo>
                    <a:pt x="891" y="629"/>
                  </a:lnTo>
                  <a:lnTo>
                    <a:pt x="890" y="634"/>
                  </a:lnTo>
                  <a:lnTo>
                    <a:pt x="886" y="637"/>
                  </a:lnTo>
                  <a:lnTo>
                    <a:pt x="885" y="641"/>
                  </a:lnTo>
                  <a:lnTo>
                    <a:pt x="885" y="645"/>
                  </a:lnTo>
                  <a:lnTo>
                    <a:pt x="884" y="649"/>
                  </a:lnTo>
                  <a:lnTo>
                    <a:pt x="881" y="649"/>
                  </a:lnTo>
                  <a:lnTo>
                    <a:pt x="878" y="647"/>
                  </a:lnTo>
                  <a:lnTo>
                    <a:pt x="875" y="647"/>
                  </a:lnTo>
                  <a:lnTo>
                    <a:pt x="873" y="649"/>
                  </a:lnTo>
                  <a:lnTo>
                    <a:pt x="870" y="651"/>
                  </a:lnTo>
                  <a:lnTo>
                    <a:pt x="863" y="653"/>
                  </a:lnTo>
                  <a:lnTo>
                    <a:pt x="858" y="659"/>
                  </a:lnTo>
                  <a:lnTo>
                    <a:pt x="852" y="664"/>
                  </a:lnTo>
                  <a:lnTo>
                    <a:pt x="848" y="668"/>
                  </a:lnTo>
                  <a:lnTo>
                    <a:pt x="846" y="672"/>
                  </a:lnTo>
                  <a:lnTo>
                    <a:pt x="845" y="678"/>
                  </a:lnTo>
                  <a:lnTo>
                    <a:pt x="844" y="685"/>
                  </a:lnTo>
                  <a:lnTo>
                    <a:pt x="842" y="687"/>
                  </a:lnTo>
                  <a:lnTo>
                    <a:pt x="839" y="694"/>
                  </a:lnTo>
                  <a:lnTo>
                    <a:pt x="836" y="695"/>
                  </a:lnTo>
                  <a:lnTo>
                    <a:pt x="835" y="700"/>
                  </a:lnTo>
                  <a:lnTo>
                    <a:pt x="833" y="703"/>
                  </a:lnTo>
                  <a:lnTo>
                    <a:pt x="825" y="710"/>
                  </a:lnTo>
                  <a:lnTo>
                    <a:pt x="823" y="710"/>
                  </a:lnTo>
                  <a:lnTo>
                    <a:pt x="818" y="710"/>
                  </a:lnTo>
                  <a:lnTo>
                    <a:pt x="816" y="712"/>
                  </a:lnTo>
                  <a:lnTo>
                    <a:pt x="812" y="713"/>
                  </a:lnTo>
                  <a:lnTo>
                    <a:pt x="805" y="712"/>
                  </a:lnTo>
                  <a:lnTo>
                    <a:pt x="802" y="710"/>
                  </a:lnTo>
                  <a:lnTo>
                    <a:pt x="799" y="707"/>
                  </a:lnTo>
                  <a:lnTo>
                    <a:pt x="796" y="709"/>
                  </a:lnTo>
                  <a:lnTo>
                    <a:pt x="794" y="709"/>
                  </a:lnTo>
                  <a:lnTo>
                    <a:pt x="784" y="706"/>
                  </a:lnTo>
                  <a:lnTo>
                    <a:pt x="786" y="702"/>
                  </a:lnTo>
                  <a:lnTo>
                    <a:pt x="789" y="700"/>
                  </a:lnTo>
                  <a:lnTo>
                    <a:pt x="794" y="698"/>
                  </a:lnTo>
                  <a:lnTo>
                    <a:pt x="791" y="695"/>
                  </a:lnTo>
                  <a:lnTo>
                    <a:pt x="791" y="691"/>
                  </a:lnTo>
                  <a:lnTo>
                    <a:pt x="790" y="687"/>
                  </a:lnTo>
                  <a:lnTo>
                    <a:pt x="788" y="683"/>
                  </a:lnTo>
                  <a:lnTo>
                    <a:pt x="787" y="679"/>
                  </a:lnTo>
                  <a:lnTo>
                    <a:pt x="788" y="676"/>
                  </a:lnTo>
                  <a:lnTo>
                    <a:pt x="790" y="671"/>
                  </a:lnTo>
                  <a:lnTo>
                    <a:pt x="789" y="667"/>
                  </a:lnTo>
                  <a:lnTo>
                    <a:pt x="788" y="664"/>
                  </a:lnTo>
                  <a:lnTo>
                    <a:pt x="785" y="660"/>
                  </a:lnTo>
                  <a:lnTo>
                    <a:pt x="783" y="657"/>
                  </a:lnTo>
                  <a:lnTo>
                    <a:pt x="781" y="654"/>
                  </a:lnTo>
                  <a:lnTo>
                    <a:pt x="773" y="651"/>
                  </a:lnTo>
                  <a:lnTo>
                    <a:pt x="769" y="649"/>
                  </a:lnTo>
                  <a:lnTo>
                    <a:pt x="765" y="650"/>
                  </a:lnTo>
                  <a:lnTo>
                    <a:pt x="760" y="655"/>
                  </a:lnTo>
                  <a:lnTo>
                    <a:pt x="757" y="653"/>
                  </a:lnTo>
                  <a:lnTo>
                    <a:pt x="754" y="653"/>
                  </a:lnTo>
                  <a:lnTo>
                    <a:pt x="749" y="650"/>
                  </a:lnTo>
                  <a:lnTo>
                    <a:pt x="746" y="648"/>
                  </a:lnTo>
                  <a:lnTo>
                    <a:pt x="738" y="645"/>
                  </a:lnTo>
                  <a:lnTo>
                    <a:pt x="735" y="645"/>
                  </a:lnTo>
                  <a:lnTo>
                    <a:pt x="733" y="644"/>
                  </a:lnTo>
                  <a:lnTo>
                    <a:pt x="723" y="647"/>
                  </a:lnTo>
                  <a:lnTo>
                    <a:pt x="719" y="652"/>
                  </a:lnTo>
                  <a:lnTo>
                    <a:pt x="715" y="653"/>
                  </a:lnTo>
                  <a:lnTo>
                    <a:pt x="711" y="653"/>
                  </a:lnTo>
                  <a:lnTo>
                    <a:pt x="706" y="649"/>
                  </a:lnTo>
                  <a:lnTo>
                    <a:pt x="706" y="645"/>
                  </a:lnTo>
                  <a:lnTo>
                    <a:pt x="712" y="635"/>
                  </a:lnTo>
                  <a:lnTo>
                    <a:pt x="715" y="633"/>
                  </a:lnTo>
                  <a:lnTo>
                    <a:pt x="717" y="631"/>
                  </a:lnTo>
                  <a:lnTo>
                    <a:pt x="719" y="628"/>
                  </a:lnTo>
                  <a:lnTo>
                    <a:pt x="722" y="628"/>
                  </a:lnTo>
                  <a:lnTo>
                    <a:pt x="722" y="623"/>
                  </a:lnTo>
                  <a:lnTo>
                    <a:pt x="723" y="620"/>
                  </a:lnTo>
                  <a:lnTo>
                    <a:pt x="727" y="615"/>
                  </a:lnTo>
                  <a:lnTo>
                    <a:pt x="738" y="604"/>
                  </a:lnTo>
                  <a:lnTo>
                    <a:pt x="737" y="602"/>
                  </a:lnTo>
                  <a:lnTo>
                    <a:pt x="742" y="602"/>
                  </a:lnTo>
                  <a:lnTo>
                    <a:pt x="748" y="597"/>
                  </a:lnTo>
                  <a:lnTo>
                    <a:pt x="751" y="592"/>
                  </a:lnTo>
                  <a:lnTo>
                    <a:pt x="754" y="588"/>
                  </a:lnTo>
                  <a:lnTo>
                    <a:pt x="756" y="588"/>
                  </a:lnTo>
                  <a:lnTo>
                    <a:pt x="759" y="587"/>
                  </a:lnTo>
                  <a:lnTo>
                    <a:pt x="761" y="583"/>
                  </a:lnTo>
                  <a:lnTo>
                    <a:pt x="764" y="582"/>
                  </a:lnTo>
                  <a:lnTo>
                    <a:pt x="767" y="583"/>
                  </a:lnTo>
                  <a:lnTo>
                    <a:pt x="766" y="580"/>
                  </a:lnTo>
                  <a:lnTo>
                    <a:pt x="770" y="576"/>
                  </a:lnTo>
                  <a:lnTo>
                    <a:pt x="764" y="574"/>
                  </a:lnTo>
                  <a:lnTo>
                    <a:pt x="761" y="573"/>
                  </a:lnTo>
                  <a:lnTo>
                    <a:pt x="760" y="570"/>
                  </a:lnTo>
                  <a:lnTo>
                    <a:pt x="758" y="567"/>
                  </a:lnTo>
                  <a:lnTo>
                    <a:pt x="758" y="563"/>
                  </a:lnTo>
                  <a:lnTo>
                    <a:pt x="755" y="559"/>
                  </a:lnTo>
                  <a:lnTo>
                    <a:pt x="752" y="560"/>
                  </a:lnTo>
                  <a:lnTo>
                    <a:pt x="750" y="563"/>
                  </a:lnTo>
                  <a:lnTo>
                    <a:pt x="753" y="566"/>
                  </a:lnTo>
                  <a:lnTo>
                    <a:pt x="750" y="567"/>
                  </a:lnTo>
                  <a:lnTo>
                    <a:pt x="751" y="570"/>
                  </a:lnTo>
                  <a:lnTo>
                    <a:pt x="746" y="571"/>
                  </a:lnTo>
                  <a:lnTo>
                    <a:pt x="742" y="569"/>
                  </a:lnTo>
                  <a:lnTo>
                    <a:pt x="739" y="568"/>
                  </a:lnTo>
                  <a:lnTo>
                    <a:pt x="731" y="569"/>
                  </a:lnTo>
                  <a:lnTo>
                    <a:pt x="730" y="560"/>
                  </a:lnTo>
                  <a:lnTo>
                    <a:pt x="728" y="565"/>
                  </a:lnTo>
                  <a:lnTo>
                    <a:pt x="726" y="569"/>
                  </a:lnTo>
                  <a:lnTo>
                    <a:pt x="724" y="570"/>
                  </a:lnTo>
                  <a:lnTo>
                    <a:pt x="718" y="569"/>
                  </a:lnTo>
                  <a:lnTo>
                    <a:pt x="720" y="571"/>
                  </a:lnTo>
                  <a:lnTo>
                    <a:pt x="713" y="576"/>
                  </a:lnTo>
                  <a:lnTo>
                    <a:pt x="711" y="576"/>
                  </a:lnTo>
                  <a:lnTo>
                    <a:pt x="705" y="577"/>
                  </a:lnTo>
                  <a:lnTo>
                    <a:pt x="702" y="577"/>
                  </a:lnTo>
                  <a:lnTo>
                    <a:pt x="693" y="583"/>
                  </a:lnTo>
                  <a:lnTo>
                    <a:pt x="691" y="586"/>
                  </a:lnTo>
                  <a:lnTo>
                    <a:pt x="688" y="587"/>
                  </a:lnTo>
                  <a:lnTo>
                    <a:pt x="675" y="587"/>
                  </a:lnTo>
                  <a:lnTo>
                    <a:pt x="672" y="587"/>
                  </a:lnTo>
                  <a:lnTo>
                    <a:pt x="671" y="585"/>
                  </a:lnTo>
                  <a:lnTo>
                    <a:pt x="671" y="582"/>
                  </a:lnTo>
                  <a:lnTo>
                    <a:pt x="668" y="582"/>
                  </a:lnTo>
                  <a:lnTo>
                    <a:pt x="663" y="582"/>
                  </a:lnTo>
                  <a:lnTo>
                    <a:pt x="658" y="580"/>
                  </a:lnTo>
                  <a:lnTo>
                    <a:pt x="654" y="580"/>
                  </a:lnTo>
                  <a:lnTo>
                    <a:pt x="651" y="580"/>
                  </a:lnTo>
                  <a:lnTo>
                    <a:pt x="644" y="577"/>
                  </a:lnTo>
                  <a:lnTo>
                    <a:pt x="646" y="580"/>
                  </a:lnTo>
                  <a:lnTo>
                    <a:pt x="641" y="582"/>
                  </a:lnTo>
                  <a:lnTo>
                    <a:pt x="638" y="581"/>
                  </a:lnTo>
                  <a:lnTo>
                    <a:pt x="638" y="578"/>
                  </a:lnTo>
                  <a:lnTo>
                    <a:pt x="644" y="575"/>
                  </a:lnTo>
                  <a:lnTo>
                    <a:pt x="649" y="573"/>
                  </a:lnTo>
                  <a:lnTo>
                    <a:pt x="651" y="568"/>
                  </a:lnTo>
                  <a:lnTo>
                    <a:pt x="648" y="564"/>
                  </a:lnTo>
                  <a:lnTo>
                    <a:pt x="645" y="564"/>
                  </a:lnTo>
                  <a:lnTo>
                    <a:pt x="642" y="565"/>
                  </a:lnTo>
                  <a:lnTo>
                    <a:pt x="633" y="564"/>
                  </a:lnTo>
                  <a:lnTo>
                    <a:pt x="629" y="564"/>
                  </a:lnTo>
                  <a:lnTo>
                    <a:pt x="627" y="567"/>
                  </a:lnTo>
                  <a:lnTo>
                    <a:pt x="628" y="571"/>
                  </a:lnTo>
                  <a:lnTo>
                    <a:pt x="626" y="568"/>
                  </a:lnTo>
                  <a:lnTo>
                    <a:pt x="615" y="562"/>
                  </a:lnTo>
                  <a:lnTo>
                    <a:pt x="618" y="563"/>
                  </a:lnTo>
                  <a:lnTo>
                    <a:pt x="629" y="559"/>
                  </a:lnTo>
                  <a:lnTo>
                    <a:pt x="637" y="560"/>
                  </a:lnTo>
                  <a:lnTo>
                    <a:pt x="643" y="558"/>
                  </a:lnTo>
                  <a:lnTo>
                    <a:pt x="648" y="558"/>
                  </a:lnTo>
                  <a:lnTo>
                    <a:pt x="652" y="556"/>
                  </a:lnTo>
                  <a:lnTo>
                    <a:pt x="660" y="554"/>
                  </a:lnTo>
                  <a:lnTo>
                    <a:pt x="664" y="557"/>
                  </a:lnTo>
                  <a:lnTo>
                    <a:pt x="667" y="556"/>
                  </a:lnTo>
                  <a:lnTo>
                    <a:pt x="669" y="554"/>
                  </a:lnTo>
                  <a:lnTo>
                    <a:pt x="671" y="549"/>
                  </a:lnTo>
                  <a:lnTo>
                    <a:pt x="675" y="541"/>
                  </a:lnTo>
                  <a:lnTo>
                    <a:pt x="678" y="539"/>
                  </a:lnTo>
                  <a:lnTo>
                    <a:pt x="681" y="536"/>
                  </a:lnTo>
                  <a:lnTo>
                    <a:pt x="678" y="537"/>
                  </a:lnTo>
                  <a:lnTo>
                    <a:pt x="669" y="544"/>
                  </a:lnTo>
                  <a:lnTo>
                    <a:pt x="665" y="546"/>
                  </a:lnTo>
                  <a:lnTo>
                    <a:pt x="661" y="545"/>
                  </a:lnTo>
                  <a:lnTo>
                    <a:pt x="658" y="546"/>
                  </a:lnTo>
                  <a:lnTo>
                    <a:pt x="655" y="548"/>
                  </a:lnTo>
                  <a:lnTo>
                    <a:pt x="653" y="550"/>
                  </a:lnTo>
                  <a:lnTo>
                    <a:pt x="651" y="547"/>
                  </a:lnTo>
                  <a:lnTo>
                    <a:pt x="646" y="547"/>
                  </a:lnTo>
                  <a:lnTo>
                    <a:pt x="642" y="544"/>
                  </a:lnTo>
                  <a:lnTo>
                    <a:pt x="640" y="541"/>
                  </a:lnTo>
                  <a:lnTo>
                    <a:pt x="638" y="539"/>
                  </a:lnTo>
                  <a:lnTo>
                    <a:pt x="636" y="536"/>
                  </a:lnTo>
                  <a:lnTo>
                    <a:pt x="635" y="533"/>
                  </a:lnTo>
                  <a:lnTo>
                    <a:pt x="635" y="530"/>
                  </a:lnTo>
                  <a:lnTo>
                    <a:pt x="636" y="527"/>
                  </a:lnTo>
                  <a:lnTo>
                    <a:pt x="636" y="523"/>
                  </a:lnTo>
                  <a:lnTo>
                    <a:pt x="636" y="520"/>
                  </a:lnTo>
                  <a:lnTo>
                    <a:pt x="631" y="520"/>
                  </a:lnTo>
                  <a:lnTo>
                    <a:pt x="631" y="515"/>
                  </a:lnTo>
                  <a:lnTo>
                    <a:pt x="626" y="515"/>
                  </a:lnTo>
                  <a:lnTo>
                    <a:pt x="624" y="510"/>
                  </a:lnTo>
                  <a:lnTo>
                    <a:pt x="622" y="506"/>
                  </a:lnTo>
                  <a:lnTo>
                    <a:pt x="620" y="505"/>
                  </a:lnTo>
                  <a:lnTo>
                    <a:pt x="618" y="502"/>
                  </a:lnTo>
                  <a:lnTo>
                    <a:pt x="616" y="500"/>
                  </a:lnTo>
                  <a:lnTo>
                    <a:pt x="612" y="499"/>
                  </a:lnTo>
                  <a:lnTo>
                    <a:pt x="611" y="496"/>
                  </a:lnTo>
                  <a:lnTo>
                    <a:pt x="612" y="500"/>
                  </a:lnTo>
                  <a:lnTo>
                    <a:pt x="616" y="500"/>
                  </a:lnTo>
                  <a:lnTo>
                    <a:pt x="618" y="506"/>
                  </a:lnTo>
                  <a:lnTo>
                    <a:pt x="621" y="507"/>
                  </a:lnTo>
                  <a:lnTo>
                    <a:pt x="623" y="510"/>
                  </a:lnTo>
                  <a:lnTo>
                    <a:pt x="623" y="516"/>
                  </a:lnTo>
                  <a:lnTo>
                    <a:pt x="627" y="515"/>
                  </a:lnTo>
                  <a:lnTo>
                    <a:pt x="628" y="519"/>
                  </a:lnTo>
                  <a:lnTo>
                    <a:pt x="629" y="522"/>
                  </a:lnTo>
                  <a:lnTo>
                    <a:pt x="631" y="521"/>
                  </a:lnTo>
                  <a:lnTo>
                    <a:pt x="634" y="525"/>
                  </a:lnTo>
                  <a:lnTo>
                    <a:pt x="633" y="529"/>
                  </a:lnTo>
                  <a:lnTo>
                    <a:pt x="630" y="531"/>
                  </a:lnTo>
                  <a:lnTo>
                    <a:pt x="630" y="536"/>
                  </a:lnTo>
                  <a:lnTo>
                    <a:pt x="634" y="538"/>
                  </a:lnTo>
                  <a:lnTo>
                    <a:pt x="636" y="543"/>
                  </a:lnTo>
                  <a:lnTo>
                    <a:pt x="637" y="545"/>
                  </a:lnTo>
                  <a:lnTo>
                    <a:pt x="635" y="549"/>
                  </a:lnTo>
                  <a:lnTo>
                    <a:pt x="631" y="551"/>
                  </a:lnTo>
                  <a:lnTo>
                    <a:pt x="629" y="551"/>
                  </a:lnTo>
                  <a:lnTo>
                    <a:pt x="622" y="551"/>
                  </a:lnTo>
                  <a:lnTo>
                    <a:pt x="618" y="552"/>
                  </a:lnTo>
                  <a:lnTo>
                    <a:pt x="617" y="557"/>
                  </a:lnTo>
                  <a:lnTo>
                    <a:pt x="614" y="556"/>
                  </a:lnTo>
                  <a:lnTo>
                    <a:pt x="612" y="557"/>
                  </a:lnTo>
                  <a:lnTo>
                    <a:pt x="611" y="553"/>
                  </a:lnTo>
                  <a:lnTo>
                    <a:pt x="612" y="546"/>
                  </a:lnTo>
                  <a:lnTo>
                    <a:pt x="612" y="543"/>
                  </a:lnTo>
                  <a:lnTo>
                    <a:pt x="614" y="537"/>
                  </a:lnTo>
                  <a:lnTo>
                    <a:pt x="613" y="540"/>
                  </a:lnTo>
                  <a:lnTo>
                    <a:pt x="610" y="544"/>
                  </a:lnTo>
                  <a:lnTo>
                    <a:pt x="608" y="545"/>
                  </a:lnTo>
                  <a:lnTo>
                    <a:pt x="605" y="542"/>
                  </a:lnTo>
                  <a:lnTo>
                    <a:pt x="606" y="546"/>
                  </a:lnTo>
                  <a:lnTo>
                    <a:pt x="610" y="547"/>
                  </a:lnTo>
                  <a:lnTo>
                    <a:pt x="609" y="551"/>
                  </a:lnTo>
                  <a:lnTo>
                    <a:pt x="608" y="557"/>
                  </a:lnTo>
                  <a:lnTo>
                    <a:pt x="604" y="561"/>
                  </a:lnTo>
                  <a:lnTo>
                    <a:pt x="600" y="562"/>
                  </a:lnTo>
                  <a:lnTo>
                    <a:pt x="598" y="562"/>
                  </a:lnTo>
                  <a:lnTo>
                    <a:pt x="593" y="563"/>
                  </a:lnTo>
                  <a:lnTo>
                    <a:pt x="589" y="565"/>
                  </a:lnTo>
                  <a:lnTo>
                    <a:pt x="586" y="566"/>
                  </a:lnTo>
                  <a:lnTo>
                    <a:pt x="583" y="568"/>
                  </a:lnTo>
                  <a:lnTo>
                    <a:pt x="581" y="571"/>
                  </a:lnTo>
                  <a:lnTo>
                    <a:pt x="576" y="575"/>
                  </a:lnTo>
                  <a:lnTo>
                    <a:pt x="572" y="575"/>
                  </a:lnTo>
                  <a:lnTo>
                    <a:pt x="570" y="579"/>
                  </a:lnTo>
                  <a:lnTo>
                    <a:pt x="572" y="583"/>
                  </a:lnTo>
                  <a:lnTo>
                    <a:pt x="574" y="586"/>
                  </a:lnTo>
                  <a:lnTo>
                    <a:pt x="574" y="590"/>
                  </a:lnTo>
                  <a:lnTo>
                    <a:pt x="572" y="595"/>
                  </a:lnTo>
                  <a:lnTo>
                    <a:pt x="568" y="597"/>
                  </a:lnTo>
                  <a:lnTo>
                    <a:pt x="570" y="599"/>
                  </a:lnTo>
                  <a:lnTo>
                    <a:pt x="570" y="605"/>
                  </a:lnTo>
                  <a:lnTo>
                    <a:pt x="567" y="612"/>
                  </a:lnTo>
                  <a:lnTo>
                    <a:pt x="567" y="615"/>
                  </a:lnTo>
                  <a:lnTo>
                    <a:pt x="565" y="618"/>
                  </a:lnTo>
                  <a:lnTo>
                    <a:pt x="565" y="622"/>
                  </a:lnTo>
                  <a:lnTo>
                    <a:pt x="558" y="634"/>
                  </a:lnTo>
                  <a:lnTo>
                    <a:pt x="554" y="645"/>
                  </a:lnTo>
                  <a:lnTo>
                    <a:pt x="551" y="650"/>
                  </a:lnTo>
                  <a:lnTo>
                    <a:pt x="548" y="654"/>
                  </a:lnTo>
                  <a:lnTo>
                    <a:pt x="546" y="648"/>
                  </a:lnTo>
                  <a:lnTo>
                    <a:pt x="545" y="653"/>
                  </a:lnTo>
                  <a:lnTo>
                    <a:pt x="543" y="656"/>
                  </a:lnTo>
                  <a:lnTo>
                    <a:pt x="540" y="654"/>
                  </a:lnTo>
                  <a:lnTo>
                    <a:pt x="537" y="655"/>
                  </a:lnTo>
                  <a:lnTo>
                    <a:pt x="537" y="659"/>
                  </a:lnTo>
                  <a:lnTo>
                    <a:pt x="535" y="660"/>
                  </a:lnTo>
                  <a:lnTo>
                    <a:pt x="536" y="662"/>
                  </a:lnTo>
                  <a:lnTo>
                    <a:pt x="537" y="666"/>
                  </a:lnTo>
                  <a:lnTo>
                    <a:pt x="534" y="664"/>
                  </a:lnTo>
                  <a:lnTo>
                    <a:pt x="532" y="665"/>
                  </a:lnTo>
                  <a:lnTo>
                    <a:pt x="529" y="667"/>
                  </a:lnTo>
                  <a:lnTo>
                    <a:pt x="530" y="670"/>
                  </a:lnTo>
                  <a:lnTo>
                    <a:pt x="533" y="671"/>
                  </a:lnTo>
                  <a:lnTo>
                    <a:pt x="532" y="674"/>
                  </a:lnTo>
                  <a:lnTo>
                    <a:pt x="530" y="675"/>
                  </a:lnTo>
                  <a:lnTo>
                    <a:pt x="528" y="678"/>
                  </a:lnTo>
                  <a:lnTo>
                    <a:pt x="526" y="675"/>
                  </a:lnTo>
                  <a:lnTo>
                    <a:pt x="522" y="673"/>
                  </a:lnTo>
                  <a:lnTo>
                    <a:pt x="521" y="668"/>
                  </a:lnTo>
                  <a:lnTo>
                    <a:pt x="521" y="665"/>
                  </a:lnTo>
                  <a:lnTo>
                    <a:pt x="518" y="663"/>
                  </a:lnTo>
                  <a:lnTo>
                    <a:pt x="518" y="666"/>
                  </a:lnTo>
                  <a:lnTo>
                    <a:pt x="518" y="669"/>
                  </a:lnTo>
                  <a:lnTo>
                    <a:pt x="519" y="672"/>
                  </a:lnTo>
                  <a:lnTo>
                    <a:pt x="518" y="675"/>
                  </a:lnTo>
                  <a:lnTo>
                    <a:pt x="518" y="678"/>
                  </a:lnTo>
                  <a:lnTo>
                    <a:pt x="519" y="683"/>
                  </a:lnTo>
                  <a:lnTo>
                    <a:pt x="520" y="687"/>
                  </a:lnTo>
                  <a:lnTo>
                    <a:pt x="523" y="687"/>
                  </a:lnTo>
                  <a:lnTo>
                    <a:pt x="525" y="686"/>
                  </a:lnTo>
                  <a:lnTo>
                    <a:pt x="527" y="684"/>
                  </a:lnTo>
                  <a:lnTo>
                    <a:pt x="525" y="689"/>
                  </a:lnTo>
                  <a:lnTo>
                    <a:pt x="524" y="693"/>
                  </a:lnTo>
                  <a:lnTo>
                    <a:pt x="524" y="697"/>
                  </a:lnTo>
                  <a:lnTo>
                    <a:pt x="527" y="694"/>
                  </a:lnTo>
                  <a:lnTo>
                    <a:pt x="530" y="695"/>
                  </a:lnTo>
                  <a:lnTo>
                    <a:pt x="532" y="694"/>
                  </a:lnTo>
                  <a:lnTo>
                    <a:pt x="533" y="697"/>
                  </a:lnTo>
                  <a:lnTo>
                    <a:pt x="534" y="701"/>
                  </a:lnTo>
                  <a:lnTo>
                    <a:pt x="536" y="706"/>
                  </a:lnTo>
                  <a:lnTo>
                    <a:pt x="536" y="709"/>
                  </a:lnTo>
                  <a:lnTo>
                    <a:pt x="536" y="712"/>
                  </a:lnTo>
                  <a:lnTo>
                    <a:pt x="535" y="716"/>
                  </a:lnTo>
                  <a:lnTo>
                    <a:pt x="532" y="717"/>
                  </a:lnTo>
                  <a:lnTo>
                    <a:pt x="531" y="715"/>
                  </a:lnTo>
                  <a:lnTo>
                    <a:pt x="532" y="712"/>
                  </a:lnTo>
                  <a:lnTo>
                    <a:pt x="530" y="709"/>
                  </a:lnTo>
                  <a:lnTo>
                    <a:pt x="529" y="706"/>
                  </a:lnTo>
                  <a:lnTo>
                    <a:pt x="522" y="703"/>
                  </a:lnTo>
                  <a:lnTo>
                    <a:pt x="513" y="702"/>
                  </a:lnTo>
                  <a:lnTo>
                    <a:pt x="508" y="703"/>
                  </a:lnTo>
                  <a:lnTo>
                    <a:pt x="505" y="703"/>
                  </a:lnTo>
                  <a:lnTo>
                    <a:pt x="502" y="706"/>
                  </a:lnTo>
                  <a:lnTo>
                    <a:pt x="499" y="707"/>
                  </a:lnTo>
                  <a:lnTo>
                    <a:pt x="496" y="710"/>
                  </a:lnTo>
                  <a:lnTo>
                    <a:pt x="494" y="713"/>
                  </a:lnTo>
                  <a:lnTo>
                    <a:pt x="492" y="714"/>
                  </a:lnTo>
                  <a:lnTo>
                    <a:pt x="489" y="718"/>
                  </a:lnTo>
                  <a:lnTo>
                    <a:pt x="485" y="722"/>
                  </a:lnTo>
                  <a:lnTo>
                    <a:pt x="483" y="723"/>
                  </a:lnTo>
                  <a:lnTo>
                    <a:pt x="479" y="722"/>
                  </a:lnTo>
                  <a:lnTo>
                    <a:pt x="476" y="721"/>
                  </a:lnTo>
                  <a:lnTo>
                    <a:pt x="475" y="725"/>
                  </a:lnTo>
                  <a:lnTo>
                    <a:pt x="474" y="728"/>
                  </a:lnTo>
                  <a:lnTo>
                    <a:pt x="471" y="732"/>
                  </a:lnTo>
                  <a:lnTo>
                    <a:pt x="463" y="732"/>
                  </a:lnTo>
                  <a:lnTo>
                    <a:pt x="457" y="731"/>
                  </a:lnTo>
                  <a:lnTo>
                    <a:pt x="451" y="731"/>
                  </a:lnTo>
                  <a:lnTo>
                    <a:pt x="447" y="730"/>
                  </a:lnTo>
                  <a:lnTo>
                    <a:pt x="444" y="728"/>
                  </a:lnTo>
                  <a:lnTo>
                    <a:pt x="441" y="723"/>
                  </a:lnTo>
                  <a:lnTo>
                    <a:pt x="439" y="720"/>
                  </a:lnTo>
                  <a:lnTo>
                    <a:pt x="435" y="720"/>
                  </a:lnTo>
                  <a:lnTo>
                    <a:pt x="434" y="717"/>
                  </a:lnTo>
                  <a:lnTo>
                    <a:pt x="437" y="713"/>
                  </a:lnTo>
                  <a:lnTo>
                    <a:pt x="442" y="712"/>
                  </a:lnTo>
                  <a:lnTo>
                    <a:pt x="447" y="712"/>
                  </a:lnTo>
                  <a:lnTo>
                    <a:pt x="451" y="711"/>
                  </a:lnTo>
                  <a:lnTo>
                    <a:pt x="451" y="706"/>
                  </a:lnTo>
                  <a:lnTo>
                    <a:pt x="453" y="703"/>
                  </a:lnTo>
                  <a:lnTo>
                    <a:pt x="451" y="700"/>
                  </a:lnTo>
                  <a:lnTo>
                    <a:pt x="448" y="698"/>
                  </a:lnTo>
                  <a:lnTo>
                    <a:pt x="448" y="694"/>
                  </a:lnTo>
                  <a:lnTo>
                    <a:pt x="451" y="690"/>
                  </a:lnTo>
                  <a:lnTo>
                    <a:pt x="451" y="685"/>
                  </a:lnTo>
                  <a:lnTo>
                    <a:pt x="455" y="684"/>
                  </a:lnTo>
                  <a:lnTo>
                    <a:pt x="456" y="681"/>
                  </a:lnTo>
                  <a:lnTo>
                    <a:pt x="459" y="677"/>
                  </a:lnTo>
                  <a:lnTo>
                    <a:pt x="459" y="673"/>
                  </a:lnTo>
                  <a:lnTo>
                    <a:pt x="457" y="668"/>
                  </a:lnTo>
                  <a:lnTo>
                    <a:pt x="457" y="665"/>
                  </a:lnTo>
                  <a:lnTo>
                    <a:pt x="468" y="659"/>
                  </a:lnTo>
                  <a:lnTo>
                    <a:pt x="467" y="652"/>
                  </a:lnTo>
                  <a:lnTo>
                    <a:pt x="467" y="649"/>
                  </a:lnTo>
                  <a:lnTo>
                    <a:pt x="469" y="643"/>
                  </a:lnTo>
                  <a:lnTo>
                    <a:pt x="468" y="639"/>
                  </a:lnTo>
                  <a:lnTo>
                    <a:pt x="464" y="636"/>
                  </a:lnTo>
                  <a:lnTo>
                    <a:pt x="462" y="634"/>
                  </a:lnTo>
                  <a:lnTo>
                    <a:pt x="462" y="631"/>
                  </a:lnTo>
                  <a:lnTo>
                    <a:pt x="460" y="625"/>
                  </a:lnTo>
                  <a:lnTo>
                    <a:pt x="458" y="621"/>
                  </a:lnTo>
                  <a:lnTo>
                    <a:pt x="458" y="619"/>
                  </a:lnTo>
                  <a:lnTo>
                    <a:pt x="463" y="612"/>
                  </a:lnTo>
                  <a:lnTo>
                    <a:pt x="466" y="610"/>
                  </a:lnTo>
                  <a:lnTo>
                    <a:pt x="470" y="605"/>
                  </a:lnTo>
                  <a:lnTo>
                    <a:pt x="473" y="606"/>
                  </a:lnTo>
                  <a:lnTo>
                    <a:pt x="476" y="615"/>
                  </a:lnTo>
                  <a:lnTo>
                    <a:pt x="475" y="618"/>
                  </a:lnTo>
                  <a:lnTo>
                    <a:pt x="477" y="621"/>
                  </a:lnTo>
                  <a:lnTo>
                    <a:pt x="479" y="617"/>
                  </a:lnTo>
                  <a:lnTo>
                    <a:pt x="480" y="612"/>
                  </a:lnTo>
                  <a:lnTo>
                    <a:pt x="481" y="609"/>
                  </a:lnTo>
                  <a:lnTo>
                    <a:pt x="484" y="612"/>
                  </a:lnTo>
                  <a:lnTo>
                    <a:pt x="489" y="608"/>
                  </a:lnTo>
                  <a:lnTo>
                    <a:pt x="490" y="605"/>
                  </a:lnTo>
                  <a:lnTo>
                    <a:pt x="493" y="607"/>
                  </a:lnTo>
                  <a:lnTo>
                    <a:pt x="493" y="610"/>
                  </a:lnTo>
                  <a:lnTo>
                    <a:pt x="496" y="610"/>
                  </a:lnTo>
                  <a:lnTo>
                    <a:pt x="500" y="613"/>
                  </a:lnTo>
                  <a:lnTo>
                    <a:pt x="503" y="614"/>
                  </a:lnTo>
                  <a:lnTo>
                    <a:pt x="505" y="610"/>
                  </a:lnTo>
                  <a:lnTo>
                    <a:pt x="504" y="608"/>
                  </a:lnTo>
                  <a:lnTo>
                    <a:pt x="507" y="606"/>
                  </a:lnTo>
                  <a:lnTo>
                    <a:pt x="506" y="602"/>
                  </a:lnTo>
                  <a:lnTo>
                    <a:pt x="512" y="606"/>
                  </a:lnTo>
                  <a:lnTo>
                    <a:pt x="514" y="608"/>
                  </a:lnTo>
                  <a:lnTo>
                    <a:pt x="515" y="610"/>
                  </a:lnTo>
                  <a:lnTo>
                    <a:pt x="518" y="612"/>
                  </a:lnTo>
                  <a:lnTo>
                    <a:pt x="519" y="609"/>
                  </a:lnTo>
                  <a:lnTo>
                    <a:pt x="529" y="606"/>
                  </a:lnTo>
                  <a:lnTo>
                    <a:pt x="531" y="605"/>
                  </a:lnTo>
                  <a:lnTo>
                    <a:pt x="533" y="599"/>
                  </a:lnTo>
                  <a:lnTo>
                    <a:pt x="530" y="600"/>
                  </a:lnTo>
                  <a:lnTo>
                    <a:pt x="525" y="598"/>
                  </a:lnTo>
                  <a:lnTo>
                    <a:pt x="524" y="595"/>
                  </a:lnTo>
                  <a:lnTo>
                    <a:pt x="521" y="596"/>
                  </a:lnTo>
                  <a:lnTo>
                    <a:pt x="518" y="595"/>
                  </a:lnTo>
                  <a:lnTo>
                    <a:pt x="516" y="592"/>
                  </a:lnTo>
                  <a:lnTo>
                    <a:pt x="518" y="591"/>
                  </a:lnTo>
                  <a:lnTo>
                    <a:pt x="518" y="588"/>
                  </a:lnTo>
                  <a:lnTo>
                    <a:pt x="516" y="585"/>
                  </a:lnTo>
                  <a:lnTo>
                    <a:pt x="516" y="582"/>
                  </a:lnTo>
                  <a:lnTo>
                    <a:pt x="515" y="576"/>
                  </a:lnTo>
                  <a:lnTo>
                    <a:pt x="513" y="572"/>
                  </a:lnTo>
                  <a:lnTo>
                    <a:pt x="512" y="569"/>
                  </a:lnTo>
                  <a:lnTo>
                    <a:pt x="509" y="569"/>
                  </a:lnTo>
                  <a:lnTo>
                    <a:pt x="507" y="567"/>
                  </a:lnTo>
                  <a:lnTo>
                    <a:pt x="504" y="566"/>
                  </a:lnTo>
                  <a:lnTo>
                    <a:pt x="500" y="567"/>
                  </a:lnTo>
                  <a:lnTo>
                    <a:pt x="496" y="565"/>
                  </a:lnTo>
                  <a:lnTo>
                    <a:pt x="492" y="564"/>
                  </a:lnTo>
                  <a:lnTo>
                    <a:pt x="489" y="563"/>
                  </a:lnTo>
                  <a:lnTo>
                    <a:pt x="487" y="563"/>
                  </a:lnTo>
                  <a:lnTo>
                    <a:pt x="485" y="560"/>
                  </a:lnTo>
                  <a:lnTo>
                    <a:pt x="484" y="556"/>
                  </a:lnTo>
                  <a:lnTo>
                    <a:pt x="485" y="552"/>
                  </a:lnTo>
                  <a:lnTo>
                    <a:pt x="484" y="549"/>
                  </a:lnTo>
                  <a:lnTo>
                    <a:pt x="481" y="549"/>
                  </a:lnTo>
                  <a:lnTo>
                    <a:pt x="480" y="552"/>
                  </a:lnTo>
                  <a:lnTo>
                    <a:pt x="477" y="548"/>
                  </a:lnTo>
                  <a:lnTo>
                    <a:pt x="479" y="546"/>
                  </a:lnTo>
                  <a:lnTo>
                    <a:pt x="479" y="542"/>
                  </a:lnTo>
                  <a:lnTo>
                    <a:pt x="478" y="538"/>
                  </a:lnTo>
                  <a:lnTo>
                    <a:pt x="479" y="535"/>
                  </a:lnTo>
                  <a:lnTo>
                    <a:pt x="478" y="531"/>
                  </a:lnTo>
                  <a:lnTo>
                    <a:pt x="476" y="528"/>
                  </a:lnTo>
                  <a:lnTo>
                    <a:pt x="472" y="527"/>
                  </a:lnTo>
                  <a:lnTo>
                    <a:pt x="471" y="531"/>
                  </a:lnTo>
                  <a:lnTo>
                    <a:pt x="469" y="534"/>
                  </a:lnTo>
                  <a:lnTo>
                    <a:pt x="466" y="533"/>
                  </a:lnTo>
                  <a:lnTo>
                    <a:pt x="464" y="531"/>
                  </a:lnTo>
                  <a:lnTo>
                    <a:pt x="463" y="528"/>
                  </a:lnTo>
                  <a:lnTo>
                    <a:pt x="460" y="527"/>
                  </a:lnTo>
                  <a:lnTo>
                    <a:pt x="457" y="524"/>
                  </a:lnTo>
                  <a:lnTo>
                    <a:pt x="454" y="522"/>
                  </a:lnTo>
                  <a:lnTo>
                    <a:pt x="452" y="524"/>
                  </a:lnTo>
                  <a:lnTo>
                    <a:pt x="449" y="523"/>
                  </a:lnTo>
                  <a:lnTo>
                    <a:pt x="447" y="520"/>
                  </a:lnTo>
                  <a:lnTo>
                    <a:pt x="445" y="516"/>
                  </a:lnTo>
                  <a:lnTo>
                    <a:pt x="446" y="511"/>
                  </a:lnTo>
                  <a:lnTo>
                    <a:pt x="447" y="508"/>
                  </a:lnTo>
                  <a:lnTo>
                    <a:pt x="447" y="504"/>
                  </a:lnTo>
                  <a:lnTo>
                    <a:pt x="446" y="501"/>
                  </a:lnTo>
                  <a:lnTo>
                    <a:pt x="445" y="498"/>
                  </a:lnTo>
                  <a:lnTo>
                    <a:pt x="447" y="494"/>
                  </a:lnTo>
                  <a:lnTo>
                    <a:pt x="443" y="493"/>
                  </a:lnTo>
                  <a:lnTo>
                    <a:pt x="442" y="489"/>
                  </a:lnTo>
                  <a:lnTo>
                    <a:pt x="444" y="484"/>
                  </a:lnTo>
                  <a:lnTo>
                    <a:pt x="441" y="483"/>
                  </a:lnTo>
                  <a:lnTo>
                    <a:pt x="438" y="478"/>
                  </a:lnTo>
                  <a:lnTo>
                    <a:pt x="436" y="476"/>
                  </a:lnTo>
                  <a:lnTo>
                    <a:pt x="433" y="475"/>
                  </a:lnTo>
                  <a:lnTo>
                    <a:pt x="430" y="481"/>
                  </a:lnTo>
                  <a:lnTo>
                    <a:pt x="423" y="481"/>
                  </a:lnTo>
                  <a:lnTo>
                    <a:pt x="418" y="477"/>
                  </a:lnTo>
                  <a:lnTo>
                    <a:pt x="416" y="473"/>
                  </a:lnTo>
                  <a:lnTo>
                    <a:pt x="413" y="470"/>
                  </a:lnTo>
                  <a:lnTo>
                    <a:pt x="410" y="468"/>
                  </a:lnTo>
                  <a:lnTo>
                    <a:pt x="407" y="468"/>
                  </a:lnTo>
                  <a:lnTo>
                    <a:pt x="403" y="469"/>
                  </a:lnTo>
                  <a:lnTo>
                    <a:pt x="397" y="468"/>
                  </a:lnTo>
                  <a:lnTo>
                    <a:pt x="394" y="469"/>
                  </a:lnTo>
                  <a:lnTo>
                    <a:pt x="394" y="473"/>
                  </a:lnTo>
                  <a:lnTo>
                    <a:pt x="394" y="476"/>
                  </a:lnTo>
                  <a:lnTo>
                    <a:pt x="391" y="476"/>
                  </a:lnTo>
                  <a:lnTo>
                    <a:pt x="389" y="473"/>
                  </a:lnTo>
                  <a:lnTo>
                    <a:pt x="388" y="469"/>
                  </a:lnTo>
                  <a:lnTo>
                    <a:pt x="386" y="470"/>
                  </a:lnTo>
                  <a:lnTo>
                    <a:pt x="385" y="474"/>
                  </a:lnTo>
                  <a:lnTo>
                    <a:pt x="382" y="471"/>
                  </a:lnTo>
                  <a:lnTo>
                    <a:pt x="384" y="468"/>
                  </a:lnTo>
                  <a:lnTo>
                    <a:pt x="383" y="464"/>
                  </a:lnTo>
                  <a:lnTo>
                    <a:pt x="379" y="465"/>
                  </a:lnTo>
                  <a:lnTo>
                    <a:pt x="376" y="468"/>
                  </a:lnTo>
                  <a:lnTo>
                    <a:pt x="374" y="469"/>
                  </a:lnTo>
                  <a:lnTo>
                    <a:pt x="372" y="466"/>
                  </a:lnTo>
                  <a:lnTo>
                    <a:pt x="369" y="467"/>
                  </a:lnTo>
                  <a:lnTo>
                    <a:pt x="367" y="468"/>
                  </a:lnTo>
                  <a:lnTo>
                    <a:pt x="366" y="464"/>
                  </a:lnTo>
                  <a:lnTo>
                    <a:pt x="364" y="461"/>
                  </a:lnTo>
                  <a:lnTo>
                    <a:pt x="357" y="462"/>
                  </a:lnTo>
                  <a:lnTo>
                    <a:pt x="355" y="461"/>
                  </a:lnTo>
                  <a:lnTo>
                    <a:pt x="350" y="457"/>
                  </a:lnTo>
                  <a:lnTo>
                    <a:pt x="344" y="454"/>
                  </a:lnTo>
                  <a:lnTo>
                    <a:pt x="334" y="456"/>
                  </a:lnTo>
                  <a:lnTo>
                    <a:pt x="332" y="453"/>
                  </a:lnTo>
                  <a:lnTo>
                    <a:pt x="329" y="454"/>
                  </a:lnTo>
                  <a:lnTo>
                    <a:pt x="326" y="455"/>
                  </a:lnTo>
                  <a:lnTo>
                    <a:pt x="322" y="462"/>
                  </a:lnTo>
                  <a:lnTo>
                    <a:pt x="318" y="461"/>
                  </a:lnTo>
                  <a:lnTo>
                    <a:pt x="315" y="463"/>
                  </a:lnTo>
                  <a:lnTo>
                    <a:pt x="313" y="468"/>
                  </a:lnTo>
                  <a:lnTo>
                    <a:pt x="302" y="469"/>
                  </a:lnTo>
                  <a:lnTo>
                    <a:pt x="299" y="469"/>
                  </a:lnTo>
                  <a:lnTo>
                    <a:pt x="300" y="472"/>
                  </a:lnTo>
                  <a:lnTo>
                    <a:pt x="298" y="473"/>
                  </a:lnTo>
                  <a:lnTo>
                    <a:pt x="295" y="474"/>
                  </a:lnTo>
                  <a:lnTo>
                    <a:pt x="290" y="472"/>
                  </a:lnTo>
                  <a:lnTo>
                    <a:pt x="288" y="472"/>
                  </a:lnTo>
                  <a:lnTo>
                    <a:pt x="286" y="477"/>
                  </a:lnTo>
                  <a:lnTo>
                    <a:pt x="287" y="480"/>
                  </a:lnTo>
                  <a:lnTo>
                    <a:pt x="284" y="482"/>
                  </a:lnTo>
                  <a:lnTo>
                    <a:pt x="281" y="480"/>
                  </a:lnTo>
                  <a:lnTo>
                    <a:pt x="278" y="484"/>
                  </a:lnTo>
                  <a:lnTo>
                    <a:pt x="278" y="488"/>
                  </a:lnTo>
                  <a:lnTo>
                    <a:pt x="268" y="493"/>
                  </a:lnTo>
                  <a:lnTo>
                    <a:pt x="264" y="494"/>
                  </a:lnTo>
                  <a:lnTo>
                    <a:pt x="261" y="496"/>
                  </a:lnTo>
                  <a:lnTo>
                    <a:pt x="259" y="497"/>
                  </a:lnTo>
                  <a:lnTo>
                    <a:pt x="259" y="500"/>
                  </a:lnTo>
                  <a:lnTo>
                    <a:pt x="259" y="505"/>
                  </a:lnTo>
                  <a:lnTo>
                    <a:pt x="259" y="508"/>
                  </a:lnTo>
                  <a:lnTo>
                    <a:pt x="258" y="511"/>
                  </a:lnTo>
                  <a:lnTo>
                    <a:pt x="256" y="514"/>
                  </a:lnTo>
                  <a:lnTo>
                    <a:pt x="256" y="517"/>
                  </a:lnTo>
                  <a:lnTo>
                    <a:pt x="253" y="520"/>
                  </a:lnTo>
                  <a:lnTo>
                    <a:pt x="247" y="521"/>
                  </a:lnTo>
                  <a:lnTo>
                    <a:pt x="243" y="523"/>
                  </a:lnTo>
                  <a:lnTo>
                    <a:pt x="240" y="524"/>
                  </a:lnTo>
                  <a:lnTo>
                    <a:pt x="238" y="525"/>
                  </a:lnTo>
                  <a:lnTo>
                    <a:pt x="235" y="526"/>
                  </a:lnTo>
                  <a:lnTo>
                    <a:pt x="231" y="529"/>
                  </a:lnTo>
                  <a:lnTo>
                    <a:pt x="202" y="539"/>
                  </a:lnTo>
                  <a:lnTo>
                    <a:pt x="200" y="541"/>
                  </a:lnTo>
                  <a:lnTo>
                    <a:pt x="195" y="552"/>
                  </a:lnTo>
                  <a:lnTo>
                    <a:pt x="193" y="556"/>
                  </a:lnTo>
                  <a:lnTo>
                    <a:pt x="189" y="558"/>
                  </a:lnTo>
                  <a:lnTo>
                    <a:pt x="182" y="561"/>
                  </a:lnTo>
                  <a:lnTo>
                    <a:pt x="179" y="559"/>
                  </a:lnTo>
                  <a:lnTo>
                    <a:pt x="176" y="554"/>
                  </a:lnTo>
                  <a:lnTo>
                    <a:pt x="169" y="552"/>
                  </a:lnTo>
                  <a:lnTo>
                    <a:pt x="166" y="550"/>
                  </a:lnTo>
                  <a:lnTo>
                    <a:pt x="164" y="546"/>
                  </a:lnTo>
                  <a:lnTo>
                    <a:pt x="161" y="545"/>
                  </a:lnTo>
                  <a:lnTo>
                    <a:pt x="158" y="543"/>
                  </a:lnTo>
                  <a:lnTo>
                    <a:pt x="153" y="544"/>
                  </a:lnTo>
                  <a:lnTo>
                    <a:pt x="150" y="544"/>
                  </a:lnTo>
                  <a:lnTo>
                    <a:pt x="147" y="545"/>
                  </a:lnTo>
                  <a:lnTo>
                    <a:pt x="145" y="548"/>
                  </a:lnTo>
                  <a:lnTo>
                    <a:pt x="142" y="548"/>
                  </a:lnTo>
                  <a:lnTo>
                    <a:pt x="139" y="551"/>
                  </a:lnTo>
                  <a:lnTo>
                    <a:pt x="134" y="551"/>
                  </a:lnTo>
                  <a:lnTo>
                    <a:pt x="130" y="549"/>
                  </a:lnTo>
                  <a:lnTo>
                    <a:pt x="125" y="549"/>
                  </a:lnTo>
                  <a:lnTo>
                    <a:pt x="121" y="548"/>
                  </a:lnTo>
                  <a:lnTo>
                    <a:pt x="116" y="552"/>
                  </a:lnTo>
                  <a:lnTo>
                    <a:pt x="110" y="549"/>
                  </a:lnTo>
                  <a:lnTo>
                    <a:pt x="105" y="549"/>
                  </a:lnTo>
                  <a:lnTo>
                    <a:pt x="101" y="549"/>
                  </a:lnTo>
                  <a:lnTo>
                    <a:pt x="97" y="549"/>
                  </a:lnTo>
                  <a:lnTo>
                    <a:pt x="93" y="550"/>
                  </a:lnTo>
                  <a:lnTo>
                    <a:pt x="91" y="553"/>
                  </a:lnTo>
                  <a:lnTo>
                    <a:pt x="86" y="552"/>
                  </a:lnTo>
                  <a:lnTo>
                    <a:pt x="83" y="553"/>
                  </a:lnTo>
                  <a:lnTo>
                    <a:pt x="78" y="549"/>
                  </a:lnTo>
                  <a:lnTo>
                    <a:pt x="75" y="547"/>
                  </a:lnTo>
                  <a:lnTo>
                    <a:pt x="70" y="545"/>
                  </a:lnTo>
                  <a:lnTo>
                    <a:pt x="67" y="546"/>
                  </a:lnTo>
                  <a:lnTo>
                    <a:pt x="66" y="553"/>
                  </a:lnTo>
                  <a:lnTo>
                    <a:pt x="63" y="558"/>
                  </a:lnTo>
                  <a:lnTo>
                    <a:pt x="60" y="558"/>
                  </a:lnTo>
                  <a:lnTo>
                    <a:pt x="57" y="557"/>
                  </a:lnTo>
                  <a:lnTo>
                    <a:pt x="57" y="560"/>
                  </a:lnTo>
                  <a:lnTo>
                    <a:pt x="55" y="563"/>
                  </a:lnTo>
                  <a:lnTo>
                    <a:pt x="52" y="562"/>
                  </a:lnTo>
                  <a:lnTo>
                    <a:pt x="52" y="558"/>
                  </a:lnTo>
                  <a:lnTo>
                    <a:pt x="52" y="553"/>
                  </a:lnTo>
                  <a:lnTo>
                    <a:pt x="47" y="550"/>
                  </a:lnTo>
                  <a:lnTo>
                    <a:pt x="45" y="549"/>
                  </a:lnTo>
                  <a:lnTo>
                    <a:pt x="42" y="549"/>
                  </a:lnTo>
                  <a:lnTo>
                    <a:pt x="36" y="551"/>
                  </a:lnTo>
                  <a:lnTo>
                    <a:pt x="33" y="549"/>
                  </a:lnTo>
                  <a:lnTo>
                    <a:pt x="32" y="546"/>
                  </a:lnTo>
                  <a:lnTo>
                    <a:pt x="25" y="539"/>
                  </a:lnTo>
                  <a:lnTo>
                    <a:pt x="22" y="540"/>
                  </a:lnTo>
                  <a:lnTo>
                    <a:pt x="20" y="540"/>
                  </a:lnTo>
                  <a:lnTo>
                    <a:pt x="18" y="541"/>
                  </a:lnTo>
                  <a:lnTo>
                    <a:pt x="14" y="537"/>
                  </a:lnTo>
                  <a:lnTo>
                    <a:pt x="13" y="534"/>
                  </a:lnTo>
                  <a:lnTo>
                    <a:pt x="12" y="531"/>
                  </a:lnTo>
                  <a:lnTo>
                    <a:pt x="10" y="527"/>
                  </a:lnTo>
                  <a:lnTo>
                    <a:pt x="8" y="526"/>
                  </a:lnTo>
                  <a:lnTo>
                    <a:pt x="4" y="527"/>
                  </a:lnTo>
                  <a:lnTo>
                    <a:pt x="1" y="522"/>
                  </a:lnTo>
                  <a:lnTo>
                    <a:pt x="1" y="519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4" y="508"/>
                  </a:lnTo>
                  <a:lnTo>
                    <a:pt x="5" y="505"/>
                  </a:lnTo>
                  <a:lnTo>
                    <a:pt x="7" y="503"/>
                  </a:lnTo>
                  <a:lnTo>
                    <a:pt x="9" y="499"/>
                  </a:lnTo>
                  <a:lnTo>
                    <a:pt x="8" y="496"/>
                  </a:lnTo>
                  <a:lnTo>
                    <a:pt x="10" y="492"/>
                  </a:lnTo>
                  <a:lnTo>
                    <a:pt x="9" y="484"/>
                  </a:lnTo>
                  <a:lnTo>
                    <a:pt x="11" y="481"/>
                  </a:lnTo>
                  <a:lnTo>
                    <a:pt x="12" y="477"/>
                  </a:lnTo>
                  <a:lnTo>
                    <a:pt x="12" y="473"/>
                  </a:lnTo>
                  <a:lnTo>
                    <a:pt x="15" y="471"/>
                  </a:lnTo>
                  <a:lnTo>
                    <a:pt x="16" y="466"/>
                  </a:lnTo>
                  <a:lnTo>
                    <a:pt x="16" y="462"/>
                  </a:lnTo>
                  <a:lnTo>
                    <a:pt x="18" y="461"/>
                  </a:lnTo>
                  <a:lnTo>
                    <a:pt x="21" y="463"/>
                  </a:lnTo>
                  <a:lnTo>
                    <a:pt x="25" y="464"/>
                  </a:lnTo>
                  <a:lnTo>
                    <a:pt x="27" y="463"/>
                  </a:lnTo>
                  <a:lnTo>
                    <a:pt x="30" y="463"/>
                  </a:lnTo>
                  <a:lnTo>
                    <a:pt x="33" y="465"/>
                  </a:lnTo>
                  <a:lnTo>
                    <a:pt x="36" y="464"/>
                  </a:lnTo>
                  <a:lnTo>
                    <a:pt x="34" y="461"/>
                  </a:lnTo>
                  <a:lnTo>
                    <a:pt x="34" y="457"/>
                  </a:lnTo>
                  <a:lnTo>
                    <a:pt x="30" y="456"/>
                  </a:lnTo>
                  <a:lnTo>
                    <a:pt x="26" y="452"/>
                  </a:lnTo>
                  <a:lnTo>
                    <a:pt x="24" y="452"/>
                  </a:lnTo>
                  <a:lnTo>
                    <a:pt x="24" y="446"/>
                  </a:lnTo>
                  <a:lnTo>
                    <a:pt x="25" y="443"/>
                  </a:lnTo>
                  <a:lnTo>
                    <a:pt x="22" y="434"/>
                  </a:lnTo>
                  <a:lnTo>
                    <a:pt x="20" y="431"/>
                  </a:lnTo>
                  <a:lnTo>
                    <a:pt x="18" y="428"/>
                  </a:lnTo>
                  <a:lnTo>
                    <a:pt x="17" y="423"/>
                  </a:lnTo>
                  <a:lnTo>
                    <a:pt x="15" y="420"/>
                  </a:lnTo>
                  <a:lnTo>
                    <a:pt x="16" y="415"/>
                  </a:lnTo>
                  <a:lnTo>
                    <a:pt x="19" y="408"/>
                  </a:lnTo>
                  <a:lnTo>
                    <a:pt x="20" y="406"/>
                  </a:lnTo>
                  <a:lnTo>
                    <a:pt x="26" y="395"/>
                  </a:lnTo>
                  <a:lnTo>
                    <a:pt x="29" y="389"/>
                  </a:lnTo>
                  <a:lnTo>
                    <a:pt x="31" y="386"/>
                  </a:lnTo>
                  <a:lnTo>
                    <a:pt x="35" y="375"/>
                  </a:lnTo>
                  <a:lnTo>
                    <a:pt x="37" y="372"/>
                  </a:lnTo>
                  <a:lnTo>
                    <a:pt x="40" y="367"/>
                  </a:lnTo>
                  <a:lnTo>
                    <a:pt x="52" y="349"/>
                  </a:lnTo>
                  <a:lnTo>
                    <a:pt x="54" y="347"/>
                  </a:lnTo>
                  <a:lnTo>
                    <a:pt x="57" y="344"/>
                  </a:lnTo>
                  <a:lnTo>
                    <a:pt x="62" y="336"/>
                  </a:lnTo>
                  <a:lnTo>
                    <a:pt x="63" y="332"/>
                  </a:lnTo>
                  <a:lnTo>
                    <a:pt x="65" y="329"/>
                  </a:lnTo>
                  <a:lnTo>
                    <a:pt x="77" y="326"/>
                  </a:lnTo>
                  <a:lnTo>
                    <a:pt x="80" y="324"/>
                  </a:lnTo>
                  <a:lnTo>
                    <a:pt x="80" y="321"/>
                  </a:lnTo>
                  <a:lnTo>
                    <a:pt x="80" y="316"/>
                  </a:lnTo>
                  <a:lnTo>
                    <a:pt x="84" y="312"/>
                  </a:lnTo>
                  <a:lnTo>
                    <a:pt x="84" y="309"/>
                  </a:lnTo>
                  <a:lnTo>
                    <a:pt x="83" y="302"/>
                  </a:lnTo>
                  <a:lnTo>
                    <a:pt x="81" y="299"/>
                  </a:lnTo>
                  <a:lnTo>
                    <a:pt x="80" y="295"/>
                  </a:lnTo>
                  <a:lnTo>
                    <a:pt x="77" y="294"/>
                  </a:lnTo>
                  <a:lnTo>
                    <a:pt x="76" y="291"/>
                  </a:lnTo>
                  <a:lnTo>
                    <a:pt x="72" y="290"/>
                  </a:lnTo>
                  <a:lnTo>
                    <a:pt x="71" y="288"/>
                  </a:lnTo>
                  <a:lnTo>
                    <a:pt x="73" y="285"/>
                  </a:lnTo>
                  <a:lnTo>
                    <a:pt x="76" y="285"/>
                  </a:lnTo>
                  <a:lnTo>
                    <a:pt x="79" y="284"/>
                  </a:lnTo>
                  <a:lnTo>
                    <a:pt x="80" y="279"/>
                  </a:lnTo>
                  <a:lnTo>
                    <a:pt x="75" y="278"/>
                  </a:lnTo>
                  <a:lnTo>
                    <a:pt x="70" y="275"/>
                  </a:lnTo>
                  <a:lnTo>
                    <a:pt x="69" y="272"/>
                  </a:lnTo>
                  <a:lnTo>
                    <a:pt x="67" y="270"/>
                  </a:lnTo>
                  <a:lnTo>
                    <a:pt x="64" y="264"/>
                  </a:lnTo>
                  <a:lnTo>
                    <a:pt x="61" y="261"/>
                  </a:lnTo>
                  <a:lnTo>
                    <a:pt x="60" y="259"/>
                  </a:lnTo>
                  <a:lnTo>
                    <a:pt x="57" y="255"/>
                  </a:lnTo>
                  <a:lnTo>
                    <a:pt x="54" y="253"/>
                  </a:lnTo>
                  <a:lnTo>
                    <a:pt x="47" y="246"/>
                  </a:lnTo>
                  <a:lnTo>
                    <a:pt x="44" y="245"/>
                  </a:lnTo>
                  <a:lnTo>
                    <a:pt x="43" y="242"/>
                  </a:lnTo>
                  <a:lnTo>
                    <a:pt x="45" y="239"/>
                  </a:lnTo>
                  <a:lnTo>
                    <a:pt x="45" y="235"/>
                  </a:lnTo>
                  <a:lnTo>
                    <a:pt x="42" y="232"/>
                  </a:lnTo>
                  <a:lnTo>
                    <a:pt x="41" y="229"/>
                  </a:lnTo>
                  <a:lnTo>
                    <a:pt x="38" y="227"/>
                  </a:lnTo>
                  <a:lnTo>
                    <a:pt x="36" y="225"/>
                  </a:lnTo>
                  <a:lnTo>
                    <a:pt x="36" y="219"/>
                  </a:lnTo>
                  <a:lnTo>
                    <a:pt x="38" y="216"/>
                  </a:lnTo>
                  <a:lnTo>
                    <a:pt x="43" y="213"/>
                  </a:lnTo>
                  <a:lnTo>
                    <a:pt x="48" y="213"/>
                  </a:lnTo>
                  <a:lnTo>
                    <a:pt x="53" y="213"/>
                  </a:lnTo>
                  <a:lnTo>
                    <a:pt x="57" y="217"/>
                  </a:lnTo>
                  <a:lnTo>
                    <a:pt x="59" y="216"/>
                  </a:lnTo>
                  <a:lnTo>
                    <a:pt x="66" y="206"/>
                  </a:lnTo>
                  <a:lnTo>
                    <a:pt x="72" y="200"/>
                  </a:lnTo>
                  <a:lnTo>
                    <a:pt x="73" y="191"/>
                  </a:lnTo>
                  <a:lnTo>
                    <a:pt x="75" y="186"/>
                  </a:lnTo>
                  <a:lnTo>
                    <a:pt x="77" y="184"/>
                  </a:lnTo>
                  <a:lnTo>
                    <a:pt x="90" y="180"/>
                  </a:lnTo>
                  <a:lnTo>
                    <a:pt x="94" y="180"/>
                  </a:lnTo>
                  <a:lnTo>
                    <a:pt x="110" y="174"/>
                  </a:lnTo>
                  <a:lnTo>
                    <a:pt x="115" y="170"/>
                  </a:lnTo>
                  <a:lnTo>
                    <a:pt x="117" y="169"/>
                  </a:lnTo>
                  <a:lnTo>
                    <a:pt x="120" y="169"/>
                  </a:lnTo>
                  <a:lnTo>
                    <a:pt x="130" y="169"/>
                  </a:lnTo>
                  <a:lnTo>
                    <a:pt x="149" y="165"/>
                  </a:lnTo>
                  <a:lnTo>
                    <a:pt x="153" y="163"/>
                  </a:lnTo>
                  <a:lnTo>
                    <a:pt x="166" y="163"/>
                  </a:lnTo>
                  <a:lnTo>
                    <a:pt x="170" y="162"/>
                  </a:lnTo>
                  <a:lnTo>
                    <a:pt x="176" y="164"/>
                  </a:lnTo>
                  <a:lnTo>
                    <a:pt x="190" y="162"/>
                  </a:lnTo>
                  <a:lnTo>
                    <a:pt x="192" y="165"/>
                  </a:lnTo>
                  <a:lnTo>
                    <a:pt x="207" y="164"/>
                  </a:lnTo>
                  <a:lnTo>
                    <a:pt x="218" y="166"/>
                  </a:lnTo>
                  <a:lnTo>
                    <a:pt x="222" y="166"/>
                  </a:lnTo>
                  <a:lnTo>
                    <a:pt x="227" y="162"/>
                  </a:lnTo>
                  <a:lnTo>
                    <a:pt x="232" y="161"/>
                  </a:lnTo>
                  <a:lnTo>
                    <a:pt x="235" y="161"/>
                  </a:lnTo>
                  <a:lnTo>
                    <a:pt x="237" y="165"/>
                  </a:lnTo>
                  <a:lnTo>
                    <a:pt x="239" y="169"/>
                  </a:lnTo>
                  <a:lnTo>
                    <a:pt x="242" y="169"/>
                  </a:lnTo>
                  <a:lnTo>
                    <a:pt x="244" y="173"/>
                  </a:lnTo>
                  <a:lnTo>
                    <a:pt x="248" y="173"/>
                  </a:lnTo>
                  <a:lnTo>
                    <a:pt x="251" y="173"/>
                  </a:lnTo>
                  <a:lnTo>
                    <a:pt x="253" y="172"/>
                  </a:lnTo>
                  <a:lnTo>
                    <a:pt x="255" y="169"/>
                  </a:lnTo>
                  <a:lnTo>
                    <a:pt x="264" y="169"/>
                  </a:lnTo>
                  <a:lnTo>
                    <a:pt x="267" y="169"/>
                  </a:lnTo>
                  <a:lnTo>
                    <a:pt x="270" y="173"/>
                  </a:lnTo>
                  <a:lnTo>
                    <a:pt x="270" y="178"/>
                  </a:lnTo>
                  <a:lnTo>
                    <a:pt x="272" y="180"/>
                  </a:lnTo>
                  <a:lnTo>
                    <a:pt x="274" y="179"/>
                  </a:lnTo>
                  <a:lnTo>
                    <a:pt x="276" y="175"/>
                  </a:lnTo>
                  <a:lnTo>
                    <a:pt x="276" y="172"/>
                  </a:lnTo>
                  <a:lnTo>
                    <a:pt x="275" y="168"/>
                  </a:lnTo>
                  <a:lnTo>
                    <a:pt x="278" y="164"/>
                  </a:lnTo>
                  <a:lnTo>
                    <a:pt x="283" y="168"/>
                  </a:lnTo>
                  <a:lnTo>
                    <a:pt x="285" y="168"/>
                  </a:lnTo>
                  <a:lnTo>
                    <a:pt x="291" y="166"/>
                  </a:lnTo>
                  <a:lnTo>
                    <a:pt x="293" y="164"/>
                  </a:lnTo>
                  <a:lnTo>
                    <a:pt x="294" y="160"/>
                  </a:lnTo>
                  <a:lnTo>
                    <a:pt x="295" y="157"/>
                  </a:lnTo>
                  <a:lnTo>
                    <a:pt x="298" y="156"/>
                  </a:lnTo>
                  <a:lnTo>
                    <a:pt x="299" y="158"/>
                  </a:lnTo>
                  <a:lnTo>
                    <a:pt x="303" y="161"/>
                  </a:lnTo>
                  <a:lnTo>
                    <a:pt x="306" y="165"/>
                  </a:lnTo>
                  <a:lnTo>
                    <a:pt x="309" y="163"/>
                  </a:lnTo>
                  <a:lnTo>
                    <a:pt x="311" y="161"/>
                  </a:lnTo>
                  <a:lnTo>
                    <a:pt x="314" y="159"/>
                  </a:lnTo>
                  <a:lnTo>
                    <a:pt x="319" y="159"/>
                  </a:lnTo>
                  <a:lnTo>
                    <a:pt x="322" y="162"/>
                  </a:lnTo>
                  <a:lnTo>
                    <a:pt x="324" y="167"/>
                  </a:lnTo>
                  <a:lnTo>
                    <a:pt x="326" y="169"/>
                  </a:lnTo>
                  <a:lnTo>
                    <a:pt x="330" y="170"/>
                  </a:lnTo>
                  <a:lnTo>
                    <a:pt x="330" y="165"/>
                  </a:lnTo>
                  <a:lnTo>
                    <a:pt x="331" y="161"/>
                  </a:lnTo>
                  <a:lnTo>
                    <a:pt x="333" y="156"/>
                  </a:lnTo>
                  <a:lnTo>
                    <a:pt x="336" y="154"/>
                  </a:lnTo>
                  <a:lnTo>
                    <a:pt x="340" y="153"/>
                  </a:lnTo>
                  <a:lnTo>
                    <a:pt x="343" y="151"/>
                  </a:lnTo>
                  <a:lnTo>
                    <a:pt x="343" y="148"/>
                  </a:lnTo>
                  <a:lnTo>
                    <a:pt x="348" y="144"/>
                  </a:lnTo>
                  <a:lnTo>
                    <a:pt x="351" y="147"/>
                  </a:lnTo>
                  <a:lnTo>
                    <a:pt x="353" y="149"/>
                  </a:lnTo>
                  <a:lnTo>
                    <a:pt x="356" y="152"/>
                  </a:lnTo>
                  <a:lnTo>
                    <a:pt x="357" y="155"/>
                  </a:lnTo>
                  <a:lnTo>
                    <a:pt x="358" y="159"/>
                  </a:lnTo>
                  <a:lnTo>
                    <a:pt x="361" y="160"/>
                  </a:lnTo>
                  <a:lnTo>
                    <a:pt x="363" y="164"/>
                  </a:lnTo>
                  <a:lnTo>
                    <a:pt x="366" y="165"/>
                  </a:lnTo>
                  <a:lnTo>
                    <a:pt x="368" y="162"/>
                  </a:lnTo>
                  <a:lnTo>
                    <a:pt x="372" y="162"/>
                  </a:lnTo>
                  <a:lnTo>
                    <a:pt x="374" y="157"/>
                  </a:lnTo>
                  <a:lnTo>
                    <a:pt x="376" y="155"/>
                  </a:lnTo>
                  <a:lnTo>
                    <a:pt x="380" y="149"/>
                  </a:lnTo>
                  <a:lnTo>
                    <a:pt x="382" y="149"/>
                  </a:lnTo>
                  <a:lnTo>
                    <a:pt x="386" y="152"/>
                  </a:lnTo>
                  <a:lnTo>
                    <a:pt x="392" y="152"/>
                  </a:lnTo>
                  <a:lnTo>
                    <a:pt x="394" y="149"/>
                  </a:lnTo>
                  <a:lnTo>
                    <a:pt x="396" y="148"/>
                  </a:lnTo>
                  <a:lnTo>
                    <a:pt x="399" y="144"/>
                  </a:lnTo>
                  <a:lnTo>
                    <a:pt x="408" y="141"/>
                  </a:lnTo>
                  <a:lnTo>
                    <a:pt x="412" y="142"/>
                  </a:lnTo>
                  <a:lnTo>
                    <a:pt x="416" y="144"/>
                  </a:lnTo>
                  <a:lnTo>
                    <a:pt x="420" y="146"/>
                  </a:lnTo>
                  <a:lnTo>
                    <a:pt x="422" y="148"/>
                  </a:lnTo>
                  <a:lnTo>
                    <a:pt x="422" y="152"/>
                  </a:lnTo>
                  <a:lnTo>
                    <a:pt x="425" y="155"/>
                  </a:lnTo>
                  <a:lnTo>
                    <a:pt x="429" y="155"/>
                  </a:lnTo>
                  <a:lnTo>
                    <a:pt x="432" y="157"/>
                  </a:lnTo>
                  <a:lnTo>
                    <a:pt x="435" y="157"/>
                  </a:lnTo>
                  <a:lnTo>
                    <a:pt x="438" y="158"/>
                  </a:lnTo>
                  <a:lnTo>
                    <a:pt x="437" y="155"/>
                  </a:lnTo>
                  <a:lnTo>
                    <a:pt x="438" y="151"/>
                  </a:lnTo>
                  <a:lnTo>
                    <a:pt x="440" y="147"/>
                  </a:lnTo>
                  <a:lnTo>
                    <a:pt x="439" y="144"/>
                  </a:lnTo>
                  <a:lnTo>
                    <a:pt x="437" y="140"/>
                  </a:lnTo>
                  <a:lnTo>
                    <a:pt x="434" y="138"/>
                  </a:lnTo>
                  <a:lnTo>
                    <a:pt x="435" y="135"/>
                  </a:lnTo>
                  <a:lnTo>
                    <a:pt x="433" y="132"/>
                  </a:lnTo>
                  <a:lnTo>
                    <a:pt x="431" y="130"/>
                  </a:lnTo>
                  <a:lnTo>
                    <a:pt x="429" y="129"/>
                  </a:lnTo>
                  <a:lnTo>
                    <a:pt x="428" y="126"/>
                  </a:lnTo>
                  <a:lnTo>
                    <a:pt x="427" y="123"/>
                  </a:lnTo>
                  <a:lnTo>
                    <a:pt x="428" y="119"/>
                  </a:lnTo>
                  <a:lnTo>
                    <a:pt x="427" y="116"/>
                  </a:lnTo>
                  <a:lnTo>
                    <a:pt x="429" y="111"/>
                  </a:lnTo>
                  <a:lnTo>
                    <a:pt x="428" y="108"/>
                  </a:lnTo>
                  <a:lnTo>
                    <a:pt x="430" y="106"/>
                  </a:lnTo>
                  <a:lnTo>
                    <a:pt x="429" y="103"/>
                  </a:lnTo>
                  <a:lnTo>
                    <a:pt x="430" y="100"/>
                  </a:lnTo>
                  <a:lnTo>
                    <a:pt x="431" y="97"/>
                  </a:lnTo>
                  <a:lnTo>
                    <a:pt x="433" y="94"/>
                  </a:lnTo>
                  <a:lnTo>
                    <a:pt x="434" y="91"/>
                  </a:lnTo>
                  <a:lnTo>
                    <a:pt x="435" y="88"/>
                  </a:lnTo>
                  <a:lnTo>
                    <a:pt x="436" y="85"/>
                  </a:lnTo>
                  <a:lnTo>
                    <a:pt x="437" y="81"/>
                  </a:lnTo>
                  <a:lnTo>
                    <a:pt x="436" y="78"/>
                  </a:lnTo>
                  <a:lnTo>
                    <a:pt x="445" y="72"/>
                  </a:lnTo>
                  <a:lnTo>
                    <a:pt x="448" y="72"/>
                  </a:lnTo>
                  <a:lnTo>
                    <a:pt x="452" y="73"/>
                  </a:lnTo>
                  <a:lnTo>
                    <a:pt x="455" y="73"/>
                  </a:lnTo>
                  <a:lnTo>
                    <a:pt x="456" y="69"/>
                  </a:lnTo>
                  <a:lnTo>
                    <a:pt x="460" y="64"/>
                  </a:lnTo>
                  <a:lnTo>
                    <a:pt x="465" y="62"/>
                  </a:lnTo>
                  <a:lnTo>
                    <a:pt x="475" y="61"/>
                  </a:lnTo>
                  <a:lnTo>
                    <a:pt x="481" y="59"/>
                  </a:lnTo>
                  <a:lnTo>
                    <a:pt x="484" y="58"/>
                  </a:lnTo>
                  <a:lnTo>
                    <a:pt x="489" y="58"/>
                  </a:lnTo>
                  <a:lnTo>
                    <a:pt x="490" y="61"/>
                  </a:lnTo>
                  <a:lnTo>
                    <a:pt x="493" y="63"/>
                  </a:lnTo>
                  <a:lnTo>
                    <a:pt x="495" y="60"/>
                  </a:lnTo>
                  <a:lnTo>
                    <a:pt x="500" y="59"/>
                  </a:lnTo>
                  <a:lnTo>
                    <a:pt x="508" y="53"/>
                  </a:lnTo>
                  <a:lnTo>
                    <a:pt x="509" y="50"/>
                  </a:lnTo>
                  <a:lnTo>
                    <a:pt x="510" y="46"/>
                  </a:lnTo>
                  <a:lnTo>
                    <a:pt x="509" y="41"/>
                  </a:lnTo>
                  <a:lnTo>
                    <a:pt x="510" y="38"/>
                  </a:lnTo>
                  <a:lnTo>
                    <a:pt x="508" y="34"/>
                  </a:lnTo>
                  <a:lnTo>
                    <a:pt x="507" y="30"/>
                  </a:lnTo>
                  <a:lnTo>
                    <a:pt x="515" y="29"/>
                  </a:lnTo>
                  <a:lnTo>
                    <a:pt x="517" y="27"/>
                  </a:lnTo>
                  <a:lnTo>
                    <a:pt x="529" y="29"/>
                  </a:lnTo>
                  <a:lnTo>
                    <a:pt x="534" y="27"/>
                  </a:lnTo>
                  <a:lnTo>
                    <a:pt x="536" y="26"/>
                  </a:lnTo>
                  <a:lnTo>
                    <a:pt x="539" y="27"/>
                  </a:lnTo>
                  <a:lnTo>
                    <a:pt x="544" y="19"/>
                  </a:lnTo>
                  <a:lnTo>
                    <a:pt x="547" y="16"/>
                  </a:lnTo>
                  <a:lnTo>
                    <a:pt x="550" y="12"/>
                  </a:lnTo>
                  <a:lnTo>
                    <a:pt x="556" y="10"/>
                  </a:lnTo>
                  <a:lnTo>
                    <a:pt x="561" y="8"/>
                  </a:lnTo>
                  <a:lnTo>
                    <a:pt x="564" y="8"/>
                  </a:lnTo>
                  <a:lnTo>
                    <a:pt x="566" y="7"/>
                  </a:lnTo>
                  <a:lnTo>
                    <a:pt x="569" y="7"/>
                  </a:lnTo>
                  <a:lnTo>
                    <a:pt x="570" y="11"/>
                  </a:lnTo>
                  <a:lnTo>
                    <a:pt x="572" y="12"/>
                  </a:lnTo>
                  <a:lnTo>
                    <a:pt x="574" y="6"/>
                  </a:lnTo>
                  <a:lnTo>
                    <a:pt x="578" y="2"/>
                  </a:lnTo>
                  <a:lnTo>
                    <a:pt x="581" y="1"/>
                  </a:lnTo>
                  <a:lnTo>
                    <a:pt x="583" y="0"/>
                  </a:lnTo>
                  <a:close/>
                </a:path>
              </a:pathLst>
            </a:custGeom>
            <a:pattFill prst="wdUpDiag">
              <a:fgClr>
                <a:srgbClr val="FDDEBE"/>
              </a:fgClr>
              <a:bgClr>
                <a:srgbClr val="D9D9D9"/>
              </a:bgClr>
            </a:patt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6" name="GB">
              <a:extLst>
                <a:ext uri="{FF2B5EF4-FFF2-40B4-BE49-F238E27FC236}">
                  <a16:creationId xmlns:a16="http://schemas.microsoft.com/office/drawing/2014/main" id="{2BF9CB3B-9349-01BC-78EB-D1BF8990B3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9076" y="2946816"/>
              <a:ext cx="884665" cy="1414540"/>
            </a:xfrm>
            <a:custGeom>
              <a:avLst/>
              <a:gdLst>
                <a:gd name="T0" fmla="*/ 121 w 467"/>
                <a:gd name="T1" fmla="*/ 491 h 794"/>
                <a:gd name="T2" fmla="*/ 81 w 467"/>
                <a:gd name="T3" fmla="*/ 292 h 794"/>
                <a:gd name="T4" fmla="*/ 151 w 467"/>
                <a:gd name="T5" fmla="*/ 263 h 794"/>
                <a:gd name="T6" fmla="*/ 85 w 467"/>
                <a:gd name="T7" fmla="*/ 248 h 794"/>
                <a:gd name="T8" fmla="*/ 102 w 467"/>
                <a:gd name="T9" fmla="*/ 236 h 794"/>
                <a:gd name="T10" fmla="*/ 132 w 467"/>
                <a:gd name="T11" fmla="*/ 206 h 794"/>
                <a:gd name="T12" fmla="*/ 130 w 467"/>
                <a:gd name="T13" fmla="*/ 193 h 794"/>
                <a:gd name="T14" fmla="*/ 108 w 467"/>
                <a:gd name="T15" fmla="*/ 183 h 794"/>
                <a:gd name="T16" fmla="*/ 105 w 467"/>
                <a:gd name="T17" fmla="*/ 135 h 794"/>
                <a:gd name="T18" fmla="*/ 131 w 467"/>
                <a:gd name="T19" fmla="*/ 109 h 794"/>
                <a:gd name="T20" fmla="*/ 62 w 467"/>
                <a:gd name="T21" fmla="*/ 98 h 794"/>
                <a:gd name="T22" fmla="*/ 129 w 467"/>
                <a:gd name="T23" fmla="*/ 111 h 794"/>
                <a:gd name="T24" fmla="*/ 114 w 467"/>
                <a:gd name="T25" fmla="*/ 122 h 794"/>
                <a:gd name="T26" fmla="*/ 113 w 467"/>
                <a:gd name="T27" fmla="*/ 85 h 794"/>
                <a:gd name="T28" fmla="*/ 78 w 467"/>
                <a:gd name="T29" fmla="*/ 76 h 794"/>
                <a:gd name="T30" fmla="*/ 218 w 467"/>
                <a:gd name="T31" fmla="*/ 20 h 794"/>
                <a:gd name="T32" fmla="*/ 294 w 467"/>
                <a:gd name="T33" fmla="*/ 16 h 794"/>
                <a:gd name="T34" fmla="*/ 226 w 467"/>
                <a:gd name="T35" fmla="*/ 78 h 794"/>
                <a:gd name="T36" fmla="*/ 229 w 467"/>
                <a:gd name="T37" fmla="*/ 107 h 794"/>
                <a:gd name="T38" fmla="*/ 337 w 467"/>
                <a:gd name="T39" fmla="*/ 115 h 794"/>
                <a:gd name="T40" fmla="*/ 280 w 467"/>
                <a:gd name="T41" fmla="*/ 222 h 794"/>
                <a:gd name="T42" fmla="*/ 230 w 467"/>
                <a:gd name="T43" fmla="*/ 253 h 794"/>
                <a:gd name="T44" fmla="*/ 316 w 467"/>
                <a:gd name="T45" fmla="*/ 306 h 794"/>
                <a:gd name="T46" fmla="*/ 334 w 467"/>
                <a:gd name="T47" fmla="*/ 404 h 794"/>
                <a:gd name="T48" fmla="*/ 376 w 467"/>
                <a:gd name="T49" fmla="*/ 505 h 794"/>
                <a:gd name="T50" fmla="*/ 378 w 467"/>
                <a:gd name="T51" fmla="*/ 572 h 794"/>
                <a:gd name="T52" fmla="*/ 467 w 467"/>
                <a:gd name="T53" fmla="*/ 616 h 794"/>
                <a:gd name="T54" fmla="*/ 415 w 467"/>
                <a:gd name="T55" fmla="*/ 680 h 794"/>
                <a:gd name="T56" fmla="*/ 396 w 467"/>
                <a:gd name="T57" fmla="*/ 715 h 794"/>
                <a:gd name="T58" fmla="*/ 411 w 467"/>
                <a:gd name="T59" fmla="*/ 753 h 794"/>
                <a:gd name="T60" fmla="*/ 290 w 467"/>
                <a:gd name="T61" fmla="*/ 757 h 794"/>
                <a:gd name="T62" fmla="*/ 230 w 467"/>
                <a:gd name="T63" fmla="*/ 763 h 794"/>
                <a:gd name="T64" fmla="*/ 134 w 467"/>
                <a:gd name="T65" fmla="*/ 768 h 794"/>
                <a:gd name="T66" fmla="*/ 86 w 467"/>
                <a:gd name="T67" fmla="*/ 766 h 794"/>
                <a:gd name="T68" fmla="*/ 15 w 467"/>
                <a:gd name="T69" fmla="*/ 774 h 794"/>
                <a:gd name="T70" fmla="*/ 66 w 467"/>
                <a:gd name="T71" fmla="*/ 737 h 794"/>
                <a:gd name="T72" fmla="*/ 172 w 467"/>
                <a:gd name="T73" fmla="*/ 703 h 794"/>
                <a:gd name="T74" fmla="*/ 175 w 467"/>
                <a:gd name="T75" fmla="*/ 678 h 794"/>
                <a:gd name="T76" fmla="*/ 122 w 467"/>
                <a:gd name="T77" fmla="*/ 650 h 794"/>
                <a:gd name="T78" fmla="*/ 84 w 467"/>
                <a:gd name="T79" fmla="*/ 630 h 794"/>
                <a:gd name="T80" fmla="*/ 98 w 467"/>
                <a:gd name="T81" fmla="*/ 604 h 794"/>
                <a:gd name="T82" fmla="*/ 138 w 467"/>
                <a:gd name="T83" fmla="*/ 534 h 794"/>
                <a:gd name="T84" fmla="*/ 171 w 467"/>
                <a:gd name="T85" fmla="*/ 501 h 794"/>
                <a:gd name="T86" fmla="*/ 221 w 467"/>
                <a:gd name="T87" fmla="*/ 475 h 794"/>
                <a:gd name="T88" fmla="*/ 217 w 467"/>
                <a:gd name="T89" fmla="*/ 425 h 794"/>
                <a:gd name="T90" fmla="*/ 215 w 467"/>
                <a:gd name="T91" fmla="*/ 350 h 794"/>
                <a:gd name="T92" fmla="*/ 148 w 467"/>
                <a:gd name="T93" fmla="*/ 354 h 794"/>
                <a:gd name="T94" fmla="*/ 137 w 467"/>
                <a:gd name="T95" fmla="*/ 323 h 794"/>
                <a:gd name="T96" fmla="*/ 167 w 467"/>
                <a:gd name="T97" fmla="*/ 243 h 794"/>
                <a:gd name="T98" fmla="*/ 137 w 467"/>
                <a:gd name="T99" fmla="*/ 249 h 794"/>
                <a:gd name="T100" fmla="*/ 120 w 467"/>
                <a:gd name="T101" fmla="*/ 281 h 794"/>
                <a:gd name="T102" fmla="*/ 118 w 467"/>
                <a:gd name="T103" fmla="*/ 249 h 794"/>
                <a:gd name="T104" fmla="*/ 160 w 467"/>
                <a:gd name="T105" fmla="*/ 195 h 794"/>
                <a:gd name="T106" fmla="*/ 155 w 467"/>
                <a:gd name="T107" fmla="*/ 174 h 794"/>
                <a:gd name="T108" fmla="*/ 131 w 467"/>
                <a:gd name="T109" fmla="*/ 156 h 794"/>
                <a:gd name="T110" fmla="*/ 159 w 467"/>
                <a:gd name="T111" fmla="*/ 126 h 794"/>
                <a:gd name="T112" fmla="*/ 159 w 467"/>
                <a:gd name="T113" fmla="*/ 95 h 794"/>
                <a:gd name="T114" fmla="*/ 179 w 467"/>
                <a:gd name="T115" fmla="*/ 65 h 794"/>
                <a:gd name="T116" fmla="*/ 198 w 467"/>
                <a:gd name="T117" fmla="*/ 34 h 794"/>
                <a:gd name="T118" fmla="*/ 141 w 467"/>
                <a:gd name="T119" fmla="*/ 29 h 794"/>
                <a:gd name="T120" fmla="*/ 109 w 467"/>
                <a:gd name="T121" fmla="*/ 55 h 794"/>
                <a:gd name="T122" fmla="*/ 108 w 467"/>
                <a:gd name="T123" fmla="*/ 26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7" h="794">
                  <a:moveTo>
                    <a:pt x="268" y="761"/>
                  </a:moveTo>
                  <a:lnTo>
                    <a:pt x="269" y="761"/>
                  </a:lnTo>
                  <a:lnTo>
                    <a:pt x="278" y="766"/>
                  </a:lnTo>
                  <a:lnTo>
                    <a:pt x="280" y="767"/>
                  </a:lnTo>
                  <a:lnTo>
                    <a:pt x="282" y="770"/>
                  </a:lnTo>
                  <a:lnTo>
                    <a:pt x="279" y="772"/>
                  </a:lnTo>
                  <a:lnTo>
                    <a:pt x="276" y="773"/>
                  </a:lnTo>
                  <a:lnTo>
                    <a:pt x="275" y="776"/>
                  </a:lnTo>
                  <a:lnTo>
                    <a:pt x="268" y="778"/>
                  </a:lnTo>
                  <a:lnTo>
                    <a:pt x="259" y="771"/>
                  </a:lnTo>
                  <a:lnTo>
                    <a:pt x="257" y="768"/>
                  </a:lnTo>
                  <a:lnTo>
                    <a:pt x="254" y="768"/>
                  </a:lnTo>
                  <a:lnTo>
                    <a:pt x="256" y="765"/>
                  </a:lnTo>
                  <a:lnTo>
                    <a:pt x="262" y="763"/>
                  </a:lnTo>
                  <a:lnTo>
                    <a:pt x="264" y="764"/>
                  </a:lnTo>
                  <a:lnTo>
                    <a:pt x="268" y="761"/>
                  </a:lnTo>
                  <a:close/>
                  <a:moveTo>
                    <a:pt x="290" y="758"/>
                  </a:moveTo>
                  <a:lnTo>
                    <a:pt x="290" y="761"/>
                  </a:lnTo>
                  <a:lnTo>
                    <a:pt x="291" y="762"/>
                  </a:lnTo>
                  <a:lnTo>
                    <a:pt x="286" y="762"/>
                  </a:lnTo>
                  <a:lnTo>
                    <a:pt x="290" y="758"/>
                  </a:lnTo>
                  <a:close/>
                  <a:moveTo>
                    <a:pt x="121" y="491"/>
                  </a:moveTo>
                  <a:lnTo>
                    <a:pt x="122" y="492"/>
                  </a:lnTo>
                  <a:lnTo>
                    <a:pt x="124" y="492"/>
                  </a:lnTo>
                  <a:lnTo>
                    <a:pt x="125" y="496"/>
                  </a:lnTo>
                  <a:lnTo>
                    <a:pt x="126" y="499"/>
                  </a:lnTo>
                  <a:lnTo>
                    <a:pt x="123" y="498"/>
                  </a:lnTo>
                  <a:lnTo>
                    <a:pt x="122" y="495"/>
                  </a:lnTo>
                  <a:lnTo>
                    <a:pt x="121" y="491"/>
                  </a:lnTo>
                  <a:close/>
                  <a:moveTo>
                    <a:pt x="136" y="485"/>
                  </a:moveTo>
                  <a:lnTo>
                    <a:pt x="142" y="486"/>
                  </a:lnTo>
                  <a:lnTo>
                    <a:pt x="144" y="488"/>
                  </a:lnTo>
                  <a:lnTo>
                    <a:pt x="145" y="491"/>
                  </a:lnTo>
                  <a:lnTo>
                    <a:pt x="146" y="494"/>
                  </a:lnTo>
                  <a:lnTo>
                    <a:pt x="147" y="497"/>
                  </a:lnTo>
                  <a:lnTo>
                    <a:pt x="147" y="499"/>
                  </a:lnTo>
                  <a:lnTo>
                    <a:pt x="150" y="499"/>
                  </a:lnTo>
                  <a:lnTo>
                    <a:pt x="152" y="498"/>
                  </a:lnTo>
                  <a:lnTo>
                    <a:pt x="154" y="499"/>
                  </a:lnTo>
                  <a:lnTo>
                    <a:pt x="152" y="504"/>
                  </a:lnTo>
                  <a:lnTo>
                    <a:pt x="149" y="505"/>
                  </a:lnTo>
                  <a:lnTo>
                    <a:pt x="146" y="506"/>
                  </a:lnTo>
                  <a:lnTo>
                    <a:pt x="144" y="508"/>
                  </a:lnTo>
                  <a:lnTo>
                    <a:pt x="141" y="510"/>
                  </a:lnTo>
                  <a:lnTo>
                    <a:pt x="135" y="512"/>
                  </a:lnTo>
                  <a:lnTo>
                    <a:pt x="133" y="511"/>
                  </a:lnTo>
                  <a:lnTo>
                    <a:pt x="133" y="508"/>
                  </a:lnTo>
                  <a:lnTo>
                    <a:pt x="131" y="508"/>
                  </a:lnTo>
                  <a:lnTo>
                    <a:pt x="129" y="506"/>
                  </a:lnTo>
                  <a:lnTo>
                    <a:pt x="128" y="503"/>
                  </a:lnTo>
                  <a:lnTo>
                    <a:pt x="126" y="498"/>
                  </a:lnTo>
                  <a:lnTo>
                    <a:pt x="126" y="495"/>
                  </a:lnTo>
                  <a:lnTo>
                    <a:pt x="127" y="492"/>
                  </a:lnTo>
                  <a:lnTo>
                    <a:pt x="128" y="489"/>
                  </a:lnTo>
                  <a:lnTo>
                    <a:pt x="128" y="486"/>
                  </a:lnTo>
                  <a:lnTo>
                    <a:pt x="136" y="485"/>
                  </a:lnTo>
                  <a:close/>
                  <a:moveTo>
                    <a:pt x="79" y="291"/>
                  </a:moveTo>
                  <a:lnTo>
                    <a:pt x="81" y="292"/>
                  </a:lnTo>
                  <a:lnTo>
                    <a:pt x="82" y="293"/>
                  </a:lnTo>
                  <a:lnTo>
                    <a:pt x="80" y="295"/>
                  </a:lnTo>
                  <a:lnTo>
                    <a:pt x="78" y="292"/>
                  </a:lnTo>
                  <a:lnTo>
                    <a:pt x="76" y="292"/>
                  </a:lnTo>
                  <a:lnTo>
                    <a:pt x="79" y="291"/>
                  </a:lnTo>
                  <a:close/>
                  <a:moveTo>
                    <a:pt x="135" y="266"/>
                  </a:moveTo>
                  <a:lnTo>
                    <a:pt x="139" y="267"/>
                  </a:lnTo>
                  <a:lnTo>
                    <a:pt x="142" y="270"/>
                  </a:lnTo>
                  <a:lnTo>
                    <a:pt x="142" y="277"/>
                  </a:lnTo>
                  <a:lnTo>
                    <a:pt x="143" y="281"/>
                  </a:lnTo>
                  <a:lnTo>
                    <a:pt x="141" y="283"/>
                  </a:lnTo>
                  <a:lnTo>
                    <a:pt x="143" y="286"/>
                  </a:lnTo>
                  <a:lnTo>
                    <a:pt x="142" y="290"/>
                  </a:lnTo>
                  <a:lnTo>
                    <a:pt x="138" y="292"/>
                  </a:lnTo>
                  <a:lnTo>
                    <a:pt x="136" y="292"/>
                  </a:lnTo>
                  <a:lnTo>
                    <a:pt x="133" y="291"/>
                  </a:lnTo>
                  <a:lnTo>
                    <a:pt x="131" y="290"/>
                  </a:lnTo>
                  <a:lnTo>
                    <a:pt x="128" y="286"/>
                  </a:lnTo>
                  <a:lnTo>
                    <a:pt x="128" y="282"/>
                  </a:lnTo>
                  <a:lnTo>
                    <a:pt x="128" y="278"/>
                  </a:lnTo>
                  <a:lnTo>
                    <a:pt x="128" y="273"/>
                  </a:lnTo>
                  <a:lnTo>
                    <a:pt x="128" y="271"/>
                  </a:lnTo>
                  <a:lnTo>
                    <a:pt x="131" y="267"/>
                  </a:lnTo>
                  <a:lnTo>
                    <a:pt x="135" y="266"/>
                  </a:lnTo>
                  <a:close/>
                  <a:moveTo>
                    <a:pt x="148" y="250"/>
                  </a:moveTo>
                  <a:lnTo>
                    <a:pt x="149" y="252"/>
                  </a:lnTo>
                  <a:lnTo>
                    <a:pt x="150" y="256"/>
                  </a:lnTo>
                  <a:lnTo>
                    <a:pt x="151" y="259"/>
                  </a:lnTo>
                  <a:lnTo>
                    <a:pt x="151" y="263"/>
                  </a:lnTo>
                  <a:lnTo>
                    <a:pt x="150" y="266"/>
                  </a:lnTo>
                  <a:lnTo>
                    <a:pt x="151" y="267"/>
                  </a:lnTo>
                  <a:lnTo>
                    <a:pt x="149" y="265"/>
                  </a:lnTo>
                  <a:lnTo>
                    <a:pt x="146" y="261"/>
                  </a:lnTo>
                  <a:lnTo>
                    <a:pt x="146" y="257"/>
                  </a:lnTo>
                  <a:lnTo>
                    <a:pt x="145" y="254"/>
                  </a:lnTo>
                  <a:lnTo>
                    <a:pt x="144" y="250"/>
                  </a:lnTo>
                  <a:lnTo>
                    <a:pt x="148" y="250"/>
                  </a:lnTo>
                  <a:close/>
                  <a:moveTo>
                    <a:pt x="96" y="235"/>
                  </a:moveTo>
                  <a:lnTo>
                    <a:pt x="97" y="240"/>
                  </a:lnTo>
                  <a:lnTo>
                    <a:pt x="96" y="245"/>
                  </a:lnTo>
                  <a:lnTo>
                    <a:pt x="96" y="249"/>
                  </a:lnTo>
                  <a:lnTo>
                    <a:pt x="97" y="252"/>
                  </a:lnTo>
                  <a:lnTo>
                    <a:pt x="97" y="255"/>
                  </a:lnTo>
                  <a:lnTo>
                    <a:pt x="97" y="258"/>
                  </a:lnTo>
                  <a:lnTo>
                    <a:pt x="96" y="261"/>
                  </a:lnTo>
                  <a:lnTo>
                    <a:pt x="94" y="262"/>
                  </a:lnTo>
                  <a:lnTo>
                    <a:pt x="91" y="263"/>
                  </a:lnTo>
                  <a:lnTo>
                    <a:pt x="87" y="263"/>
                  </a:lnTo>
                  <a:lnTo>
                    <a:pt x="85" y="265"/>
                  </a:lnTo>
                  <a:lnTo>
                    <a:pt x="82" y="266"/>
                  </a:lnTo>
                  <a:lnTo>
                    <a:pt x="80" y="264"/>
                  </a:lnTo>
                  <a:lnTo>
                    <a:pt x="83" y="261"/>
                  </a:lnTo>
                  <a:lnTo>
                    <a:pt x="86" y="260"/>
                  </a:lnTo>
                  <a:lnTo>
                    <a:pt x="85" y="256"/>
                  </a:lnTo>
                  <a:lnTo>
                    <a:pt x="83" y="254"/>
                  </a:lnTo>
                  <a:lnTo>
                    <a:pt x="85" y="251"/>
                  </a:lnTo>
                  <a:lnTo>
                    <a:pt x="88" y="249"/>
                  </a:lnTo>
                  <a:lnTo>
                    <a:pt x="85" y="248"/>
                  </a:lnTo>
                  <a:lnTo>
                    <a:pt x="83" y="248"/>
                  </a:lnTo>
                  <a:lnTo>
                    <a:pt x="81" y="251"/>
                  </a:lnTo>
                  <a:lnTo>
                    <a:pt x="78" y="253"/>
                  </a:lnTo>
                  <a:lnTo>
                    <a:pt x="75" y="256"/>
                  </a:lnTo>
                  <a:lnTo>
                    <a:pt x="74" y="252"/>
                  </a:lnTo>
                  <a:lnTo>
                    <a:pt x="78" y="246"/>
                  </a:lnTo>
                  <a:lnTo>
                    <a:pt x="78" y="242"/>
                  </a:lnTo>
                  <a:lnTo>
                    <a:pt x="79" y="240"/>
                  </a:lnTo>
                  <a:lnTo>
                    <a:pt x="82" y="238"/>
                  </a:lnTo>
                  <a:lnTo>
                    <a:pt x="85" y="238"/>
                  </a:lnTo>
                  <a:lnTo>
                    <a:pt x="85" y="240"/>
                  </a:lnTo>
                  <a:lnTo>
                    <a:pt x="85" y="243"/>
                  </a:lnTo>
                  <a:lnTo>
                    <a:pt x="87" y="239"/>
                  </a:lnTo>
                  <a:lnTo>
                    <a:pt x="91" y="237"/>
                  </a:lnTo>
                  <a:lnTo>
                    <a:pt x="94" y="236"/>
                  </a:lnTo>
                  <a:lnTo>
                    <a:pt x="96" y="235"/>
                  </a:lnTo>
                  <a:close/>
                  <a:moveTo>
                    <a:pt x="121" y="221"/>
                  </a:moveTo>
                  <a:lnTo>
                    <a:pt x="123" y="221"/>
                  </a:lnTo>
                  <a:lnTo>
                    <a:pt x="123" y="224"/>
                  </a:lnTo>
                  <a:lnTo>
                    <a:pt x="120" y="227"/>
                  </a:lnTo>
                  <a:lnTo>
                    <a:pt x="117" y="232"/>
                  </a:lnTo>
                  <a:lnTo>
                    <a:pt x="110" y="239"/>
                  </a:lnTo>
                  <a:lnTo>
                    <a:pt x="108" y="242"/>
                  </a:lnTo>
                  <a:lnTo>
                    <a:pt x="105" y="244"/>
                  </a:lnTo>
                  <a:lnTo>
                    <a:pt x="104" y="249"/>
                  </a:lnTo>
                  <a:lnTo>
                    <a:pt x="99" y="250"/>
                  </a:lnTo>
                  <a:lnTo>
                    <a:pt x="98" y="240"/>
                  </a:lnTo>
                  <a:lnTo>
                    <a:pt x="100" y="238"/>
                  </a:lnTo>
                  <a:lnTo>
                    <a:pt x="102" y="236"/>
                  </a:lnTo>
                  <a:lnTo>
                    <a:pt x="108" y="235"/>
                  </a:lnTo>
                  <a:lnTo>
                    <a:pt x="105" y="234"/>
                  </a:lnTo>
                  <a:lnTo>
                    <a:pt x="106" y="230"/>
                  </a:lnTo>
                  <a:lnTo>
                    <a:pt x="110" y="227"/>
                  </a:lnTo>
                  <a:lnTo>
                    <a:pt x="113" y="226"/>
                  </a:lnTo>
                  <a:lnTo>
                    <a:pt x="118" y="223"/>
                  </a:lnTo>
                  <a:lnTo>
                    <a:pt x="121" y="221"/>
                  </a:lnTo>
                  <a:close/>
                  <a:moveTo>
                    <a:pt x="99" y="218"/>
                  </a:moveTo>
                  <a:lnTo>
                    <a:pt x="101" y="219"/>
                  </a:lnTo>
                  <a:lnTo>
                    <a:pt x="98" y="222"/>
                  </a:lnTo>
                  <a:lnTo>
                    <a:pt x="97" y="225"/>
                  </a:lnTo>
                  <a:lnTo>
                    <a:pt x="95" y="226"/>
                  </a:lnTo>
                  <a:lnTo>
                    <a:pt x="92" y="224"/>
                  </a:lnTo>
                  <a:lnTo>
                    <a:pt x="94" y="222"/>
                  </a:lnTo>
                  <a:lnTo>
                    <a:pt x="97" y="219"/>
                  </a:lnTo>
                  <a:lnTo>
                    <a:pt x="99" y="218"/>
                  </a:lnTo>
                  <a:close/>
                  <a:moveTo>
                    <a:pt x="125" y="216"/>
                  </a:moveTo>
                  <a:lnTo>
                    <a:pt x="124" y="219"/>
                  </a:lnTo>
                  <a:lnTo>
                    <a:pt x="122" y="219"/>
                  </a:lnTo>
                  <a:lnTo>
                    <a:pt x="125" y="216"/>
                  </a:lnTo>
                  <a:close/>
                  <a:moveTo>
                    <a:pt x="130" y="212"/>
                  </a:moveTo>
                  <a:lnTo>
                    <a:pt x="129" y="214"/>
                  </a:lnTo>
                  <a:lnTo>
                    <a:pt x="127" y="218"/>
                  </a:lnTo>
                  <a:lnTo>
                    <a:pt x="126" y="215"/>
                  </a:lnTo>
                  <a:lnTo>
                    <a:pt x="128" y="212"/>
                  </a:lnTo>
                  <a:lnTo>
                    <a:pt x="130" y="212"/>
                  </a:lnTo>
                  <a:close/>
                  <a:moveTo>
                    <a:pt x="133" y="206"/>
                  </a:moveTo>
                  <a:lnTo>
                    <a:pt x="131" y="209"/>
                  </a:lnTo>
                  <a:lnTo>
                    <a:pt x="132" y="206"/>
                  </a:lnTo>
                  <a:lnTo>
                    <a:pt x="133" y="206"/>
                  </a:lnTo>
                  <a:close/>
                  <a:moveTo>
                    <a:pt x="139" y="199"/>
                  </a:moveTo>
                  <a:lnTo>
                    <a:pt x="136" y="201"/>
                  </a:lnTo>
                  <a:lnTo>
                    <a:pt x="134" y="201"/>
                  </a:lnTo>
                  <a:lnTo>
                    <a:pt x="137" y="199"/>
                  </a:lnTo>
                  <a:lnTo>
                    <a:pt x="139" y="199"/>
                  </a:lnTo>
                  <a:close/>
                  <a:moveTo>
                    <a:pt x="105" y="183"/>
                  </a:moveTo>
                  <a:lnTo>
                    <a:pt x="107" y="186"/>
                  </a:lnTo>
                  <a:lnTo>
                    <a:pt x="107" y="187"/>
                  </a:lnTo>
                  <a:lnTo>
                    <a:pt x="104" y="186"/>
                  </a:lnTo>
                  <a:lnTo>
                    <a:pt x="102" y="184"/>
                  </a:lnTo>
                  <a:lnTo>
                    <a:pt x="105" y="183"/>
                  </a:lnTo>
                  <a:close/>
                  <a:moveTo>
                    <a:pt x="79" y="172"/>
                  </a:moveTo>
                  <a:lnTo>
                    <a:pt x="76" y="174"/>
                  </a:lnTo>
                  <a:lnTo>
                    <a:pt x="73" y="176"/>
                  </a:lnTo>
                  <a:lnTo>
                    <a:pt x="71" y="179"/>
                  </a:lnTo>
                  <a:lnTo>
                    <a:pt x="71" y="181"/>
                  </a:lnTo>
                  <a:lnTo>
                    <a:pt x="66" y="177"/>
                  </a:lnTo>
                  <a:lnTo>
                    <a:pt x="66" y="173"/>
                  </a:lnTo>
                  <a:lnTo>
                    <a:pt x="71" y="173"/>
                  </a:lnTo>
                  <a:lnTo>
                    <a:pt x="75" y="172"/>
                  </a:lnTo>
                  <a:lnTo>
                    <a:pt x="79" y="172"/>
                  </a:lnTo>
                  <a:close/>
                  <a:moveTo>
                    <a:pt x="109" y="170"/>
                  </a:moveTo>
                  <a:lnTo>
                    <a:pt x="113" y="170"/>
                  </a:lnTo>
                  <a:lnTo>
                    <a:pt x="116" y="174"/>
                  </a:lnTo>
                  <a:lnTo>
                    <a:pt x="118" y="182"/>
                  </a:lnTo>
                  <a:lnTo>
                    <a:pt x="123" y="185"/>
                  </a:lnTo>
                  <a:lnTo>
                    <a:pt x="127" y="189"/>
                  </a:lnTo>
                  <a:lnTo>
                    <a:pt x="130" y="193"/>
                  </a:lnTo>
                  <a:lnTo>
                    <a:pt x="130" y="195"/>
                  </a:lnTo>
                  <a:lnTo>
                    <a:pt x="130" y="199"/>
                  </a:lnTo>
                  <a:lnTo>
                    <a:pt x="128" y="199"/>
                  </a:lnTo>
                  <a:lnTo>
                    <a:pt x="127" y="197"/>
                  </a:lnTo>
                  <a:lnTo>
                    <a:pt x="124" y="200"/>
                  </a:lnTo>
                  <a:lnTo>
                    <a:pt x="127" y="200"/>
                  </a:lnTo>
                  <a:lnTo>
                    <a:pt x="121" y="204"/>
                  </a:lnTo>
                  <a:lnTo>
                    <a:pt x="120" y="202"/>
                  </a:lnTo>
                  <a:lnTo>
                    <a:pt x="114" y="202"/>
                  </a:lnTo>
                  <a:lnTo>
                    <a:pt x="110" y="203"/>
                  </a:lnTo>
                  <a:lnTo>
                    <a:pt x="107" y="204"/>
                  </a:lnTo>
                  <a:lnTo>
                    <a:pt x="104" y="204"/>
                  </a:lnTo>
                  <a:lnTo>
                    <a:pt x="99" y="203"/>
                  </a:lnTo>
                  <a:lnTo>
                    <a:pt x="97" y="204"/>
                  </a:lnTo>
                  <a:lnTo>
                    <a:pt x="94" y="198"/>
                  </a:lnTo>
                  <a:lnTo>
                    <a:pt x="97" y="196"/>
                  </a:lnTo>
                  <a:lnTo>
                    <a:pt x="100" y="200"/>
                  </a:lnTo>
                  <a:lnTo>
                    <a:pt x="103" y="199"/>
                  </a:lnTo>
                  <a:lnTo>
                    <a:pt x="108" y="198"/>
                  </a:lnTo>
                  <a:lnTo>
                    <a:pt x="111" y="197"/>
                  </a:lnTo>
                  <a:lnTo>
                    <a:pt x="107" y="197"/>
                  </a:lnTo>
                  <a:lnTo>
                    <a:pt x="105" y="197"/>
                  </a:lnTo>
                  <a:lnTo>
                    <a:pt x="104" y="193"/>
                  </a:lnTo>
                  <a:lnTo>
                    <a:pt x="107" y="191"/>
                  </a:lnTo>
                  <a:lnTo>
                    <a:pt x="110" y="190"/>
                  </a:lnTo>
                  <a:lnTo>
                    <a:pt x="114" y="189"/>
                  </a:lnTo>
                  <a:lnTo>
                    <a:pt x="115" y="186"/>
                  </a:lnTo>
                  <a:lnTo>
                    <a:pt x="111" y="186"/>
                  </a:lnTo>
                  <a:lnTo>
                    <a:pt x="108" y="183"/>
                  </a:lnTo>
                  <a:lnTo>
                    <a:pt x="102" y="180"/>
                  </a:lnTo>
                  <a:lnTo>
                    <a:pt x="103" y="174"/>
                  </a:lnTo>
                  <a:lnTo>
                    <a:pt x="104" y="172"/>
                  </a:lnTo>
                  <a:lnTo>
                    <a:pt x="109" y="170"/>
                  </a:lnTo>
                  <a:close/>
                  <a:moveTo>
                    <a:pt x="134" y="169"/>
                  </a:moveTo>
                  <a:lnTo>
                    <a:pt x="132" y="170"/>
                  </a:lnTo>
                  <a:lnTo>
                    <a:pt x="136" y="172"/>
                  </a:lnTo>
                  <a:lnTo>
                    <a:pt x="139" y="173"/>
                  </a:lnTo>
                  <a:lnTo>
                    <a:pt x="143" y="172"/>
                  </a:lnTo>
                  <a:lnTo>
                    <a:pt x="137" y="172"/>
                  </a:lnTo>
                  <a:lnTo>
                    <a:pt x="134" y="169"/>
                  </a:lnTo>
                  <a:close/>
                  <a:moveTo>
                    <a:pt x="97" y="162"/>
                  </a:moveTo>
                  <a:lnTo>
                    <a:pt x="95" y="166"/>
                  </a:lnTo>
                  <a:lnTo>
                    <a:pt x="92" y="167"/>
                  </a:lnTo>
                  <a:lnTo>
                    <a:pt x="90" y="170"/>
                  </a:lnTo>
                  <a:lnTo>
                    <a:pt x="87" y="171"/>
                  </a:lnTo>
                  <a:lnTo>
                    <a:pt x="83" y="170"/>
                  </a:lnTo>
                  <a:lnTo>
                    <a:pt x="86" y="168"/>
                  </a:lnTo>
                  <a:lnTo>
                    <a:pt x="89" y="165"/>
                  </a:lnTo>
                  <a:lnTo>
                    <a:pt x="91" y="164"/>
                  </a:lnTo>
                  <a:lnTo>
                    <a:pt x="95" y="162"/>
                  </a:lnTo>
                  <a:lnTo>
                    <a:pt x="97" y="162"/>
                  </a:lnTo>
                  <a:close/>
                  <a:moveTo>
                    <a:pt x="111" y="131"/>
                  </a:moveTo>
                  <a:lnTo>
                    <a:pt x="114" y="133"/>
                  </a:lnTo>
                  <a:lnTo>
                    <a:pt x="113" y="135"/>
                  </a:lnTo>
                  <a:lnTo>
                    <a:pt x="113" y="139"/>
                  </a:lnTo>
                  <a:lnTo>
                    <a:pt x="110" y="142"/>
                  </a:lnTo>
                  <a:lnTo>
                    <a:pt x="107" y="138"/>
                  </a:lnTo>
                  <a:lnTo>
                    <a:pt x="105" y="135"/>
                  </a:lnTo>
                  <a:lnTo>
                    <a:pt x="108" y="132"/>
                  </a:lnTo>
                  <a:lnTo>
                    <a:pt x="111" y="131"/>
                  </a:lnTo>
                  <a:close/>
                  <a:moveTo>
                    <a:pt x="101" y="127"/>
                  </a:moveTo>
                  <a:lnTo>
                    <a:pt x="102" y="130"/>
                  </a:lnTo>
                  <a:lnTo>
                    <a:pt x="99" y="129"/>
                  </a:lnTo>
                  <a:lnTo>
                    <a:pt x="101" y="127"/>
                  </a:lnTo>
                  <a:close/>
                  <a:moveTo>
                    <a:pt x="56" y="118"/>
                  </a:moveTo>
                  <a:lnTo>
                    <a:pt x="56" y="121"/>
                  </a:lnTo>
                  <a:lnTo>
                    <a:pt x="57" y="123"/>
                  </a:lnTo>
                  <a:lnTo>
                    <a:pt x="57" y="125"/>
                  </a:lnTo>
                  <a:lnTo>
                    <a:pt x="55" y="126"/>
                  </a:lnTo>
                  <a:lnTo>
                    <a:pt x="53" y="128"/>
                  </a:lnTo>
                  <a:lnTo>
                    <a:pt x="49" y="127"/>
                  </a:lnTo>
                  <a:lnTo>
                    <a:pt x="51" y="124"/>
                  </a:lnTo>
                  <a:lnTo>
                    <a:pt x="51" y="121"/>
                  </a:lnTo>
                  <a:lnTo>
                    <a:pt x="54" y="121"/>
                  </a:lnTo>
                  <a:lnTo>
                    <a:pt x="56" y="118"/>
                  </a:lnTo>
                  <a:close/>
                  <a:moveTo>
                    <a:pt x="133" y="111"/>
                  </a:moveTo>
                  <a:lnTo>
                    <a:pt x="136" y="113"/>
                  </a:lnTo>
                  <a:lnTo>
                    <a:pt x="136" y="115"/>
                  </a:lnTo>
                  <a:lnTo>
                    <a:pt x="133" y="114"/>
                  </a:lnTo>
                  <a:lnTo>
                    <a:pt x="133" y="111"/>
                  </a:lnTo>
                  <a:close/>
                  <a:moveTo>
                    <a:pt x="135" y="94"/>
                  </a:moveTo>
                  <a:lnTo>
                    <a:pt x="137" y="94"/>
                  </a:lnTo>
                  <a:lnTo>
                    <a:pt x="136" y="98"/>
                  </a:lnTo>
                  <a:lnTo>
                    <a:pt x="134" y="101"/>
                  </a:lnTo>
                  <a:lnTo>
                    <a:pt x="134" y="104"/>
                  </a:lnTo>
                  <a:lnTo>
                    <a:pt x="134" y="108"/>
                  </a:lnTo>
                  <a:lnTo>
                    <a:pt x="131" y="109"/>
                  </a:lnTo>
                  <a:lnTo>
                    <a:pt x="130" y="106"/>
                  </a:lnTo>
                  <a:lnTo>
                    <a:pt x="132" y="99"/>
                  </a:lnTo>
                  <a:lnTo>
                    <a:pt x="135" y="97"/>
                  </a:lnTo>
                  <a:lnTo>
                    <a:pt x="135" y="94"/>
                  </a:lnTo>
                  <a:close/>
                  <a:moveTo>
                    <a:pt x="69" y="87"/>
                  </a:moveTo>
                  <a:lnTo>
                    <a:pt x="70" y="87"/>
                  </a:lnTo>
                  <a:lnTo>
                    <a:pt x="73" y="91"/>
                  </a:lnTo>
                  <a:lnTo>
                    <a:pt x="74" y="94"/>
                  </a:lnTo>
                  <a:lnTo>
                    <a:pt x="72" y="94"/>
                  </a:lnTo>
                  <a:lnTo>
                    <a:pt x="69" y="91"/>
                  </a:lnTo>
                  <a:lnTo>
                    <a:pt x="68" y="88"/>
                  </a:lnTo>
                  <a:lnTo>
                    <a:pt x="66" y="91"/>
                  </a:lnTo>
                  <a:lnTo>
                    <a:pt x="72" y="95"/>
                  </a:lnTo>
                  <a:lnTo>
                    <a:pt x="73" y="100"/>
                  </a:lnTo>
                  <a:lnTo>
                    <a:pt x="71" y="103"/>
                  </a:lnTo>
                  <a:lnTo>
                    <a:pt x="65" y="101"/>
                  </a:lnTo>
                  <a:lnTo>
                    <a:pt x="68" y="104"/>
                  </a:lnTo>
                  <a:lnTo>
                    <a:pt x="69" y="108"/>
                  </a:lnTo>
                  <a:lnTo>
                    <a:pt x="68" y="112"/>
                  </a:lnTo>
                  <a:lnTo>
                    <a:pt x="63" y="109"/>
                  </a:lnTo>
                  <a:lnTo>
                    <a:pt x="65" y="112"/>
                  </a:lnTo>
                  <a:lnTo>
                    <a:pt x="68" y="114"/>
                  </a:lnTo>
                  <a:lnTo>
                    <a:pt x="68" y="117"/>
                  </a:lnTo>
                  <a:lnTo>
                    <a:pt x="63" y="115"/>
                  </a:lnTo>
                  <a:lnTo>
                    <a:pt x="60" y="113"/>
                  </a:lnTo>
                  <a:lnTo>
                    <a:pt x="60" y="106"/>
                  </a:lnTo>
                  <a:lnTo>
                    <a:pt x="61" y="103"/>
                  </a:lnTo>
                  <a:lnTo>
                    <a:pt x="60" y="101"/>
                  </a:lnTo>
                  <a:lnTo>
                    <a:pt x="62" y="98"/>
                  </a:lnTo>
                  <a:lnTo>
                    <a:pt x="65" y="95"/>
                  </a:lnTo>
                  <a:lnTo>
                    <a:pt x="65" y="92"/>
                  </a:lnTo>
                  <a:lnTo>
                    <a:pt x="64" y="88"/>
                  </a:lnTo>
                  <a:lnTo>
                    <a:pt x="69" y="87"/>
                  </a:lnTo>
                  <a:close/>
                  <a:moveTo>
                    <a:pt x="72" y="79"/>
                  </a:moveTo>
                  <a:lnTo>
                    <a:pt x="74" y="80"/>
                  </a:lnTo>
                  <a:lnTo>
                    <a:pt x="76" y="82"/>
                  </a:lnTo>
                  <a:lnTo>
                    <a:pt x="78" y="84"/>
                  </a:lnTo>
                  <a:lnTo>
                    <a:pt x="76" y="84"/>
                  </a:lnTo>
                  <a:lnTo>
                    <a:pt x="77" y="87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1"/>
                  </a:lnTo>
                  <a:lnTo>
                    <a:pt x="72" y="79"/>
                  </a:lnTo>
                  <a:close/>
                  <a:moveTo>
                    <a:pt x="126" y="72"/>
                  </a:moveTo>
                  <a:lnTo>
                    <a:pt x="127" y="75"/>
                  </a:lnTo>
                  <a:lnTo>
                    <a:pt x="128" y="78"/>
                  </a:lnTo>
                  <a:lnTo>
                    <a:pt x="130" y="81"/>
                  </a:lnTo>
                  <a:lnTo>
                    <a:pt x="131" y="84"/>
                  </a:lnTo>
                  <a:lnTo>
                    <a:pt x="130" y="91"/>
                  </a:lnTo>
                  <a:lnTo>
                    <a:pt x="130" y="93"/>
                  </a:lnTo>
                  <a:lnTo>
                    <a:pt x="129" y="96"/>
                  </a:lnTo>
                  <a:lnTo>
                    <a:pt x="128" y="99"/>
                  </a:lnTo>
                  <a:lnTo>
                    <a:pt x="125" y="101"/>
                  </a:lnTo>
                  <a:lnTo>
                    <a:pt x="128" y="100"/>
                  </a:lnTo>
                  <a:lnTo>
                    <a:pt x="128" y="103"/>
                  </a:lnTo>
                  <a:lnTo>
                    <a:pt x="128" y="106"/>
                  </a:lnTo>
                  <a:lnTo>
                    <a:pt x="126" y="109"/>
                  </a:lnTo>
                  <a:lnTo>
                    <a:pt x="129" y="111"/>
                  </a:lnTo>
                  <a:lnTo>
                    <a:pt x="128" y="114"/>
                  </a:lnTo>
                  <a:lnTo>
                    <a:pt x="131" y="114"/>
                  </a:lnTo>
                  <a:lnTo>
                    <a:pt x="135" y="116"/>
                  </a:lnTo>
                  <a:lnTo>
                    <a:pt x="136" y="119"/>
                  </a:lnTo>
                  <a:lnTo>
                    <a:pt x="141" y="119"/>
                  </a:lnTo>
                  <a:lnTo>
                    <a:pt x="144" y="118"/>
                  </a:lnTo>
                  <a:lnTo>
                    <a:pt x="150" y="120"/>
                  </a:lnTo>
                  <a:lnTo>
                    <a:pt x="148" y="123"/>
                  </a:lnTo>
                  <a:lnTo>
                    <a:pt x="147" y="125"/>
                  </a:lnTo>
                  <a:lnTo>
                    <a:pt x="144" y="127"/>
                  </a:lnTo>
                  <a:lnTo>
                    <a:pt x="141" y="127"/>
                  </a:lnTo>
                  <a:lnTo>
                    <a:pt x="139" y="130"/>
                  </a:lnTo>
                  <a:lnTo>
                    <a:pt x="136" y="132"/>
                  </a:lnTo>
                  <a:lnTo>
                    <a:pt x="131" y="136"/>
                  </a:lnTo>
                  <a:lnTo>
                    <a:pt x="126" y="137"/>
                  </a:lnTo>
                  <a:lnTo>
                    <a:pt x="126" y="134"/>
                  </a:lnTo>
                  <a:lnTo>
                    <a:pt x="128" y="132"/>
                  </a:lnTo>
                  <a:lnTo>
                    <a:pt x="130" y="129"/>
                  </a:lnTo>
                  <a:lnTo>
                    <a:pt x="132" y="127"/>
                  </a:lnTo>
                  <a:lnTo>
                    <a:pt x="137" y="125"/>
                  </a:lnTo>
                  <a:lnTo>
                    <a:pt x="135" y="125"/>
                  </a:lnTo>
                  <a:lnTo>
                    <a:pt x="130" y="124"/>
                  </a:lnTo>
                  <a:lnTo>
                    <a:pt x="130" y="120"/>
                  </a:lnTo>
                  <a:lnTo>
                    <a:pt x="128" y="123"/>
                  </a:lnTo>
                  <a:lnTo>
                    <a:pt x="127" y="126"/>
                  </a:lnTo>
                  <a:lnTo>
                    <a:pt x="124" y="127"/>
                  </a:lnTo>
                  <a:lnTo>
                    <a:pt x="124" y="123"/>
                  </a:lnTo>
                  <a:lnTo>
                    <a:pt x="123" y="121"/>
                  </a:lnTo>
                  <a:lnTo>
                    <a:pt x="114" y="122"/>
                  </a:lnTo>
                  <a:lnTo>
                    <a:pt x="117" y="119"/>
                  </a:lnTo>
                  <a:lnTo>
                    <a:pt x="113" y="117"/>
                  </a:lnTo>
                  <a:lnTo>
                    <a:pt x="114" y="115"/>
                  </a:lnTo>
                  <a:lnTo>
                    <a:pt x="110" y="109"/>
                  </a:lnTo>
                  <a:lnTo>
                    <a:pt x="109" y="105"/>
                  </a:lnTo>
                  <a:lnTo>
                    <a:pt x="112" y="104"/>
                  </a:lnTo>
                  <a:lnTo>
                    <a:pt x="116" y="108"/>
                  </a:lnTo>
                  <a:lnTo>
                    <a:pt x="115" y="104"/>
                  </a:lnTo>
                  <a:lnTo>
                    <a:pt x="111" y="101"/>
                  </a:lnTo>
                  <a:lnTo>
                    <a:pt x="112" y="98"/>
                  </a:lnTo>
                  <a:lnTo>
                    <a:pt x="109" y="99"/>
                  </a:lnTo>
                  <a:lnTo>
                    <a:pt x="109" y="96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1" y="99"/>
                  </a:lnTo>
                  <a:lnTo>
                    <a:pt x="100" y="97"/>
                  </a:lnTo>
                  <a:lnTo>
                    <a:pt x="100" y="93"/>
                  </a:lnTo>
                  <a:lnTo>
                    <a:pt x="101" y="90"/>
                  </a:lnTo>
                  <a:lnTo>
                    <a:pt x="100" y="87"/>
                  </a:lnTo>
                  <a:lnTo>
                    <a:pt x="103" y="85"/>
                  </a:lnTo>
                  <a:lnTo>
                    <a:pt x="105" y="89"/>
                  </a:lnTo>
                  <a:lnTo>
                    <a:pt x="106" y="92"/>
                  </a:lnTo>
                  <a:lnTo>
                    <a:pt x="107" y="89"/>
                  </a:lnTo>
                  <a:lnTo>
                    <a:pt x="108" y="86"/>
                  </a:lnTo>
                  <a:lnTo>
                    <a:pt x="106" y="82"/>
                  </a:lnTo>
                  <a:lnTo>
                    <a:pt x="108" y="79"/>
                  </a:lnTo>
                  <a:lnTo>
                    <a:pt x="111" y="80"/>
                  </a:lnTo>
                  <a:lnTo>
                    <a:pt x="111" y="83"/>
                  </a:lnTo>
                  <a:lnTo>
                    <a:pt x="113" y="85"/>
                  </a:lnTo>
                  <a:lnTo>
                    <a:pt x="115" y="88"/>
                  </a:lnTo>
                  <a:lnTo>
                    <a:pt x="117" y="88"/>
                  </a:lnTo>
                  <a:lnTo>
                    <a:pt x="115" y="90"/>
                  </a:lnTo>
                  <a:lnTo>
                    <a:pt x="118" y="88"/>
                  </a:lnTo>
                  <a:lnTo>
                    <a:pt x="121" y="94"/>
                  </a:lnTo>
                  <a:lnTo>
                    <a:pt x="121" y="91"/>
                  </a:lnTo>
                  <a:lnTo>
                    <a:pt x="119" y="87"/>
                  </a:lnTo>
                  <a:lnTo>
                    <a:pt x="119" y="84"/>
                  </a:lnTo>
                  <a:lnTo>
                    <a:pt x="121" y="82"/>
                  </a:lnTo>
                  <a:lnTo>
                    <a:pt x="120" y="77"/>
                  </a:lnTo>
                  <a:lnTo>
                    <a:pt x="123" y="75"/>
                  </a:lnTo>
                  <a:lnTo>
                    <a:pt x="125" y="72"/>
                  </a:lnTo>
                  <a:lnTo>
                    <a:pt x="126" y="72"/>
                  </a:lnTo>
                  <a:close/>
                  <a:moveTo>
                    <a:pt x="69" y="62"/>
                  </a:moveTo>
                  <a:lnTo>
                    <a:pt x="74" y="64"/>
                  </a:lnTo>
                  <a:lnTo>
                    <a:pt x="77" y="63"/>
                  </a:lnTo>
                  <a:lnTo>
                    <a:pt x="79" y="66"/>
                  </a:lnTo>
                  <a:lnTo>
                    <a:pt x="83" y="63"/>
                  </a:lnTo>
                  <a:lnTo>
                    <a:pt x="83" y="66"/>
                  </a:lnTo>
                  <a:lnTo>
                    <a:pt x="85" y="67"/>
                  </a:lnTo>
                  <a:lnTo>
                    <a:pt x="88" y="68"/>
                  </a:lnTo>
                  <a:lnTo>
                    <a:pt x="87" y="72"/>
                  </a:lnTo>
                  <a:lnTo>
                    <a:pt x="84" y="68"/>
                  </a:lnTo>
                  <a:lnTo>
                    <a:pt x="83" y="70"/>
                  </a:lnTo>
                  <a:lnTo>
                    <a:pt x="86" y="73"/>
                  </a:lnTo>
                  <a:lnTo>
                    <a:pt x="83" y="75"/>
                  </a:lnTo>
                  <a:lnTo>
                    <a:pt x="80" y="75"/>
                  </a:lnTo>
                  <a:lnTo>
                    <a:pt x="75" y="74"/>
                  </a:lnTo>
                  <a:lnTo>
                    <a:pt x="78" y="76"/>
                  </a:lnTo>
                  <a:lnTo>
                    <a:pt x="81" y="76"/>
                  </a:lnTo>
                  <a:lnTo>
                    <a:pt x="81" y="80"/>
                  </a:lnTo>
                  <a:lnTo>
                    <a:pt x="77" y="80"/>
                  </a:lnTo>
                  <a:lnTo>
                    <a:pt x="75" y="78"/>
                  </a:lnTo>
                  <a:lnTo>
                    <a:pt x="73" y="76"/>
                  </a:lnTo>
                  <a:lnTo>
                    <a:pt x="71" y="71"/>
                  </a:lnTo>
                  <a:lnTo>
                    <a:pt x="65" y="70"/>
                  </a:lnTo>
                  <a:lnTo>
                    <a:pt x="66" y="65"/>
                  </a:lnTo>
                  <a:lnTo>
                    <a:pt x="69" y="62"/>
                  </a:lnTo>
                  <a:close/>
                  <a:moveTo>
                    <a:pt x="85" y="59"/>
                  </a:moveTo>
                  <a:lnTo>
                    <a:pt x="85" y="61"/>
                  </a:lnTo>
                  <a:lnTo>
                    <a:pt x="83" y="61"/>
                  </a:lnTo>
                  <a:lnTo>
                    <a:pt x="85" y="59"/>
                  </a:lnTo>
                  <a:close/>
                  <a:moveTo>
                    <a:pt x="112" y="16"/>
                  </a:moveTo>
                  <a:lnTo>
                    <a:pt x="114" y="18"/>
                  </a:lnTo>
                  <a:lnTo>
                    <a:pt x="111" y="19"/>
                  </a:lnTo>
                  <a:lnTo>
                    <a:pt x="111" y="16"/>
                  </a:lnTo>
                  <a:lnTo>
                    <a:pt x="112" y="16"/>
                  </a:lnTo>
                  <a:close/>
                  <a:moveTo>
                    <a:pt x="208" y="3"/>
                  </a:moveTo>
                  <a:lnTo>
                    <a:pt x="216" y="5"/>
                  </a:lnTo>
                  <a:lnTo>
                    <a:pt x="217" y="7"/>
                  </a:lnTo>
                  <a:lnTo>
                    <a:pt x="217" y="10"/>
                  </a:lnTo>
                  <a:lnTo>
                    <a:pt x="216" y="13"/>
                  </a:lnTo>
                  <a:lnTo>
                    <a:pt x="218" y="10"/>
                  </a:lnTo>
                  <a:lnTo>
                    <a:pt x="220" y="6"/>
                  </a:lnTo>
                  <a:lnTo>
                    <a:pt x="221" y="9"/>
                  </a:lnTo>
                  <a:lnTo>
                    <a:pt x="223" y="14"/>
                  </a:lnTo>
                  <a:lnTo>
                    <a:pt x="221" y="16"/>
                  </a:lnTo>
                  <a:lnTo>
                    <a:pt x="218" y="20"/>
                  </a:lnTo>
                  <a:lnTo>
                    <a:pt x="222" y="18"/>
                  </a:lnTo>
                  <a:lnTo>
                    <a:pt x="225" y="16"/>
                  </a:lnTo>
                  <a:lnTo>
                    <a:pt x="227" y="12"/>
                  </a:lnTo>
                  <a:lnTo>
                    <a:pt x="231" y="12"/>
                  </a:lnTo>
                  <a:lnTo>
                    <a:pt x="235" y="15"/>
                  </a:lnTo>
                  <a:lnTo>
                    <a:pt x="233" y="18"/>
                  </a:lnTo>
                  <a:lnTo>
                    <a:pt x="231" y="21"/>
                  </a:lnTo>
                  <a:lnTo>
                    <a:pt x="233" y="21"/>
                  </a:lnTo>
                  <a:lnTo>
                    <a:pt x="236" y="18"/>
                  </a:lnTo>
                  <a:lnTo>
                    <a:pt x="239" y="17"/>
                  </a:lnTo>
                  <a:lnTo>
                    <a:pt x="243" y="18"/>
                  </a:lnTo>
                  <a:lnTo>
                    <a:pt x="245" y="17"/>
                  </a:lnTo>
                  <a:lnTo>
                    <a:pt x="250" y="16"/>
                  </a:lnTo>
                  <a:lnTo>
                    <a:pt x="255" y="15"/>
                  </a:lnTo>
                  <a:lnTo>
                    <a:pt x="256" y="17"/>
                  </a:lnTo>
                  <a:lnTo>
                    <a:pt x="260" y="18"/>
                  </a:lnTo>
                  <a:lnTo>
                    <a:pt x="265" y="19"/>
                  </a:lnTo>
                  <a:lnTo>
                    <a:pt x="267" y="18"/>
                  </a:lnTo>
                  <a:lnTo>
                    <a:pt x="271" y="16"/>
                  </a:lnTo>
                  <a:lnTo>
                    <a:pt x="276" y="16"/>
                  </a:lnTo>
                  <a:lnTo>
                    <a:pt x="278" y="17"/>
                  </a:lnTo>
                  <a:lnTo>
                    <a:pt x="282" y="18"/>
                  </a:lnTo>
                  <a:lnTo>
                    <a:pt x="286" y="20"/>
                  </a:lnTo>
                  <a:lnTo>
                    <a:pt x="288" y="18"/>
                  </a:lnTo>
                  <a:lnTo>
                    <a:pt x="286" y="16"/>
                  </a:lnTo>
                  <a:lnTo>
                    <a:pt x="287" y="13"/>
                  </a:lnTo>
                  <a:lnTo>
                    <a:pt x="289" y="16"/>
                  </a:lnTo>
                  <a:lnTo>
                    <a:pt x="291" y="16"/>
                  </a:lnTo>
                  <a:lnTo>
                    <a:pt x="294" y="16"/>
                  </a:lnTo>
                  <a:lnTo>
                    <a:pt x="298" y="18"/>
                  </a:lnTo>
                  <a:lnTo>
                    <a:pt x="303" y="19"/>
                  </a:lnTo>
                  <a:lnTo>
                    <a:pt x="302" y="23"/>
                  </a:lnTo>
                  <a:lnTo>
                    <a:pt x="300" y="26"/>
                  </a:lnTo>
                  <a:lnTo>
                    <a:pt x="298" y="28"/>
                  </a:lnTo>
                  <a:lnTo>
                    <a:pt x="296" y="32"/>
                  </a:lnTo>
                  <a:lnTo>
                    <a:pt x="298" y="36"/>
                  </a:lnTo>
                  <a:lnTo>
                    <a:pt x="297" y="39"/>
                  </a:lnTo>
                  <a:lnTo>
                    <a:pt x="294" y="44"/>
                  </a:lnTo>
                  <a:lnTo>
                    <a:pt x="291" y="47"/>
                  </a:lnTo>
                  <a:lnTo>
                    <a:pt x="289" y="49"/>
                  </a:lnTo>
                  <a:lnTo>
                    <a:pt x="286" y="50"/>
                  </a:lnTo>
                  <a:lnTo>
                    <a:pt x="281" y="51"/>
                  </a:lnTo>
                  <a:lnTo>
                    <a:pt x="276" y="53"/>
                  </a:lnTo>
                  <a:lnTo>
                    <a:pt x="274" y="57"/>
                  </a:lnTo>
                  <a:lnTo>
                    <a:pt x="271" y="59"/>
                  </a:lnTo>
                  <a:lnTo>
                    <a:pt x="259" y="65"/>
                  </a:lnTo>
                  <a:lnTo>
                    <a:pt x="255" y="67"/>
                  </a:lnTo>
                  <a:lnTo>
                    <a:pt x="252" y="70"/>
                  </a:lnTo>
                  <a:lnTo>
                    <a:pt x="250" y="71"/>
                  </a:lnTo>
                  <a:lnTo>
                    <a:pt x="245" y="73"/>
                  </a:lnTo>
                  <a:lnTo>
                    <a:pt x="243" y="75"/>
                  </a:lnTo>
                  <a:lnTo>
                    <a:pt x="242" y="79"/>
                  </a:lnTo>
                  <a:lnTo>
                    <a:pt x="240" y="80"/>
                  </a:lnTo>
                  <a:lnTo>
                    <a:pt x="238" y="81"/>
                  </a:lnTo>
                  <a:lnTo>
                    <a:pt x="233" y="79"/>
                  </a:lnTo>
                  <a:lnTo>
                    <a:pt x="228" y="79"/>
                  </a:lnTo>
                  <a:lnTo>
                    <a:pt x="226" y="76"/>
                  </a:lnTo>
                  <a:lnTo>
                    <a:pt x="226" y="78"/>
                  </a:lnTo>
                  <a:lnTo>
                    <a:pt x="229" y="81"/>
                  </a:lnTo>
                  <a:lnTo>
                    <a:pt x="233" y="81"/>
                  </a:lnTo>
                  <a:lnTo>
                    <a:pt x="234" y="83"/>
                  </a:lnTo>
                  <a:lnTo>
                    <a:pt x="238" y="85"/>
                  </a:lnTo>
                  <a:lnTo>
                    <a:pt x="243" y="84"/>
                  </a:lnTo>
                  <a:lnTo>
                    <a:pt x="247" y="87"/>
                  </a:lnTo>
                  <a:lnTo>
                    <a:pt x="252" y="83"/>
                  </a:lnTo>
                  <a:lnTo>
                    <a:pt x="252" y="87"/>
                  </a:lnTo>
                  <a:lnTo>
                    <a:pt x="243" y="94"/>
                  </a:lnTo>
                  <a:lnTo>
                    <a:pt x="240" y="97"/>
                  </a:lnTo>
                  <a:lnTo>
                    <a:pt x="238" y="97"/>
                  </a:lnTo>
                  <a:lnTo>
                    <a:pt x="238" y="93"/>
                  </a:lnTo>
                  <a:lnTo>
                    <a:pt x="232" y="96"/>
                  </a:lnTo>
                  <a:lnTo>
                    <a:pt x="226" y="96"/>
                  </a:lnTo>
                  <a:lnTo>
                    <a:pt x="224" y="97"/>
                  </a:lnTo>
                  <a:lnTo>
                    <a:pt x="222" y="98"/>
                  </a:lnTo>
                  <a:lnTo>
                    <a:pt x="218" y="101"/>
                  </a:lnTo>
                  <a:lnTo>
                    <a:pt x="216" y="103"/>
                  </a:lnTo>
                  <a:lnTo>
                    <a:pt x="219" y="103"/>
                  </a:lnTo>
                  <a:lnTo>
                    <a:pt x="221" y="101"/>
                  </a:lnTo>
                  <a:lnTo>
                    <a:pt x="224" y="99"/>
                  </a:lnTo>
                  <a:lnTo>
                    <a:pt x="227" y="98"/>
                  </a:lnTo>
                  <a:lnTo>
                    <a:pt x="229" y="97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7" y="100"/>
                  </a:lnTo>
                  <a:lnTo>
                    <a:pt x="234" y="103"/>
                  </a:lnTo>
                  <a:lnTo>
                    <a:pt x="232" y="105"/>
                  </a:lnTo>
                  <a:lnTo>
                    <a:pt x="229" y="107"/>
                  </a:lnTo>
                  <a:lnTo>
                    <a:pt x="226" y="108"/>
                  </a:lnTo>
                  <a:lnTo>
                    <a:pt x="224" y="107"/>
                  </a:lnTo>
                  <a:lnTo>
                    <a:pt x="224" y="113"/>
                  </a:lnTo>
                  <a:lnTo>
                    <a:pt x="228" y="113"/>
                  </a:lnTo>
                  <a:lnTo>
                    <a:pt x="230" y="113"/>
                  </a:lnTo>
                  <a:lnTo>
                    <a:pt x="233" y="111"/>
                  </a:lnTo>
                  <a:lnTo>
                    <a:pt x="233" y="106"/>
                  </a:lnTo>
                  <a:lnTo>
                    <a:pt x="239" y="107"/>
                  </a:lnTo>
                  <a:lnTo>
                    <a:pt x="244" y="108"/>
                  </a:lnTo>
                  <a:lnTo>
                    <a:pt x="254" y="104"/>
                  </a:lnTo>
                  <a:lnTo>
                    <a:pt x="257" y="104"/>
                  </a:lnTo>
                  <a:lnTo>
                    <a:pt x="259" y="104"/>
                  </a:lnTo>
                  <a:lnTo>
                    <a:pt x="263" y="102"/>
                  </a:lnTo>
                  <a:lnTo>
                    <a:pt x="266" y="101"/>
                  </a:lnTo>
                  <a:lnTo>
                    <a:pt x="274" y="101"/>
                  </a:lnTo>
                  <a:lnTo>
                    <a:pt x="277" y="105"/>
                  </a:lnTo>
                  <a:lnTo>
                    <a:pt x="283" y="108"/>
                  </a:lnTo>
                  <a:lnTo>
                    <a:pt x="288" y="108"/>
                  </a:lnTo>
                  <a:lnTo>
                    <a:pt x="292" y="107"/>
                  </a:lnTo>
                  <a:lnTo>
                    <a:pt x="300" y="108"/>
                  </a:lnTo>
                  <a:lnTo>
                    <a:pt x="305" y="109"/>
                  </a:lnTo>
                  <a:lnTo>
                    <a:pt x="309" y="112"/>
                  </a:lnTo>
                  <a:lnTo>
                    <a:pt x="314" y="113"/>
                  </a:lnTo>
                  <a:lnTo>
                    <a:pt x="318" y="115"/>
                  </a:lnTo>
                  <a:lnTo>
                    <a:pt x="320" y="115"/>
                  </a:lnTo>
                  <a:lnTo>
                    <a:pt x="326" y="115"/>
                  </a:lnTo>
                  <a:lnTo>
                    <a:pt x="328" y="116"/>
                  </a:lnTo>
                  <a:lnTo>
                    <a:pt x="331" y="114"/>
                  </a:lnTo>
                  <a:lnTo>
                    <a:pt x="337" y="115"/>
                  </a:lnTo>
                  <a:lnTo>
                    <a:pt x="339" y="118"/>
                  </a:lnTo>
                  <a:lnTo>
                    <a:pt x="344" y="125"/>
                  </a:lnTo>
                  <a:lnTo>
                    <a:pt x="344" y="128"/>
                  </a:lnTo>
                  <a:lnTo>
                    <a:pt x="345" y="131"/>
                  </a:lnTo>
                  <a:lnTo>
                    <a:pt x="344" y="134"/>
                  </a:lnTo>
                  <a:lnTo>
                    <a:pt x="344" y="137"/>
                  </a:lnTo>
                  <a:lnTo>
                    <a:pt x="341" y="142"/>
                  </a:lnTo>
                  <a:lnTo>
                    <a:pt x="340" y="144"/>
                  </a:lnTo>
                  <a:lnTo>
                    <a:pt x="334" y="148"/>
                  </a:lnTo>
                  <a:lnTo>
                    <a:pt x="327" y="158"/>
                  </a:lnTo>
                  <a:lnTo>
                    <a:pt x="325" y="163"/>
                  </a:lnTo>
                  <a:lnTo>
                    <a:pt x="325" y="166"/>
                  </a:lnTo>
                  <a:lnTo>
                    <a:pt x="324" y="169"/>
                  </a:lnTo>
                  <a:lnTo>
                    <a:pt x="319" y="176"/>
                  </a:lnTo>
                  <a:lnTo>
                    <a:pt x="316" y="180"/>
                  </a:lnTo>
                  <a:lnTo>
                    <a:pt x="315" y="183"/>
                  </a:lnTo>
                  <a:lnTo>
                    <a:pt x="315" y="186"/>
                  </a:lnTo>
                  <a:lnTo>
                    <a:pt x="313" y="190"/>
                  </a:lnTo>
                  <a:lnTo>
                    <a:pt x="310" y="192"/>
                  </a:lnTo>
                  <a:lnTo>
                    <a:pt x="307" y="195"/>
                  </a:lnTo>
                  <a:lnTo>
                    <a:pt x="303" y="197"/>
                  </a:lnTo>
                  <a:lnTo>
                    <a:pt x="300" y="200"/>
                  </a:lnTo>
                  <a:lnTo>
                    <a:pt x="299" y="204"/>
                  </a:lnTo>
                  <a:lnTo>
                    <a:pt x="296" y="207"/>
                  </a:lnTo>
                  <a:lnTo>
                    <a:pt x="296" y="210"/>
                  </a:lnTo>
                  <a:lnTo>
                    <a:pt x="293" y="214"/>
                  </a:lnTo>
                  <a:lnTo>
                    <a:pt x="288" y="216"/>
                  </a:lnTo>
                  <a:lnTo>
                    <a:pt x="284" y="218"/>
                  </a:lnTo>
                  <a:lnTo>
                    <a:pt x="280" y="222"/>
                  </a:lnTo>
                  <a:lnTo>
                    <a:pt x="263" y="220"/>
                  </a:lnTo>
                  <a:lnTo>
                    <a:pt x="253" y="226"/>
                  </a:lnTo>
                  <a:lnTo>
                    <a:pt x="250" y="227"/>
                  </a:lnTo>
                  <a:lnTo>
                    <a:pt x="255" y="227"/>
                  </a:lnTo>
                  <a:lnTo>
                    <a:pt x="268" y="223"/>
                  </a:lnTo>
                  <a:lnTo>
                    <a:pt x="271" y="221"/>
                  </a:lnTo>
                  <a:lnTo>
                    <a:pt x="275" y="224"/>
                  </a:lnTo>
                  <a:lnTo>
                    <a:pt x="275" y="227"/>
                  </a:lnTo>
                  <a:lnTo>
                    <a:pt x="274" y="229"/>
                  </a:lnTo>
                  <a:lnTo>
                    <a:pt x="274" y="232"/>
                  </a:lnTo>
                  <a:lnTo>
                    <a:pt x="280" y="235"/>
                  </a:lnTo>
                  <a:lnTo>
                    <a:pt x="283" y="238"/>
                  </a:lnTo>
                  <a:lnTo>
                    <a:pt x="286" y="240"/>
                  </a:lnTo>
                  <a:lnTo>
                    <a:pt x="281" y="243"/>
                  </a:lnTo>
                  <a:lnTo>
                    <a:pt x="279" y="245"/>
                  </a:lnTo>
                  <a:lnTo>
                    <a:pt x="276" y="245"/>
                  </a:lnTo>
                  <a:lnTo>
                    <a:pt x="273" y="248"/>
                  </a:lnTo>
                  <a:lnTo>
                    <a:pt x="270" y="246"/>
                  </a:lnTo>
                  <a:lnTo>
                    <a:pt x="267" y="244"/>
                  </a:lnTo>
                  <a:lnTo>
                    <a:pt x="265" y="244"/>
                  </a:lnTo>
                  <a:lnTo>
                    <a:pt x="263" y="245"/>
                  </a:lnTo>
                  <a:lnTo>
                    <a:pt x="259" y="246"/>
                  </a:lnTo>
                  <a:lnTo>
                    <a:pt x="256" y="250"/>
                  </a:lnTo>
                  <a:lnTo>
                    <a:pt x="252" y="254"/>
                  </a:lnTo>
                  <a:lnTo>
                    <a:pt x="247" y="256"/>
                  </a:lnTo>
                  <a:lnTo>
                    <a:pt x="244" y="257"/>
                  </a:lnTo>
                  <a:lnTo>
                    <a:pt x="242" y="257"/>
                  </a:lnTo>
                  <a:lnTo>
                    <a:pt x="238" y="257"/>
                  </a:lnTo>
                  <a:lnTo>
                    <a:pt x="230" y="253"/>
                  </a:lnTo>
                  <a:lnTo>
                    <a:pt x="225" y="252"/>
                  </a:lnTo>
                  <a:lnTo>
                    <a:pt x="220" y="246"/>
                  </a:lnTo>
                  <a:lnTo>
                    <a:pt x="218" y="244"/>
                  </a:lnTo>
                  <a:lnTo>
                    <a:pt x="221" y="248"/>
                  </a:lnTo>
                  <a:lnTo>
                    <a:pt x="222" y="253"/>
                  </a:lnTo>
                  <a:lnTo>
                    <a:pt x="228" y="256"/>
                  </a:lnTo>
                  <a:lnTo>
                    <a:pt x="238" y="260"/>
                  </a:lnTo>
                  <a:lnTo>
                    <a:pt x="240" y="261"/>
                  </a:lnTo>
                  <a:lnTo>
                    <a:pt x="252" y="265"/>
                  </a:lnTo>
                  <a:lnTo>
                    <a:pt x="254" y="267"/>
                  </a:lnTo>
                  <a:lnTo>
                    <a:pt x="257" y="267"/>
                  </a:lnTo>
                  <a:lnTo>
                    <a:pt x="261" y="266"/>
                  </a:lnTo>
                  <a:lnTo>
                    <a:pt x="263" y="264"/>
                  </a:lnTo>
                  <a:lnTo>
                    <a:pt x="266" y="263"/>
                  </a:lnTo>
                  <a:lnTo>
                    <a:pt x="267" y="261"/>
                  </a:lnTo>
                  <a:lnTo>
                    <a:pt x="269" y="259"/>
                  </a:lnTo>
                  <a:lnTo>
                    <a:pt x="278" y="261"/>
                  </a:lnTo>
                  <a:lnTo>
                    <a:pt x="280" y="264"/>
                  </a:lnTo>
                  <a:lnTo>
                    <a:pt x="280" y="267"/>
                  </a:lnTo>
                  <a:lnTo>
                    <a:pt x="284" y="267"/>
                  </a:lnTo>
                  <a:lnTo>
                    <a:pt x="287" y="269"/>
                  </a:lnTo>
                  <a:lnTo>
                    <a:pt x="291" y="274"/>
                  </a:lnTo>
                  <a:lnTo>
                    <a:pt x="301" y="278"/>
                  </a:lnTo>
                  <a:lnTo>
                    <a:pt x="302" y="281"/>
                  </a:lnTo>
                  <a:lnTo>
                    <a:pt x="306" y="289"/>
                  </a:lnTo>
                  <a:lnTo>
                    <a:pt x="312" y="301"/>
                  </a:lnTo>
                  <a:lnTo>
                    <a:pt x="312" y="304"/>
                  </a:lnTo>
                  <a:lnTo>
                    <a:pt x="314" y="307"/>
                  </a:lnTo>
                  <a:lnTo>
                    <a:pt x="316" y="306"/>
                  </a:lnTo>
                  <a:lnTo>
                    <a:pt x="316" y="309"/>
                  </a:lnTo>
                  <a:lnTo>
                    <a:pt x="318" y="309"/>
                  </a:lnTo>
                  <a:lnTo>
                    <a:pt x="323" y="313"/>
                  </a:lnTo>
                  <a:lnTo>
                    <a:pt x="323" y="317"/>
                  </a:lnTo>
                  <a:lnTo>
                    <a:pt x="323" y="320"/>
                  </a:lnTo>
                  <a:lnTo>
                    <a:pt x="323" y="323"/>
                  </a:lnTo>
                  <a:lnTo>
                    <a:pt x="323" y="329"/>
                  </a:lnTo>
                  <a:lnTo>
                    <a:pt x="322" y="332"/>
                  </a:lnTo>
                  <a:lnTo>
                    <a:pt x="322" y="335"/>
                  </a:lnTo>
                  <a:lnTo>
                    <a:pt x="322" y="339"/>
                  </a:lnTo>
                  <a:lnTo>
                    <a:pt x="321" y="342"/>
                  </a:lnTo>
                  <a:lnTo>
                    <a:pt x="322" y="346"/>
                  </a:lnTo>
                  <a:lnTo>
                    <a:pt x="322" y="349"/>
                  </a:lnTo>
                  <a:lnTo>
                    <a:pt x="322" y="352"/>
                  </a:lnTo>
                  <a:lnTo>
                    <a:pt x="323" y="355"/>
                  </a:lnTo>
                  <a:lnTo>
                    <a:pt x="323" y="358"/>
                  </a:lnTo>
                  <a:lnTo>
                    <a:pt x="323" y="361"/>
                  </a:lnTo>
                  <a:lnTo>
                    <a:pt x="324" y="365"/>
                  </a:lnTo>
                  <a:lnTo>
                    <a:pt x="325" y="368"/>
                  </a:lnTo>
                  <a:lnTo>
                    <a:pt x="327" y="371"/>
                  </a:lnTo>
                  <a:lnTo>
                    <a:pt x="327" y="376"/>
                  </a:lnTo>
                  <a:lnTo>
                    <a:pt x="328" y="391"/>
                  </a:lnTo>
                  <a:lnTo>
                    <a:pt x="329" y="394"/>
                  </a:lnTo>
                  <a:lnTo>
                    <a:pt x="331" y="397"/>
                  </a:lnTo>
                  <a:lnTo>
                    <a:pt x="333" y="399"/>
                  </a:lnTo>
                  <a:lnTo>
                    <a:pt x="332" y="402"/>
                  </a:lnTo>
                  <a:lnTo>
                    <a:pt x="332" y="405"/>
                  </a:lnTo>
                  <a:lnTo>
                    <a:pt x="333" y="407"/>
                  </a:lnTo>
                  <a:lnTo>
                    <a:pt x="334" y="404"/>
                  </a:lnTo>
                  <a:lnTo>
                    <a:pt x="337" y="407"/>
                  </a:lnTo>
                  <a:lnTo>
                    <a:pt x="339" y="408"/>
                  </a:lnTo>
                  <a:lnTo>
                    <a:pt x="341" y="410"/>
                  </a:lnTo>
                  <a:lnTo>
                    <a:pt x="352" y="415"/>
                  </a:lnTo>
                  <a:lnTo>
                    <a:pt x="363" y="424"/>
                  </a:lnTo>
                  <a:lnTo>
                    <a:pt x="365" y="427"/>
                  </a:lnTo>
                  <a:lnTo>
                    <a:pt x="365" y="431"/>
                  </a:lnTo>
                  <a:lnTo>
                    <a:pt x="367" y="433"/>
                  </a:lnTo>
                  <a:lnTo>
                    <a:pt x="369" y="437"/>
                  </a:lnTo>
                  <a:lnTo>
                    <a:pt x="369" y="441"/>
                  </a:lnTo>
                  <a:lnTo>
                    <a:pt x="370" y="444"/>
                  </a:lnTo>
                  <a:lnTo>
                    <a:pt x="371" y="447"/>
                  </a:lnTo>
                  <a:lnTo>
                    <a:pt x="375" y="450"/>
                  </a:lnTo>
                  <a:lnTo>
                    <a:pt x="375" y="455"/>
                  </a:lnTo>
                  <a:lnTo>
                    <a:pt x="383" y="460"/>
                  </a:lnTo>
                  <a:lnTo>
                    <a:pt x="379" y="464"/>
                  </a:lnTo>
                  <a:lnTo>
                    <a:pt x="376" y="469"/>
                  </a:lnTo>
                  <a:lnTo>
                    <a:pt x="377" y="478"/>
                  </a:lnTo>
                  <a:lnTo>
                    <a:pt x="378" y="481"/>
                  </a:lnTo>
                  <a:lnTo>
                    <a:pt x="382" y="491"/>
                  </a:lnTo>
                  <a:lnTo>
                    <a:pt x="390" y="507"/>
                  </a:lnTo>
                  <a:lnTo>
                    <a:pt x="390" y="510"/>
                  </a:lnTo>
                  <a:lnTo>
                    <a:pt x="389" y="513"/>
                  </a:lnTo>
                  <a:lnTo>
                    <a:pt x="389" y="510"/>
                  </a:lnTo>
                  <a:lnTo>
                    <a:pt x="385" y="506"/>
                  </a:lnTo>
                  <a:lnTo>
                    <a:pt x="383" y="506"/>
                  </a:lnTo>
                  <a:lnTo>
                    <a:pt x="381" y="507"/>
                  </a:lnTo>
                  <a:lnTo>
                    <a:pt x="379" y="507"/>
                  </a:lnTo>
                  <a:lnTo>
                    <a:pt x="376" y="505"/>
                  </a:lnTo>
                  <a:lnTo>
                    <a:pt x="371" y="497"/>
                  </a:lnTo>
                  <a:lnTo>
                    <a:pt x="367" y="495"/>
                  </a:lnTo>
                  <a:lnTo>
                    <a:pt x="360" y="496"/>
                  </a:lnTo>
                  <a:lnTo>
                    <a:pt x="355" y="495"/>
                  </a:lnTo>
                  <a:lnTo>
                    <a:pt x="353" y="495"/>
                  </a:lnTo>
                  <a:lnTo>
                    <a:pt x="348" y="493"/>
                  </a:lnTo>
                  <a:lnTo>
                    <a:pt x="343" y="495"/>
                  </a:lnTo>
                  <a:lnTo>
                    <a:pt x="346" y="495"/>
                  </a:lnTo>
                  <a:lnTo>
                    <a:pt x="349" y="495"/>
                  </a:lnTo>
                  <a:lnTo>
                    <a:pt x="352" y="497"/>
                  </a:lnTo>
                  <a:lnTo>
                    <a:pt x="367" y="497"/>
                  </a:lnTo>
                  <a:lnTo>
                    <a:pt x="369" y="500"/>
                  </a:lnTo>
                  <a:lnTo>
                    <a:pt x="372" y="506"/>
                  </a:lnTo>
                  <a:lnTo>
                    <a:pt x="374" y="508"/>
                  </a:lnTo>
                  <a:lnTo>
                    <a:pt x="376" y="511"/>
                  </a:lnTo>
                  <a:lnTo>
                    <a:pt x="379" y="512"/>
                  </a:lnTo>
                  <a:lnTo>
                    <a:pt x="381" y="516"/>
                  </a:lnTo>
                  <a:lnTo>
                    <a:pt x="386" y="522"/>
                  </a:lnTo>
                  <a:lnTo>
                    <a:pt x="389" y="525"/>
                  </a:lnTo>
                  <a:lnTo>
                    <a:pt x="392" y="529"/>
                  </a:lnTo>
                  <a:lnTo>
                    <a:pt x="393" y="532"/>
                  </a:lnTo>
                  <a:lnTo>
                    <a:pt x="393" y="534"/>
                  </a:lnTo>
                  <a:lnTo>
                    <a:pt x="396" y="547"/>
                  </a:lnTo>
                  <a:lnTo>
                    <a:pt x="396" y="551"/>
                  </a:lnTo>
                  <a:lnTo>
                    <a:pt x="396" y="555"/>
                  </a:lnTo>
                  <a:lnTo>
                    <a:pt x="394" y="559"/>
                  </a:lnTo>
                  <a:lnTo>
                    <a:pt x="392" y="560"/>
                  </a:lnTo>
                  <a:lnTo>
                    <a:pt x="385" y="565"/>
                  </a:lnTo>
                  <a:lnTo>
                    <a:pt x="378" y="572"/>
                  </a:lnTo>
                  <a:lnTo>
                    <a:pt x="375" y="573"/>
                  </a:lnTo>
                  <a:lnTo>
                    <a:pt x="373" y="576"/>
                  </a:lnTo>
                  <a:lnTo>
                    <a:pt x="378" y="576"/>
                  </a:lnTo>
                  <a:lnTo>
                    <a:pt x="382" y="579"/>
                  </a:lnTo>
                  <a:lnTo>
                    <a:pt x="384" y="584"/>
                  </a:lnTo>
                  <a:lnTo>
                    <a:pt x="386" y="585"/>
                  </a:lnTo>
                  <a:lnTo>
                    <a:pt x="390" y="586"/>
                  </a:lnTo>
                  <a:lnTo>
                    <a:pt x="392" y="590"/>
                  </a:lnTo>
                  <a:lnTo>
                    <a:pt x="394" y="586"/>
                  </a:lnTo>
                  <a:lnTo>
                    <a:pt x="396" y="583"/>
                  </a:lnTo>
                  <a:lnTo>
                    <a:pt x="398" y="579"/>
                  </a:lnTo>
                  <a:lnTo>
                    <a:pt x="400" y="575"/>
                  </a:lnTo>
                  <a:lnTo>
                    <a:pt x="405" y="572"/>
                  </a:lnTo>
                  <a:lnTo>
                    <a:pt x="408" y="572"/>
                  </a:lnTo>
                  <a:lnTo>
                    <a:pt x="411" y="573"/>
                  </a:lnTo>
                  <a:lnTo>
                    <a:pt x="414" y="573"/>
                  </a:lnTo>
                  <a:lnTo>
                    <a:pt x="420" y="574"/>
                  </a:lnTo>
                  <a:lnTo>
                    <a:pt x="424" y="576"/>
                  </a:lnTo>
                  <a:lnTo>
                    <a:pt x="427" y="577"/>
                  </a:lnTo>
                  <a:lnTo>
                    <a:pt x="431" y="576"/>
                  </a:lnTo>
                  <a:lnTo>
                    <a:pt x="427" y="575"/>
                  </a:lnTo>
                  <a:lnTo>
                    <a:pt x="445" y="581"/>
                  </a:lnTo>
                  <a:lnTo>
                    <a:pt x="451" y="585"/>
                  </a:lnTo>
                  <a:lnTo>
                    <a:pt x="463" y="598"/>
                  </a:lnTo>
                  <a:lnTo>
                    <a:pt x="466" y="603"/>
                  </a:lnTo>
                  <a:lnTo>
                    <a:pt x="466" y="607"/>
                  </a:lnTo>
                  <a:lnTo>
                    <a:pt x="467" y="610"/>
                  </a:lnTo>
                  <a:lnTo>
                    <a:pt x="467" y="613"/>
                  </a:lnTo>
                  <a:lnTo>
                    <a:pt x="467" y="616"/>
                  </a:lnTo>
                  <a:lnTo>
                    <a:pt x="467" y="621"/>
                  </a:lnTo>
                  <a:lnTo>
                    <a:pt x="467" y="626"/>
                  </a:lnTo>
                  <a:lnTo>
                    <a:pt x="464" y="632"/>
                  </a:lnTo>
                  <a:lnTo>
                    <a:pt x="461" y="640"/>
                  </a:lnTo>
                  <a:lnTo>
                    <a:pt x="459" y="643"/>
                  </a:lnTo>
                  <a:lnTo>
                    <a:pt x="457" y="647"/>
                  </a:lnTo>
                  <a:lnTo>
                    <a:pt x="457" y="651"/>
                  </a:lnTo>
                  <a:lnTo>
                    <a:pt x="455" y="656"/>
                  </a:lnTo>
                  <a:lnTo>
                    <a:pt x="453" y="661"/>
                  </a:lnTo>
                  <a:lnTo>
                    <a:pt x="448" y="664"/>
                  </a:lnTo>
                  <a:lnTo>
                    <a:pt x="446" y="665"/>
                  </a:lnTo>
                  <a:lnTo>
                    <a:pt x="443" y="669"/>
                  </a:lnTo>
                  <a:lnTo>
                    <a:pt x="438" y="673"/>
                  </a:lnTo>
                  <a:lnTo>
                    <a:pt x="434" y="668"/>
                  </a:lnTo>
                  <a:lnTo>
                    <a:pt x="429" y="665"/>
                  </a:lnTo>
                  <a:lnTo>
                    <a:pt x="431" y="668"/>
                  </a:lnTo>
                  <a:lnTo>
                    <a:pt x="433" y="669"/>
                  </a:lnTo>
                  <a:lnTo>
                    <a:pt x="434" y="672"/>
                  </a:lnTo>
                  <a:lnTo>
                    <a:pt x="431" y="672"/>
                  </a:lnTo>
                  <a:lnTo>
                    <a:pt x="427" y="670"/>
                  </a:lnTo>
                  <a:lnTo>
                    <a:pt x="423" y="671"/>
                  </a:lnTo>
                  <a:lnTo>
                    <a:pt x="433" y="673"/>
                  </a:lnTo>
                  <a:lnTo>
                    <a:pt x="428" y="679"/>
                  </a:lnTo>
                  <a:lnTo>
                    <a:pt x="432" y="680"/>
                  </a:lnTo>
                  <a:lnTo>
                    <a:pt x="428" y="685"/>
                  </a:lnTo>
                  <a:lnTo>
                    <a:pt x="425" y="686"/>
                  </a:lnTo>
                  <a:lnTo>
                    <a:pt x="419" y="687"/>
                  </a:lnTo>
                  <a:lnTo>
                    <a:pt x="417" y="684"/>
                  </a:lnTo>
                  <a:lnTo>
                    <a:pt x="415" y="680"/>
                  </a:lnTo>
                  <a:lnTo>
                    <a:pt x="414" y="683"/>
                  </a:lnTo>
                  <a:lnTo>
                    <a:pt x="411" y="684"/>
                  </a:lnTo>
                  <a:lnTo>
                    <a:pt x="409" y="685"/>
                  </a:lnTo>
                  <a:lnTo>
                    <a:pt x="408" y="688"/>
                  </a:lnTo>
                  <a:lnTo>
                    <a:pt x="405" y="689"/>
                  </a:lnTo>
                  <a:lnTo>
                    <a:pt x="403" y="688"/>
                  </a:lnTo>
                  <a:lnTo>
                    <a:pt x="399" y="689"/>
                  </a:lnTo>
                  <a:lnTo>
                    <a:pt x="401" y="692"/>
                  </a:lnTo>
                  <a:lnTo>
                    <a:pt x="406" y="691"/>
                  </a:lnTo>
                  <a:lnTo>
                    <a:pt x="410" y="689"/>
                  </a:lnTo>
                  <a:lnTo>
                    <a:pt x="411" y="692"/>
                  </a:lnTo>
                  <a:lnTo>
                    <a:pt x="411" y="695"/>
                  </a:lnTo>
                  <a:lnTo>
                    <a:pt x="410" y="698"/>
                  </a:lnTo>
                  <a:lnTo>
                    <a:pt x="409" y="703"/>
                  </a:lnTo>
                  <a:lnTo>
                    <a:pt x="406" y="705"/>
                  </a:lnTo>
                  <a:lnTo>
                    <a:pt x="402" y="707"/>
                  </a:lnTo>
                  <a:lnTo>
                    <a:pt x="399" y="708"/>
                  </a:lnTo>
                  <a:lnTo>
                    <a:pt x="395" y="706"/>
                  </a:lnTo>
                  <a:lnTo>
                    <a:pt x="393" y="706"/>
                  </a:lnTo>
                  <a:lnTo>
                    <a:pt x="390" y="707"/>
                  </a:lnTo>
                  <a:lnTo>
                    <a:pt x="388" y="708"/>
                  </a:lnTo>
                  <a:lnTo>
                    <a:pt x="385" y="707"/>
                  </a:lnTo>
                  <a:lnTo>
                    <a:pt x="381" y="707"/>
                  </a:lnTo>
                  <a:lnTo>
                    <a:pt x="380" y="710"/>
                  </a:lnTo>
                  <a:lnTo>
                    <a:pt x="377" y="711"/>
                  </a:lnTo>
                  <a:lnTo>
                    <a:pt x="380" y="711"/>
                  </a:lnTo>
                  <a:lnTo>
                    <a:pt x="386" y="709"/>
                  </a:lnTo>
                  <a:lnTo>
                    <a:pt x="395" y="712"/>
                  </a:lnTo>
                  <a:lnTo>
                    <a:pt x="396" y="715"/>
                  </a:lnTo>
                  <a:lnTo>
                    <a:pt x="392" y="714"/>
                  </a:lnTo>
                  <a:lnTo>
                    <a:pt x="389" y="716"/>
                  </a:lnTo>
                  <a:lnTo>
                    <a:pt x="387" y="716"/>
                  </a:lnTo>
                  <a:lnTo>
                    <a:pt x="387" y="719"/>
                  </a:lnTo>
                  <a:lnTo>
                    <a:pt x="392" y="719"/>
                  </a:lnTo>
                  <a:lnTo>
                    <a:pt x="394" y="720"/>
                  </a:lnTo>
                  <a:lnTo>
                    <a:pt x="394" y="717"/>
                  </a:lnTo>
                  <a:lnTo>
                    <a:pt x="396" y="720"/>
                  </a:lnTo>
                  <a:lnTo>
                    <a:pt x="399" y="721"/>
                  </a:lnTo>
                  <a:lnTo>
                    <a:pt x="397" y="715"/>
                  </a:lnTo>
                  <a:lnTo>
                    <a:pt x="405" y="718"/>
                  </a:lnTo>
                  <a:lnTo>
                    <a:pt x="407" y="721"/>
                  </a:lnTo>
                  <a:lnTo>
                    <a:pt x="407" y="723"/>
                  </a:lnTo>
                  <a:lnTo>
                    <a:pt x="402" y="722"/>
                  </a:lnTo>
                  <a:lnTo>
                    <a:pt x="409" y="726"/>
                  </a:lnTo>
                  <a:lnTo>
                    <a:pt x="416" y="724"/>
                  </a:lnTo>
                  <a:lnTo>
                    <a:pt x="436" y="726"/>
                  </a:lnTo>
                  <a:lnTo>
                    <a:pt x="437" y="730"/>
                  </a:lnTo>
                  <a:lnTo>
                    <a:pt x="433" y="731"/>
                  </a:lnTo>
                  <a:lnTo>
                    <a:pt x="433" y="735"/>
                  </a:lnTo>
                  <a:lnTo>
                    <a:pt x="434" y="741"/>
                  </a:lnTo>
                  <a:lnTo>
                    <a:pt x="433" y="745"/>
                  </a:lnTo>
                  <a:lnTo>
                    <a:pt x="431" y="747"/>
                  </a:lnTo>
                  <a:lnTo>
                    <a:pt x="425" y="750"/>
                  </a:lnTo>
                  <a:lnTo>
                    <a:pt x="422" y="751"/>
                  </a:lnTo>
                  <a:lnTo>
                    <a:pt x="420" y="751"/>
                  </a:lnTo>
                  <a:lnTo>
                    <a:pt x="417" y="753"/>
                  </a:lnTo>
                  <a:lnTo>
                    <a:pt x="414" y="752"/>
                  </a:lnTo>
                  <a:lnTo>
                    <a:pt x="411" y="753"/>
                  </a:lnTo>
                  <a:lnTo>
                    <a:pt x="409" y="755"/>
                  </a:lnTo>
                  <a:lnTo>
                    <a:pt x="405" y="759"/>
                  </a:lnTo>
                  <a:lnTo>
                    <a:pt x="404" y="762"/>
                  </a:lnTo>
                  <a:lnTo>
                    <a:pt x="404" y="766"/>
                  </a:lnTo>
                  <a:lnTo>
                    <a:pt x="394" y="763"/>
                  </a:lnTo>
                  <a:lnTo>
                    <a:pt x="392" y="763"/>
                  </a:lnTo>
                  <a:lnTo>
                    <a:pt x="386" y="768"/>
                  </a:lnTo>
                  <a:lnTo>
                    <a:pt x="383" y="769"/>
                  </a:lnTo>
                  <a:lnTo>
                    <a:pt x="370" y="770"/>
                  </a:lnTo>
                  <a:lnTo>
                    <a:pt x="368" y="770"/>
                  </a:lnTo>
                  <a:lnTo>
                    <a:pt x="364" y="773"/>
                  </a:lnTo>
                  <a:lnTo>
                    <a:pt x="362" y="776"/>
                  </a:lnTo>
                  <a:lnTo>
                    <a:pt x="359" y="776"/>
                  </a:lnTo>
                  <a:lnTo>
                    <a:pt x="355" y="774"/>
                  </a:lnTo>
                  <a:lnTo>
                    <a:pt x="352" y="774"/>
                  </a:lnTo>
                  <a:lnTo>
                    <a:pt x="350" y="772"/>
                  </a:lnTo>
                  <a:lnTo>
                    <a:pt x="347" y="771"/>
                  </a:lnTo>
                  <a:lnTo>
                    <a:pt x="336" y="765"/>
                  </a:lnTo>
                  <a:lnTo>
                    <a:pt x="332" y="765"/>
                  </a:lnTo>
                  <a:lnTo>
                    <a:pt x="323" y="766"/>
                  </a:lnTo>
                  <a:lnTo>
                    <a:pt x="313" y="764"/>
                  </a:lnTo>
                  <a:lnTo>
                    <a:pt x="303" y="766"/>
                  </a:lnTo>
                  <a:lnTo>
                    <a:pt x="300" y="766"/>
                  </a:lnTo>
                  <a:lnTo>
                    <a:pt x="300" y="769"/>
                  </a:lnTo>
                  <a:lnTo>
                    <a:pt x="298" y="768"/>
                  </a:lnTo>
                  <a:lnTo>
                    <a:pt x="293" y="764"/>
                  </a:lnTo>
                  <a:lnTo>
                    <a:pt x="296" y="762"/>
                  </a:lnTo>
                  <a:lnTo>
                    <a:pt x="294" y="759"/>
                  </a:lnTo>
                  <a:lnTo>
                    <a:pt x="290" y="757"/>
                  </a:lnTo>
                  <a:lnTo>
                    <a:pt x="287" y="757"/>
                  </a:lnTo>
                  <a:lnTo>
                    <a:pt x="284" y="760"/>
                  </a:lnTo>
                  <a:lnTo>
                    <a:pt x="282" y="762"/>
                  </a:lnTo>
                  <a:lnTo>
                    <a:pt x="282" y="759"/>
                  </a:lnTo>
                  <a:lnTo>
                    <a:pt x="283" y="756"/>
                  </a:lnTo>
                  <a:lnTo>
                    <a:pt x="279" y="755"/>
                  </a:lnTo>
                  <a:lnTo>
                    <a:pt x="280" y="760"/>
                  </a:lnTo>
                  <a:lnTo>
                    <a:pt x="277" y="761"/>
                  </a:lnTo>
                  <a:lnTo>
                    <a:pt x="274" y="757"/>
                  </a:lnTo>
                  <a:lnTo>
                    <a:pt x="271" y="755"/>
                  </a:lnTo>
                  <a:lnTo>
                    <a:pt x="268" y="751"/>
                  </a:lnTo>
                  <a:lnTo>
                    <a:pt x="262" y="746"/>
                  </a:lnTo>
                  <a:lnTo>
                    <a:pt x="269" y="756"/>
                  </a:lnTo>
                  <a:lnTo>
                    <a:pt x="267" y="758"/>
                  </a:lnTo>
                  <a:lnTo>
                    <a:pt x="263" y="758"/>
                  </a:lnTo>
                  <a:lnTo>
                    <a:pt x="260" y="760"/>
                  </a:lnTo>
                  <a:lnTo>
                    <a:pt x="258" y="760"/>
                  </a:lnTo>
                  <a:lnTo>
                    <a:pt x="254" y="763"/>
                  </a:lnTo>
                  <a:lnTo>
                    <a:pt x="251" y="762"/>
                  </a:lnTo>
                  <a:lnTo>
                    <a:pt x="247" y="760"/>
                  </a:lnTo>
                  <a:lnTo>
                    <a:pt x="245" y="760"/>
                  </a:lnTo>
                  <a:lnTo>
                    <a:pt x="242" y="761"/>
                  </a:lnTo>
                  <a:lnTo>
                    <a:pt x="238" y="760"/>
                  </a:lnTo>
                  <a:lnTo>
                    <a:pt x="235" y="760"/>
                  </a:lnTo>
                  <a:lnTo>
                    <a:pt x="233" y="761"/>
                  </a:lnTo>
                  <a:lnTo>
                    <a:pt x="229" y="759"/>
                  </a:lnTo>
                  <a:lnTo>
                    <a:pt x="225" y="760"/>
                  </a:lnTo>
                  <a:lnTo>
                    <a:pt x="227" y="763"/>
                  </a:lnTo>
                  <a:lnTo>
                    <a:pt x="230" y="763"/>
                  </a:lnTo>
                  <a:lnTo>
                    <a:pt x="231" y="766"/>
                  </a:lnTo>
                  <a:lnTo>
                    <a:pt x="228" y="769"/>
                  </a:lnTo>
                  <a:lnTo>
                    <a:pt x="223" y="770"/>
                  </a:lnTo>
                  <a:lnTo>
                    <a:pt x="218" y="767"/>
                  </a:lnTo>
                  <a:lnTo>
                    <a:pt x="206" y="764"/>
                  </a:lnTo>
                  <a:lnTo>
                    <a:pt x="203" y="762"/>
                  </a:lnTo>
                  <a:lnTo>
                    <a:pt x="201" y="762"/>
                  </a:lnTo>
                  <a:lnTo>
                    <a:pt x="199" y="765"/>
                  </a:lnTo>
                  <a:lnTo>
                    <a:pt x="199" y="768"/>
                  </a:lnTo>
                  <a:lnTo>
                    <a:pt x="199" y="771"/>
                  </a:lnTo>
                  <a:lnTo>
                    <a:pt x="197" y="766"/>
                  </a:lnTo>
                  <a:lnTo>
                    <a:pt x="187" y="755"/>
                  </a:lnTo>
                  <a:lnTo>
                    <a:pt x="178" y="749"/>
                  </a:lnTo>
                  <a:lnTo>
                    <a:pt x="172" y="749"/>
                  </a:lnTo>
                  <a:lnTo>
                    <a:pt x="168" y="750"/>
                  </a:lnTo>
                  <a:lnTo>
                    <a:pt x="164" y="750"/>
                  </a:lnTo>
                  <a:lnTo>
                    <a:pt x="161" y="751"/>
                  </a:lnTo>
                  <a:lnTo>
                    <a:pt x="159" y="750"/>
                  </a:lnTo>
                  <a:lnTo>
                    <a:pt x="154" y="750"/>
                  </a:lnTo>
                  <a:lnTo>
                    <a:pt x="151" y="753"/>
                  </a:lnTo>
                  <a:lnTo>
                    <a:pt x="147" y="755"/>
                  </a:lnTo>
                  <a:lnTo>
                    <a:pt x="145" y="754"/>
                  </a:lnTo>
                  <a:lnTo>
                    <a:pt x="143" y="749"/>
                  </a:lnTo>
                  <a:lnTo>
                    <a:pt x="143" y="753"/>
                  </a:lnTo>
                  <a:lnTo>
                    <a:pt x="141" y="756"/>
                  </a:lnTo>
                  <a:lnTo>
                    <a:pt x="137" y="759"/>
                  </a:lnTo>
                  <a:lnTo>
                    <a:pt x="136" y="764"/>
                  </a:lnTo>
                  <a:lnTo>
                    <a:pt x="136" y="768"/>
                  </a:lnTo>
                  <a:lnTo>
                    <a:pt x="134" y="768"/>
                  </a:lnTo>
                  <a:lnTo>
                    <a:pt x="132" y="771"/>
                  </a:lnTo>
                  <a:lnTo>
                    <a:pt x="136" y="772"/>
                  </a:lnTo>
                  <a:lnTo>
                    <a:pt x="134" y="774"/>
                  </a:lnTo>
                  <a:lnTo>
                    <a:pt x="132" y="777"/>
                  </a:lnTo>
                  <a:lnTo>
                    <a:pt x="130" y="776"/>
                  </a:lnTo>
                  <a:lnTo>
                    <a:pt x="128" y="778"/>
                  </a:lnTo>
                  <a:lnTo>
                    <a:pt x="125" y="781"/>
                  </a:lnTo>
                  <a:lnTo>
                    <a:pt x="123" y="785"/>
                  </a:lnTo>
                  <a:lnTo>
                    <a:pt x="122" y="787"/>
                  </a:lnTo>
                  <a:lnTo>
                    <a:pt x="120" y="788"/>
                  </a:lnTo>
                  <a:lnTo>
                    <a:pt x="118" y="787"/>
                  </a:lnTo>
                  <a:lnTo>
                    <a:pt x="115" y="787"/>
                  </a:lnTo>
                  <a:lnTo>
                    <a:pt x="113" y="784"/>
                  </a:lnTo>
                  <a:lnTo>
                    <a:pt x="110" y="779"/>
                  </a:lnTo>
                  <a:lnTo>
                    <a:pt x="107" y="775"/>
                  </a:lnTo>
                  <a:lnTo>
                    <a:pt x="105" y="775"/>
                  </a:lnTo>
                  <a:lnTo>
                    <a:pt x="102" y="776"/>
                  </a:lnTo>
                  <a:lnTo>
                    <a:pt x="98" y="772"/>
                  </a:lnTo>
                  <a:lnTo>
                    <a:pt x="99" y="769"/>
                  </a:lnTo>
                  <a:lnTo>
                    <a:pt x="97" y="769"/>
                  </a:lnTo>
                  <a:lnTo>
                    <a:pt x="95" y="765"/>
                  </a:lnTo>
                  <a:lnTo>
                    <a:pt x="96" y="762"/>
                  </a:lnTo>
                  <a:lnTo>
                    <a:pt x="93" y="764"/>
                  </a:lnTo>
                  <a:lnTo>
                    <a:pt x="89" y="764"/>
                  </a:lnTo>
                  <a:lnTo>
                    <a:pt x="93" y="766"/>
                  </a:lnTo>
                  <a:lnTo>
                    <a:pt x="93" y="769"/>
                  </a:lnTo>
                  <a:lnTo>
                    <a:pt x="93" y="772"/>
                  </a:lnTo>
                  <a:lnTo>
                    <a:pt x="91" y="769"/>
                  </a:lnTo>
                  <a:lnTo>
                    <a:pt x="86" y="766"/>
                  </a:lnTo>
                  <a:lnTo>
                    <a:pt x="83" y="766"/>
                  </a:lnTo>
                  <a:lnTo>
                    <a:pt x="78" y="768"/>
                  </a:lnTo>
                  <a:lnTo>
                    <a:pt x="76" y="768"/>
                  </a:lnTo>
                  <a:lnTo>
                    <a:pt x="65" y="767"/>
                  </a:lnTo>
                  <a:lnTo>
                    <a:pt x="63" y="765"/>
                  </a:lnTo>
                  <a:lnTo>
                    <a:pt x="60" y="765"/>
                  </a:lnTo>
                  <a:lnTo>
                    <a:pt x="60" y="768"/>
                  </a:lnTo>
                  <a:lnTo>
                    <a:pt x="57" y="770"/>
                  </a:lnTo>
                  <a:lnTo>
                    <a:pt x="57" y="773"/>
                  </a:lnTo>
                  <a:lnTo>
                    <a:pt x="53" y="773"/>
                  </a:lnTo>
                  <a:lnTo>
                    <a:pt x="50" y="774"/>
                  </a:lnTo>
                  <a:lnTo>
                    <a:pt x="47" y="775"/>
                  </a:lnTo>
                  <a:lnTo>
                    <a:pt x="42" y="779"/>
                  </a:lnTo>
                  <a:lnTo>
                    <a:pt x="42" y="774"/>
                  </a:lnTo>
                  <a:lnTo>
                    <a:pt x="39" y="776"/>
                  </a:lnTo>
                  <a:lnTo>
                    <a:pt x="38" y="779"/>
                  </a:lnTo>
                  <a:lnTo>
                    <a:pt x="34" y="782"/>
                  </a:lnTo>
                  <a:lnTo>
                    <a:pt x="38" y="786"/>
                  </a:lnTo>
                  <a:lnTo>
                    <a:pt x="34" y="789"/>
                  </a:lnTo>
                  <a:lnTo>
                    <a:pt x="32" y="789"/>
                  </a:lnTo>
                  <a:lnTo>
                    <a:pt x="29" y="791"/>
                  </a:lnTo>
                  <a:lnTo>
                    <a:pt x="28" y="794"/>
                  </a:lnTo>
                  <a:lnTo>
                    <a:pt x="26" y="790"/>
                  </a:lnTo>
                  <a:lnTo>
                    <a:pt x="26" y="787"/>
                  </a:lnTo>
                  <a:lnTo>
                    <a:pt x="24" y="782"/>
                  </a:lnTo>
                  <a:lnTo>
                    <a:pt x="23" y="780"/>
                  </a:lnTo>
                  <a:lnTo>
                    <a:pt x="20" y="777"/>
                  </a:lnTo>
                  <a:lnTo>
                    <a:pt x="17" y="777"/>
                  </a:lnTo>
                  <a:lnTo>
                    <a:pt x="15" y="774"/>
                  </a:lnTo>
                  <a:lnTo>
                    <a:pt x="12" y="774"/>
                  </a:lnTo>
                  <a:lnTo>
                    <a:pt x="11" y="778"/>
                  </a:lnTo>
                  <a:lnTo>
                    <a:pt x="7" y="780"/>
                  </a:lnTo>
                  <a:lnTo>
                    <a:pt x="5" y="780"/>
                  </a:lnTo>
                  <a:lnTo>
                    <a:pt x="2" y="780"/>
                  </a:lnTo>
                  <a:lnTo>
                    <a:pt x="0" y="776"/>
                  </a:lnTo>
                  <a:lnTo>
                    <a:pt x="1" y="772"/>
                  </a:lnTo>
                  <a:lnTo>
                    <a:pt x="3" y="769"/>
                  </a:lnTo>
                  <a:lnTo>
                    <a:pt x="6" y="768"/>
                  </a:lnTo>
                  <a:lnTo>
                    <a:pt x="10" y="767"/>
                  </a:lnTo>
                  <a:lnTo>
                    <a:pt x="14" y="766"/>
                  </a:lnTo>
                  <a:lnTo>
                    <a:pt x="17" y="768"/>
                  </a:lnTo>
                  <a:lnTo>
                    <a:pt x="20" y="769"/>
                  </a:lnTo>
                  <a:lnTo>
                    <a:pt x="22" y="766"/>
                  </a:lnTo>
                  <a:lnTo>
                    <a:pt x="24" y="766"/>
                  </a:lnTo>
                  <a:lnTo>
                    <a:pt x="26" y="765"/>
                  </a:lnTo>
                  <a:lnTo>
                    <a:pt x="34" y="760"/>
                  </a:lnTo>
                  <a:lnTo>
                    <a:pt x="37" y="759"/>
                  </a:lnTo>
                  <a:lnTo>
                    <a:pt x="38" y="756"/>
                  </a:lnTo>
                  <a:lnTo>
                    <a:pt x="45" y="753"/>
                  </a:lnTo>
                  <a:lnTo>
                    <a:pt x="47" y="748"/>
                  </a:lnTo>
                  <a:lnTo>
                    <a:pt x="48" y="744"/>
                  </a:lnTo>
                  <a:lnTo>
                    <a:pt x="51" y="743"/>
                  </a:lnTo>
                  <a:lnTo>
                    <a:pt x="57" y="747"/>
                  </a:lnTo>
                  <a:lnTo>
                    <a:pt x="55" y="744"/>
                  </a:lnTo>
                  <a:lnTo>
                    <a:pt x="55" y="741"/>
                  </a:lnTo>
                  <a:lnTo>
                    <a:pt x="61" y="741"/>
                  </a:lnTo>
                  <a:lnTo>
                    <a:pt x="64" y="739"/>
                  </a:lnTo>
                  <a:lnTo>
                    <a:pt x="66" y="737"/>
                  </a:lnTo>
                  <a:lnTo>
                    <a:pt x="68" y="734"/>
                  </a:lnTo>
                  <a:lnTo>
                    <a:pt x="74" y="732"/>
                  </a:lnTo>
                  <a:lnTo>
                    <a:pt x="75" y="729"/>
                  </a:lnTo>
                  <a:lnTo>
                    <a:pt x="79" y="727"/>
                  </a:lnTo>
                  <a:lnTo>
                    <a:pt x="82" y="723"/>
                  </a:lnTo>
                  <a:lnTo>
                    <a:pt x="83" y="715"/>
                  </a:lnTo>
                  <a:lnTo>
                    <a:pt x="84" y="711"/>
                  </a:lnTo>
                  <a:lnTo>
                    <a:pt x="86" y="709"/>
                  </a:lnTo>
                  <a:lnTo>
                    <a:pt x="86" y="705"/>
                  </a:lnTo>
                  <a:lnTo>
                    <a:pt x="92" y="706"/>
                  </a:lnTo>
                  <a:lnTo>
                    <a:pt x="97" y="709"/>
                  </a:lnTo>
                  <a:lnTo>
                    <a:pt x="104" y="704"/>
                  </a:lnTo>
                  <a:lnTo>
                    <a:pt x="106" y="702"/>
                  </a:lnTo>
                  <a:lnTo>
                    <a:pt x="105" y="699"/>
                  </a:lnTo>
                  <a:lnTo>
                    <a:pt x="104" y="695"/>
                  </a:lnTo>
                  <a:lnTo>
                    <a:pt x="107" y="696"/>
                  </a:lnTo>
                  <a:lnTo>
                    <a:pt x="107" y="693"/>
                  </a:lnTo>
                  <a:lnTo>
                    <a:pt x="111" y="691"/>
                  </a:lnTo>
                  <a:lnTo>
                    <a:pt x="122" y="692"/>
                  </a:lnTo>
                  <a:lnTo>
                    <a:pt x="124" y="692"/>
                  </a:lnTo>
                  <a:lnTo>
                    <a:pt x="129" y="693"/>
                  </a:lnTo>
                  <a:lnTo>
                    <a:pt x="133" y="692"/>
                  </a:lnTo>
                  <a:lnTo>
                    <a:pt x="142" y="695"/>
                  </a:lnTo>
                  <a:lnTo>
                    <a:pt x="146" y="696"/>
                  </a:lnTo>
                  <a:lnTo>
                    <a:pt x="153" y="699"/>
                  </a:lnTo>
                  <a:lnTo>
                    <a:pt x="155" y="702"/>
                  </a:lnTo>
                  <a:lnTo>
                    <a:pt x="162" y="703"/>
                  </a:lnTo>
                  <a:lnTo>
                    <a:pt x="166" y="702"/>
                  </a:lnTo>
                  <a:lnTo>
                    <a:pt x="172" y="703"/>
                  </a:lnTo>
                  <a:lnTo>
                    <a:pt x="174" y="703"/>
                  </a:lnTo>
                  <a:lnTo>
                    <a:pt x="178" y="700"/>
                  </a:lnTo>
                  <a:lnTo>
                    <a:pt x="179" y="696"/>
                  </a:lnTo>
                  <a:lnTo>
                    <a:pt x="178" y="693"/>
                  </a:lnTo>
                  <a:lnTo>
                    <a:pt x="181" y="691"/>
                  </a:lnTo>
                  <a:lnTo>
                    <a:pt x="182" y="688"/>
                  </a:lnTo>
                  <a:lnTo>
                    <a:pt x="185" y="688"/>
                  </a:lnTo>
                  <a:lnTo>
                    <a:pt x="188" y="686"/>
                  </a:lnTo>
                  <a:lnTo>
                    <a:pt x="192" y="682"/>
                  </a:lnTo>
                  <a:lnTo>
                    <a:pt x="196" y="680"/>
                  </a:lnTo>
                  <a:lnTo>
                    <a:pt x="198" y="680"/>
                  </a:lnTo>
                  <a:lnTo>
                    <a:pt x="206" y="671"/>
                  </a:lnTo>
                  <a:lnTo>
                    <a:pt x="208" y="669"/>
                  </a:lnTo>
                  <a:lnTo>
                    <a:pt x="215" y="664"/>
                  </a:lnTo>
                  <a:lnTo>
                    <a:pt x="217" y="662"/>
                  </a:lnTo>
                  <a:lnTo>
                    <a:pt x="221" y="661"/>
                  </a:lnTo>
                  <a:lnTo>
                    <a:pt x="222" y="659"/>
                  </a:lnTo>
                  <a:lnTo>
                    <a:pt x="220" y="660"/>
                  </a:lnTo>
                  <a:lnTo>
                    <a:pt x="218" y="660"/>
                  </a:lnTo>
                  <a:lnTo>
                    <a:pt x="215" y="662"/>
                  </a:lnTo>
                  <a:lnTo>
                    <a:pt x="209" y="665"/>
                  </a:lnTo>
                  <a:lnTo>
                    <a:pt x="203" y="670"/>
                  </a:lnTo>
                  <a:lnTo>
                    <a:pt x="200" y="672"/>
                  </a:lnTo>
                  <a:lnTo>
                    <a:pt x="197" y="672"/>
                  </a:lnTo>
                  <a:lnTo>
                    <a:pt x="194" y="674"/>
                  </a:lnTo>
                  <a:lnTo>
                    <a:pt x="191" y="675"/>
                  </a:lnTo>
                  <a:lnTo>
                    <a:pt x="186" y="674"/>
                  </a:lnTo>
                  <a:lnTo>
                    <a:pt x="178" y="676"/>
                  </a:lnTo>
                  <a:lnTo>
                    <a:pt x="175" y="678"/>
                  </a:lnTo>
                  <a:lnTo>
                    <a:pt x="172" y="680"/>
                  </a:lnTo>
                  <a:lnTo>
                    <a:pt x="171" y="684"/>
                  </a:lnTo>
                  <a:lnTo>
                    <a:pt x="169" y="684"/>
                  </a:lnTo>
                  <a:lnTo>
                    <a:pt x="164" y="685"/>
                  </a:lnTo>
                  <a:lnTo>
                    <a:pt x="150" y="681"/>
                  </a:lnTo>
                  <a:lnTo>
                    <a:pt x="147" y="676"/>
                  </a:lnTo>
                  <a:lnTo>
                    <a:pt x="145" y="673"/>
                  </a:lnTo>
                  <a:lnTo>
                    <a:pt x="141" y="672"/>
                  </a:lnTo>
                  <a:lnTo>
                    <a:pt x="139" y="669"/>
                  </a:lnTo>
                  <a:lnTo>
                    <a:pt x="139" y="665"/>
                  </a:lnTo>
                  <a:lnTo>
                    <a:pt x="139" y="662"/>
                  </a:lnTo>
                  <a:lnTo>
                    <a:pt x="136" y="658"/>
                  </a:lnTo>
                  <a:lnTo>
                    <a:pt x="129" y="656"/>
                  </a:lnTo>
                  <a:lnTo>
                    <a:pt x="127" y="658"/>
                  </a:lnTo>
                  <a:lnTo>
                    <a:pt x="127" y="660"/>
                  </a:lnTo>
                  <a:lnTo>
                    <a:pt x="125" y="661"/>
                  </a:lnTo>
                  <a:lnTo>
                    <a:pt x="122" y="661"/>
                  </a:lnTo>
                  <a:lnTo>
                    <a:pt x="120" y="660"/>
                  </a:lnTo>
                  <a:lnTo>
                    <a:pt x="117" y="661"/>
                  </a:lnTo>
                  <a:lnTo>
                    <a:pt x="115" y="660"/>
                  </a:lnTo>
                  <a:lnTo>
                    <a:pt x="111" y="659"/>
                  </a:lnTo>
                  <a:lnTo>
                    <a:pt x="111" y="655"/>
                  </a:lnTo>
                  <a:lnTo>
                    <a:pt x="111" y="652"/>
                  </a:lnTo>
                  <a:lnTo>
                    <a:pt x="113" y="651"/>
                  </a:lnTo>
                  <a:lnTo>
                    <a:pt x="117" y="652"/>
                  </a:lnTo>
                  <a:lnTo>
                    <a:pt x="120" y="652"/>
                  </a:lnTo>
                  <a:lnTo>
                    <a:pt x="122" y="652"/>
                  </a:lnTo>
                  <a:lnTo>
                    <a:pt x="124" y="650"/>
                  </a:lnTo>
                  <a:lnTo>
                    <a:pt x="122" y="650"/>
                  </a:lnTo>
                  <a:lnTo>
                    <a:pt x="120" y="649"/>
                  </a:lnTo>
                  <a:lnTo>
                    <a:pt x="117" y="647"/>
                  </a:lnTo>
                  <a:lnTo>
                    <a:pt x="112" y="647"/>
                  </a:lnTo>
                  <a:lnTo>
                    <a:pt x="109" y="645"/>
                  </a:lnTo>
                  <a:lnTo>
                    <a:pt x="108" y="641"/>
                  </a:lnTo>
                  <a:lnTo>
                    <a:pt x="110" y="642"/>
                  </a:lnTo>
                  <a:lnTo>
                    <a:pt x="109" y="639"/>
                  </a:lnTo>
                  <a:lnTo>
                    <a:pt x="110" y="635"/>
                  </a:lnTo>
                  <a:lnTo>
                    <a:pt x="107" y="637"/>
                  </a:lnTo>
                  <a:lnTo>
                    <a:pt x="103" y="639"/>
                  </a:lnTo>
                  <a:lnTo>
                    <a:pt x="101" y="639"/>
                  </a:lnTo>
                  <a:lnTo>
                    <a:pt x="97" y="637"/>
                  </a:lnTo>
                  <a:lnTo>
                    <a:pt x="93" y="637"/>
                  </a:lnTo>
                  <a:lnTo>
                    <a:pt x="90" y="641"/>
                  </a:lnTo>
                  <a:lnTo>
                    <a:pt x="88" y="644"/>
                  </a:lnTo>
                  <a:lnTo>
                    <a:pt x="85" y="644"/>
                  </a:lnTo>
                  <a:lnTo>
                    <a:pt x="80" y="643"/>
                  </a:lnTo>
                  <a:lnTo>
                    <a:pt x="78" y="644"/>
                  </a:lnTo>
                  <a:lnTo>
                    <a:pt x="75" y="645"/>
                  </a:lnTo>
                  <a:lnTo>
                    <a:pt x="70" y="644"/>
                  </a:lnTo>
                  <a:lnTo>
                    <a:pt x="69" y="640"/>
                  </a:lnTo>
                  <a:lnTo>
                    <a:pt x="65" y="638"/>
                  </a:lnTo>
                  <a:lnTo>
                    <a:pt x="70" y="638"/>
                  </a:lnTo>
                  <a:lnTo>
                    <a:pt x="73" y="638"/>
                  </a:lnTo>
                  <a:lnTo>
                    <a:pt x="76" y="637"/>
                  </a:lnTo>
                  <a:lnTo>
                    <a:pt x="79" y="637"/>
                  </a:lnTo>
                  <a:lnTo>
                    <a:pt x="82" y="637"/>
                  </a:lnTo>
                  <a:lnTo>
                    <a:pt x="81" y="632"/>
                  </a:lnTo>
                  <a:lnTo>
                    <a:pt x="84" y="630"/>
                  </a:lnTo>
                  <a:lnTo>
                    <a:pt x="82" y="630"/>
                  </a:lnTo>
                  <a:lnTo>
                    <a:pt x="78" y="630"/>
                  </a:lnTo>
                  <a:lnTo>
                    <a:pt x="79" y="633"/>
                  </a:lnTo>
                  <a:lnTo>
                    <a:pt x="78" y="636"/>
                  </a:lnTo>
                  <a:lnTo>
                    <a:pt x="73" y="636"/>
                  </a:lnTo>
                  <a:lnTo>
                    <a:pt x="64" y="633"/>
                  </a:lnTo>
                  <a:lnTo>
                    <a:pt x="62" y="635"/>
                  </a:lnTo>
                  <a:lnTo>
                    <a:pt x="59" y="631"/>
                  </a:lnTo>
                  <a:lnTo>
                    <a:pt x="62" y="629"/>
                  </a:lnTo>
                  <a:lnTo>
                    <a:pt x="65" y="629"/>
                  </a:lnTo>
                  <a:lnTo>
                    <a:pt x="68" y="627"/>
                  </a:lnTo>
                  <a:lnTo>
                    <a:pt x="69" y="623"/>
                  </a:lnTo>
                  <a:lnTo>
                    <a:pt x="68" y="620"/>
                  </a:lnTo>
                  <a:lnTo>
                    <a:pt x="63" y="619"/>
                  </a:lnTo>
                  <a:lnTo>
                    <a:pt x="58" y="618"/>
                  </a:lnTo>
                  <a:lnTo>
                    <a:pt x="59" y="615"/>
                  </a:lnTo>
                  <a:lnTo>
                    <a:pt x="62" y="614"/>
                  </a:lnTo>
                  <a:lnTo>
                    <a:pt x="65" y="612"/>
                  </a:lnTo>
                  <a:lnTo>
                    <a:pt x="68" y="612"/>
                  </a:lnTo>
                  <a:lnTo>
                    <a:pt x="71" y="611"/>
                  </a:lnTo>
                  <a:lnTo>
                    <a:pt x="74" y="608"/>
                  </a:lnTo>
                  <a:lnTo>
                    <a:pt x="77" y="606"/>
                  </a:lnTo>
                  <a:lnTo>
                    <a:pt x="81" y="609"/>
                  </a:lnTo>
                  <a:lnTo>
                    <a:pt x="83" y="609"/>
                  </a:lnTo>
                  <a:lnTo>
                    <a:pt x="86" y="609"/>
                  </a:lnTo>
                  <a:lnTo>
                    <a:pt x="88" y="607"/>
                  </a:lnTo>
                  <a:lnTo>
                    <a:pt x="91" y="606"/>
                  </a:lnTo>
                  <a:lnTo>
                    <a:pt x="95" y="603"/>
                  </a:lnTo>
                  <a:lnTo>
                    <a:pt x="98" y="604"/>
                  </a:lnTo>
                  <a:lnTo>
                    <a:pt x="99" y="601"/>
                  </a:lnTo>
                  <a:lnTo>
                    <a:pt x="101" y="601"/>
                  </a:lnTo>
                  <a:lnTo>
                    <a:pt x="108" y="602"/>
                  </a:lnTo>
                  <a:lnTo>
                    <a:pt x="111" y="601"/>
                  </a:lnTo>
                  <a:lnTo>
                    <a:pt x="114" y="599"/>
                  </a:lnTo>
                  <a:lnTo>
                    <a:pt x="117" y="597"/>
                  </a:lnTo>
                  <a:lnTo>
                    <a:pt x="128" y="593"/>
                  </a:lnTo>
                  <a:lnTo>
                    <a:pt x="132" y="589"/>
                  </a:lnTo>
                  <a:lnTo>
                    <a:pt x="134" y="585"/>
                  </a:lnTo>
                  <a:lnTo>
                    <a:pt x="137" y="580"/>
                  </a:lnTo>
                  <a:lnTo>
                    <a:pt x="138" y="576"/>
                  </a:lnTo>
                  <a:lnTo>
                    <a:pt x="139" y="573"/>
                  </a:lnTo>
                  <a:lnTo>
                    <a:pt x="143" y="572"/>
                  </a:lnTo>
                  <a:lnTo>
                    <a:pt x="147" y="570"/>
                  </a:lnTo>
                  <a:lnTo>
                    <a:pt x="143" y="570"/>
                  </a:lnTo>
                  <a:lnTo>
                    <a:pt x="141" y="569"/>
                  </a:lnTo>
                  <a:lnTo>
                    <a:pt x="138" y="565"/>
                  </a:lnTo>
                  <a:lnTo>
                    <a:pt x="138" y="561"/>
                  </a:lnTo>
                  <a:lnTo>
                    <a:pt x="142" y="558"/>
                  </a:lnTo>
                  <a:lnTo>
                    <a:pt x="144" y="555"/>
                  </a:lnTo>
                  <a:lnTo>
                    <a:pt x="148" y="554"/>
                  </a:lnTo>
                  <a:lnTo>
                    <a:pt x="145" y="554"/>
                  </a:lnTo>
                  <a:lnTo>
                    <a:pt x="142" y="548"/>
                  </a:lnTo>
                  <a:lnTo>
                    <a:pt x="141" y="544"/>
                  </a:lnTo>
                  <a:lnTo>
                    <a:pt x="143" y="541"/>
                  </a:lnTo>
                  <a:lnTo>
                    <a:pt x="143" y="538"/>
                  </a:lnTo>
                  <a:lnTo>
                    <a:pt x="148" y="535"/>
                  </a:lnTo>
                  <a:lnTo>
                    <a:pt x="143" y="535"/>
                  </a:lnTo>
                  <a:lnTo>
                    <a:pt x="138" y="534"/>
                  </a:lnTo>
                  <a:lnTo>
                    <a:pt x="133" y="534"/>
                  </a:lnTo>
                  <a:lnTo>
                    <a:pt x="131" y="535"/>
                  </a:lnTo>
                  <a:lnTo>
                    <a:pt x="127" y="534"/>
                  </a:lnTo>
                  <a:lnTo>
                    <a:pt x="125" y="535"/>
                  </a:lnTo>
                  <a:lnTo>
                    <a:pt x="123" y="538"/>
                  </a:lnTo>
                  <a:lnTo>
                    <a:pt x="121" y="540"/>
                  </a:lnTo>
                  <a:lnTo>
                    <a:pt x="118" y="541"/>
                  </a:lnTo>
                  <a:lnTo>
                    <a:pt x="114" y="540"/>
                  </a:lnTo>
                  <a:lnTo>
                    <a:pt x="110" y="539"/>
                  </a:lnTo>
                  <a:lnTo>
                    <a:pt x="107" y="540"/>
                  </a:lnTo>
                  <a:lnTo>
                    <a:pt x="107" y="537"/>
                  </a:lnTo>
                  <a:lnTo>
                    <a:pt x="118" y="529"/>
                  </a:lnTo>
                  <a:lnTo>
                    <a:pt x="121" y="529"/>
                  </a:lnTo>
                  <a:lnTo>
                    <a:pt x="127" y="526"/>
                  </a:lnTo>
                  <a:lnTo>
                    <a:pt x="133" y="522"/>
                  </a:lnTo>
                  <a:lnTo>
                    <a:pt x="134" y="518"/>
                  </a:lnTo>
                  <a:lnTo>
                    <a:pt x="135" y="515"/>
                  </a:lnTo>
                  <a:lnTo>
                    <a:pt x="137" y="514"/>
                  </a:lnTo>
                  <a:lnTo>
                    <a:pt x="141" y="511"/>
                  </a:lnTo>
                  <a:lnTo>
                    <a:pt x="144" y="510"/>
                  </a:lnTo>
                  <a:lnTo>
                    <a:pt x="147" y="506"/>
                  </a:lnTo>
                  <a:lnTo>
                    <a:pt x="150" y="505"/>
                  </a:lnTo>
                  <a:lnTo>
                    <a:pt x="152" y="506"/>
                  </a:lnTo>
                  <a:lnTo>
                    <a:pt x="155" y="506"/>
                  </a:lnTo>
                  <a:lnTo>
                    <a:pt x="159" y="504"/>
                  </a:lnTo>
                  <a:lnTo>
                    <a:pt x="165" y="503"/>
                  </a:lnTo>
                  <a:lnTo>
                    <a:pt x="165" y="500"/>
                  </a:lnTo>
                  <a:lnTo>
                    <a:pt x="168" y="500"/>
                  </a:lnTo>
                  <a:lnTo>
                    <a:pt x="171" y="501"/>
                  </a:lnTo>
                  <a:lnTo>
                    <a:pt x="172" y="504"/>
                  </a:lnTo>
                  <a:lnTo>
                    <a:pt x="179" y="506"/>
                  </a:lnTo>
                  <a:lnTo>
                    <a:pt x="181" y="506"/>
                  </a:lnTo>
                  <a:lnTo>
                    <a:pt x="193" y="503"/>
                  </a:lnTo>
                  <a:lnTo>
                    <a:pt x="195" y="503"/>
                  </a:lnTo>
                  <a:lnTo>
                    <a:pt x="199" y="507"/>
                  </a:lnTo>
                  <a:lnTo>
                    <a:pt x="205" y="513"/>
                  </a:lnTo>
                  <a:lnTo>
                    <a:pt x="206" y="516"/>
                  </a:lnTo>
                  <a:lnTo>
                    <a:pt x="207" y="512"/>
                  </a:lnTo>
                  <a:lnTo>
                    <a:pt x="205" y="506"/>
                  </a:lnTo>
                  <a:lnTo>
                    <a:pt x="204" y="504"/>
                  </a:lnTo>
                  <a:lnTo>
                    <a:pt x="203" y="501"/>
                  </a:lnTo>
                  <a:lnTo>
                    <a:pt x="208" y="500"/>
                  </a:lnTo>
                  <a:lnTo>
                    <a:pt x="211" y="498"/>
                  </a:lnTo>
                  <a:lnTo>
                    <a:pt x="214" y="500"/>
                  </a:lnTo>
                  <a:lnTo>
                    <a:pt x="216" y="509"/>
                  </a:lnTo>
                  <a:lnTo>
                    <a:pt x="218" y="512"/>
                  </a:lnTo>
                  <a:lnTo>
                    <a:pt x="221" y="513"/>
                  </a:lnTo>
                  <a:lnTo>
                    <a:pt x="223" y="513"/>
                  </a:lnTo>
                  <a:lnTo>
                    <a:pt x="227" y="510"/>
                  </a:lnTo>
                  <a:lnTo>
                    <a:pt x="229" y="510"/>
                  </a:lnTo>
                  <a:lnTo>
                    <a:pt x="226" y="509"/>
                  </a:lnTo>
                  <a:lnTo>
                    <a:pt x="222" y="510"/>
                  </a:lnTo>
                  <a:lnTo>
                    <a:pt x="220" y="509"/>
                  </a:lnTo>
                  <a:lnTo>
                    <a:pt x="216" y="503"/>
                  </a:lnTo>
                  <a:lnTo>
                    <a:pt x="211" y="488"/>
                  </a:lnTo>
                  <a:lnTo>
                    <a:pt x="213" y="484"/>
                  </a:lnTo>
                  <a:lnTo>
                    <a:pt x="218" y="479"/>
                  </a:lnTo>
                  <a:lnTo>
                    <a:pt x="221" y="475"/>
                  </a:lnTo>
                  <a:lnTo>
                    <a:pt x="225" y="473"/>
                  </a:lnTo>
                  <a:lnTo>
                    <a:pt x="221" y="471"/>
                  </a:lnTo>
                  <a:lnTo>
                    <a:pt x="218" y="465"/>
                  </a:lnTo>
                  <a:lnTo>
                    <a:pt x="220" y="458"/>
                  </a:lnTo>
                  <a:lnTo>
                    <a:pt x="221" y="454"/>
                  </a:lnTo>
                  <a:lnTo>
                    <a:pt x="228" y="451"/>
                  </a:lnTo>
                  <a:lnTo>
                    <a:pt x="231" y="450"/>
                  </a:lnTo>
                  <a:lnTo>
                    <a:pt x="234" y="447"/>
                  </a:lnTo>
                  <a:lnTo>
                    <a:pt x="230" y="447"/>
                  </a:lnTo>
                  <a:lnTo>
                    <a:pt x="230" y="444"/>
                  </a:lnTo>
                  <a:lnTo>
                    <a:pt x="233" y="441"/>
                  </a:lnTo>
                  <a:lnTo>
                    <a:pt x="235" y="440"/>
                  </a:lnTo>
                  <a:lnTo>
                    <a:pt x="238" y="437"/>
                  </a:lnTo>
                  <a:lnTo>
                    <a:pt x="236" y="431"/>
                  </a:lnTo>
                  <a:lnTo>
                    <a:pt x="238" y="429"/>
                  </a:lnTo>
                  <a:lnTo>
                    <a:pt x="240" y="426"/>
                  </a:lnTo>
                  <a:lnTo>
                    <a:pt x="236" y="429"/>
                  </a:lnTo>
                  <a:lnTo>
                    <a:pt x="232" y="432"/>
                  </a:lnTo>
                  <a:lnTo>
                    <a:pt x="228" y="433"/>
                  </a:lnTo>
                  <a:lnTo>
                    <a:pt x="227" y="429"/>
                  </a:lnTo>
                  <a:lnTo>
                    <a:pt x="227" y="426"/>
                  </a:lnTo>
                  <a:lnTo>
                    <a:pt x="225" y="429"/>
                  </a:lnTo>
                  <a:lnTo>
                    <a:pt x="222" y="433"/>
                  </a:lnTo>
                  <a:lnTo>
                    <a:pt x="220" y="435"/>
                  </a:lnTo>
                  <a:lnTo>
                    <a:pt x="218" y="438"/>
                  </a:lnTo>
                  <a:lnTo>
                    <a:pt x="215" y="435"/>
                  </a:lnTo>
                  <a:lnTo>
                    <a:pt x="215" y="431"/>
                  </a:lnTo>
                  <a:lnTo>
                    <a:pt x="214" y="428"/>
                  </a:lnTo>
                  <a:lnTo>
                    <a:pt x="217" y="425"/>
                  </a:lnTo>
                  <a:lnTo>
                    <a:pt x="218" y="422"/>
                  </a:lnTo>
                  <a:lnTo>
                    <a:pt x="216" y="426"/>
                  </a:lnTo>
                  <a:lnTo>
                    <a:pt x="211" y="426"/>
                  </a:lnTo>
                  <a:lnTo>
                    <a:pt x="208" y="421"/>
                  </a:lnTo>
                  <a:lnTo>
                    <a:pt x="207" y="417"/>
                  </a:lnTo>
                  <a:lnTo>
                    <a:pt x="207" y="414"/>
                  </a:lnTo>
                  <a:lnTo>
                    <a:pt x="208" y="411"/>
                  </a:lnTo>
                  <a:lnTo>
                    <a:pt x="205" y="406"/>
                  </a:lnTo>
                  <a:lnTo>
                    <a:pt x="201" y="397"/>
                  </a:lnTo>
                  <a:lnTo>
                    <a:pt x="199" y="394"/>
                  </a:lnTo>
                  <a:lnTo>
                    <a:pt x="202" y="389"/>
                  </a:lnTo>
                  <a:lnTo>
                    <a:pt x="205" y="382"/>
                  </a:lnTo>
                  <a:lnTo>
                    <a:pt x="207" y="378"/>
                  </a:lnTo>
                  <a:lnTo>
                    <a:pt x="209" y="375"/>
                  </a:lnTo>
                  <a:lnTo>
                    <a:pt x="211" y="374"/>
                  </a:lnTo>
                  <a:lnTo>
                    <a:pt x="215" y="370"/>
                  </a:lnTo>
                  <a:lnTo>
                    <a:pt x="218" y="364"/>
                  </a:lnTo>
                  <a:lnTo>
                    <a:pt x="221" y="360"/>
                  </a:lnTo>
                  <a:lnTo>
                    <a:pt x="226" y="361"/>
                  </a:lnTo>
                  <a:lnTo>
                    <a:pt x="224" y="359"/>
                  </a:lnTo>
                  <a:lnTo>
                    <a:pt x="226" y="357"/>
                  </a:lnTo>
                  <a:lnTo>
                    <a:pt x="230" y="357"/>
                  </a:lnTo>
                  <a:lnTo>
                    <a:pt x="233" y="359"/>
                  </a:lnTo>
                  <a:lnTo>
                    <a:pt x="238" y="359"/>
                  </a:lnTo>
                  <a:lnTo>
                    <a:pt x="236" y="358"/>
                  </a:lnTo>
                  <a:lnTo>
                    <a:pt x="239" y="357"/>
                  </a:lnTo>
                  <a:lnTo>
                    <a:pt x="234" y="356"/>
                  </a:lnTo>
                  <a:lnTo>
                    <a:pt x="218" y="352"/>
                  </a:lnTo>
                  <a:lnTo>
                    <a:pt x="215" y="350"/>
                  </a:lnTo>
                  <a:lnTo>
                    <a:pt x="213" y="351"/>
                  </a:lnTo>
                  <a:lnTo>
                    <a:pt x="210" y="352"/>
                  </a:lnTo>
                  <a:lnTo>
                    <a:pt x="210" y="355"/>
                  </a:lnTo>
                  <a:lnTo>
                    <a:pt x="209" y="358"/>
                  </a:lnTo>
                  <a:lnTo>
                    <a:pt x="202" y="358"/>
                  </a:lnTo>
                  <a:lnTo>
                    <a:pt x="200" y="360"/>
                  </a:lnTo>
                  <a:lnTo>
                    <a:pt x="196" y="359"/>
                  </a:lnTo>
                  <a:lnTo>
                    <a:pt x="193" y="360"/>
                  </a:lnTo>
                  <a:lnTo>
                    <a:pt x="191" y="363"/>
                  </a:lnTo>
                  <a:lnTo>
                    <a:pt x="186" y="366"/>
                  </a:lnTo>
                  <a:lnTo>
                    <a:pt x="184" y="366"/>
                  </a:lnTo>
                  <a:lnTo>
                    <a:pt x="183" y="361"/>
                  </a:lnTo>
                  <a:lnTo>
                    <a:pt x="180" y="361"/>
                  </a:lnTo>
                  <a:lnTo>
                    <a:pt x="180" y="364"/>
                  </a:lnTo>
                  <a:lnTo>
                    <a:pt x="176" y="362"/>
                  </a:lnTo>
                  <a:lnTo>
                    <a:pt x="174" y="358"/>
                  </a:lnTo>
                  <a:lnTo>
                    <a:pt x="176" y="355"/>
                  </a:lnTo>
                  <a:lnTo>
                    <a:pt x="173" y="357"/>
                  </a:lnTo>
                  <a:lnTo>
                    <a:pt x="168" y="354"/>
                  </a:lnTo>
                  <a:lnTo>
                    <a:pt x="167" y="350"/>
                  </a:lnTo>
                  <a:lnTo>
                    <a:pt x="164" y="354"/>
                  </a:lnTo>
                  <a:lnTo>
                    <a:pt x="166" y="357"/>
                  </a:lnTo>
                  <a:lnTo>
                    <a:pt x="166" y="361"/>
                  </a:lnTo>
                  <a:lnTo>
                    <a:pt x="165" y="364"/>
                  </a:lnTo>
                  <a:lnTo>
                    <a:pt x="165" y="368"/>
                  </a:lnTo>
                  <a:lnTo>
                    <a:pt x="162" y="369"/>
                  </a:lnTo>
                  <a:lnTo>
                    <a:pt x="157" y="367"/>
                  </a:lnTo>
                  <a:lnTo>
                    <a:pt x="155" y="361"/>
                  </a:lnTo>
                  <a:lnTo>
                    <a:pt x="148" y="354"/>
                  </a:lnTo>
                  <a:lnTo>
                    <a:pt x="146" y="353"/>
                  </a:lnTo>
                  <a:lnTo>
                    <a:pt x="144" y="349"/>
                  </a:lnTo>
                  <a:lnTo>
                    <a:pt x="141" y="348"/>
                  </a:lnTo>
                  <a:lnTo>
                    <a:pt x="138" y="349"/>
                  </a:lnTo>
                  <a:lnTo>
                    <a:pt x="135" y="351"/>
                  </a:lnTo>
                  <a:lnTo>
                    <a:pt x="134" y="355"/>
                  </a:lnTo>
                  <a:lnTo>
                    <a:pt x="135" y="360"/>
                  </a:lnTo>
                  <a:lnTo>
                    <a:pt x="137" y="364"/>
                  </a:lnTo>
                  <a:lnTo>
                    <a:pt x="136" y="367"/>
                  </a:lnTo>
                  <a:lnTo>
                    <a:pt x="133" y="367"/>
                  </a:lnTo>
                  <a:lnTo>
                    <a:pt x="132" y="364"/>
                  </a:lnTo>
                  <a:lnTo>
                    <a:pt x="132" y="361"/>
                  </a:lnTo>
                  <a:lnTo>
                    <a:pt x="131" y="357"/>
                  </a:lnTo>
                  <a:lnTo>
                    <a:pt x="131" y="354"/>
                  </a:lnTo>
                  <a:lnTo>
                    <a:pt x="126" y="346"/>
                  </a:lnTo>
                  <a:lnTo>
                    <a:pt x="125" y="343"/>
                  </a:lnTo>
                  <a:lnTo>
                    <a:pt x="125" y="340"/>
                  </a:lnTo>
                  <a:lnTo>
                    <a:pt x="126" y="336"/>
                  </a:lnTo>
                  <a:lnTo>
                    <a:pt x="126" y="333"/>
                  </a:lnTo>
                  <a:lnTo>
                    <a:pt x="129" y="331"/>
                  </a:lnTo>
                  <a:lnTo>
                    <a:pt x="132" y="335"/>
                  </a:lnTo>
                  <a:lnTo>
                    <a:pt x="131" y="339"/>
                  </a:lnTo>
                  <a:lnTo>
                    <a:pt x="132" y="342"/>
                  </a:lnTo>
                  <a:lnTo>
                    <a:pt x="135" y="341"/>
                  </a:lnTo>
                  <a:lnTo>
                    <a:pt x="134" y="336"/>
                  </a:lnTo>
                  <a:lnTo>
                    <a:pt x="134" y="332"/>
                  </a:lnTo>
                  <a:lnTo>
                    <a:pt x="134" y="329"/>
                  </a:lnTo>
                  <a:lnTo>
                    <a:pt x="136" y="326"/>
                  </a:lnTo>
                  <a:lnTo>
                    <a:pt x="137" y="323"/>
                  </a:lnTo>
                  <a:lnTo>
                    <a:pt x="139" y="321"/>
                  </a:lnTo>
                  <a:lnTo>
                    <a:pt x="143" y="320"/>
                  </a:lnTo>
                  <a:lnTo>
                    <a:pt x="147" y="316"/>
                  </a:lnTo>
                  <a:lnTo>
                    <a:pt x="150" y="310"/>
                  </a:lnTo>
                  <a:lnTo>
                    <a:pt x="151" y="306"/>
                  </a:lnTo>
                  <a:lnTo>
                    <a:pt x="154" y="303"/>
                  </a:lnTo>
                  <a:lnTo>
                    <a:pt x="157" y="299"/>
                  </a:lnTo>
                  <a:lnTo>
                    <a:pt x="160" y="297"/>
                  </a:lnTo>
                  <a:lnTo>
                    <a:pt x="163" y="296"/>
                  </a:lnTo>
                  <a:lnTo>
                    <a:pt x="166" y="293"/>
                  </a:lnTo>
                  <a:lnTo>
                    <a:pt x="165" y="288"/>
                  </a:lnTo>
                  <a:lnTo>
                    <a:pt x="165" y="284"/>
                  </a:lnTo>
                  <a:lnTo>
                    <a:pt x="163" y="280"/>
                  </a:lnTo>
                  <a:lnTo>
                    <a:pt x="160" y="278"/>
                  </a:lnTo>
                  <a:lnTo>
                    <a:pt x="157" y="274"/>
                  </a:lnTo>
                  <a:lnTo>
                    <a:pt x="155" y="270"/>
                  </a:lnTo>
                  <a:lnTo>
                    <a:pt x="157" y="268"/>
                  </a:lnTo>
                  <a:lnTo>
                    <a:pt x="159" y="263"/>
                  </a:lnTo>
                  <a:lnTo>
                    <a:pt x="159" y="260"/>
                  </a:lnTo>
                  <a:lnTo>
                    <a:pt x="160" y="254"/>
                  </a:lnTo>
                  <a:lnTo>
                    <a:pt x="162" y="250"/>
                  </a:lnTo>
                  <a:lnTo>
                    <a:pt x="165" y="249"/>
                  </a:lnTo>
                  <a:lnTo>
                    <a:pt x="169" y="251"/>
                  </a:lnTo>
                  <a:lnTo>
                    <a:pt x="172" y="252"/>
                  </a:lnTo>
                  <a:lnTo>
                    <a:pt x="180" y="255"/>
                  </a:lnTo>
                  <a:lnTo>
                    <a:pt x="174" y="252"/>
                  </a:lnTo>
                  <a:lnTo>
                    <a:pt x="170" y="245"/>
                  </a:lnTo>
                  <a:lnTo>
                    <a:pt x="167" y="240"/>
                  </a:lnTo>
                  <a:lnTo>
                    <a:pt x="167" y="243"/>
                  </a:lnTo>
                  <a:lnTo>
                    <a:pt x="166" y="246"/>
                  </a:lnTo>
                  <a:lnTo>
                    <a:pt x="164" y="245"/>
                  </a:lnTo>
                  <a:lnTo>
                    <a:pt x="164" y="242"/>
                  </a:lnTo>
                  <a:lnTo>
                    <a:pt x="164" y="238"/>
                  </a:lnTo>
                  <a:lnTo>
                    <a:pt x="167" y="233"/>
                  </a:lnTo>
                  <a:lnTo>
                    <a:pt x="172" y="228"/>
                  </a:lnTo>
                  <a:lnTo>
                    <a:pt x="167" y="232"/>
                  </a:lnTo>
                  <a:lnTo>
                    <a:pt x="165" y="230"/>
                  </a:lnTo>
                  <a:lnTo>
                    <a:pt x="164" y="233"/>
                  </a:lnTo>
                  <a:lnTo>
                    <a:pt x="164" y="236"/>
                  </a:lnTo>
                  <a:lnTo>
                    <a:pt x="162" y="240"/>
                  </a:lnTo>
                  <a:lnTo>
                    <a:pt x="161" y="243"/>
                  </a:lnTo>
                  <a:lnTo>
                    <a:pt x="160" y="246"/>
                  </a:lnTo>
                  <a:lnTo>
                    <a:pt x="158" y="250"/>
                  </a:lnTo>
                  <a:lnTo>
                    <a:pt x="157" y="253"/>
                  </a:lnTo>
                  <a:lnTo>
                    <a:pt x="155" y="255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1" y="242"/>
                  </a:lnTo>
                  <a:lnTo>
                    <a:pt x="151" y="248"/>
                  </a:lnTo>
                  <a:lnTo>
                    <a:pt x="150" y="251"/>
                  </a:lnTo>
                  <a:lnTo>
                    <a:pt x="146" y="246"/>
                  </a:lnTo>
                  <a:lnTo>
                    <a:pt x="147" y="243"/>
                  </a:lnTo>
                  <a:lnTo>
                    <a:pt x="145" y="246"/>
                  </a:lnTo>
                  <a:lnTo>
                    <a:pt x="142" y="250"/>
                  </a:lnTo>
                  <a:lnTo>
                    <a:pt x="143" y="253"/>
                  </a:lnTo>
                  <a:lnTo>
                    <a:pt x="143" y="256"/>
                  </a:lnTo>
                  <a:lnTo>
                    <a:pt x="139" y="254"/>
                  </a:lnTo>
                  <a:lnTo>
                    <a:pt x="137" y="249"/>
                  </a:lnTo>
                  <a:lnTo>
                    <a:pt x="137" y="244"/>
                  </a:lnTo>
                  <a:lnTo>
                    <a:pt x="138" y="241"/>
                  </a:lnTo>
                  <a:lnTo>
                    <a:pt x="138" y="239"/>
                  </a:lnTo>
                  <a:lnTo>
                    <a:pt x="148" y="229"/>
                  </a:lnTo>
                  <a:lnTo>
                    <a:pt x="152" y="228"/>
                  </a:lnTo>
                  <a:lnTo>
                    <a:pt x="154" y="227"/>
                  </a:lnTo>
                  <a:lnTo>
                    <a:pt x="157" y="223"/>
                  </a:lnTo>
                  <a:lnTo>
                    <a:pt x="160" y="221"/>
                  </a:lnTo>
                  <a:lnTo>
                    <a:pt x="162" y="220"/>
                  </a:lnTo>
                  <a:lnTo>
                    <a:pt x="159" y="220"/>
                  </a:lnTo>
                  <a:lnTo>
                    <a:pt x="157" y="222"/>
                  </a:lnTo>
                  <a:lnTo>
                    <a:pt x="155" y="224"/>
                  </a:lnTo>
                  <a:lnTo>
                    <a:pt x="147" y="228"/>
                  </a:lnTo>
                  <a:lnTo>
                    <a:pt x="142" y="233"/>
                  </a:lnTo>
                  <a:lnTo>
                    <a:pt x="138" y="235"/>
                  </a:lnTo>
                  <a:lnTo>
                    <a:pt x="136" y="237"/>
                  </a:lnTo>
                  <a:lnTo>
                    <a:pt x="132" y="241"/>
                  </a:lnTo>
                  <a:lnTo>
                    <a:pt x="133" y="245"/>
                  </a:lnTo>
                  <a:lnTo>
                    <a:pt x="133" y="249"/>
                  </a:lnTo>
                  <a:lnTo>
                    <a:pt x="134" y="254"/>
                  </a:lnTo>
                  <a:lnTo>
                    <a:pt x="135" y="259"/>
                  </a:lnTo>
                  <a:lnTo>
                    <a:pt x="132" y="261"/>
                  </a:lnTo>
                  <a:lnTo>
                    <a:pt x="128" y="263"/>
                  </a:lnTo>
                  <a:lnTo>
                    <a:pt x="126" y="266"/>
                  </a:lnTo>
                  <a:lnTo>
                    <a:pt x="125" y="269"/>
                  </a:lnTo>
                  <a:lnTo>
                    <a:pt x="123" y="273"/>
                  </a:lnTo>
                  <a:lnTo>
                    <a:pt x="124" y="276"/>
                  </a:lnTo>
                  <a:lnTo>
                    <a:pt x="122" y="278"/>
                  </a:lnTo>
                  <a:lnTo>
                    <a:pt x="120" y="281"/>
                  </a:lnTo>
                  <a:lnTo>
                    <a:pt x="119" y="284"/>
                  </a:lnTo>
                  <a:lnTo>
                    <a:pt x="117" y="287"/>
                  </a:lnTo>
                  <a:lnTo>
                    <a:pt x="114" y="288"/>
                  </a:lnTo>
                  <a:lnTo>
                    <a:pt x="116" y="290"/>
                  </a:lnTo>
                  <a:lnTo>
                    <a:pt x="117" y="294"/>
                  </a:lnTo>
                  <a:lnTo>
                    <a:pt x="114" y="297"/>
                  </a:lnTo>
                  <a:lnTo>
                    <a:pt x="111" y="298"/>
                  </a:lnTo>
                  <a:lnTo>
                    <a:pt x="109" y="299"/>
                  </a:lnTo>
                  <a:lnTo>
                    <a:pt x="104" y="298"/>
                  </a:lnTo>
                  <a:lnTo>
                    <a:pt x="102" y="297"/>
                  </a:lnTo>
                  <a:lnTo>
                    <a:pt x="102" y="292"/>
                  </a:lnTo>
                  <a:lnTo>
                    <a:pt x="103" y="288"/>
                  </a:lnTo>
                  <a:lnTo>
                    <a:pt x="107" y="286"/>
                  </a:lnTo>
                  <a:lnTo>
                    <a:pt x="108" y="283"/>
                  </a:lnTo>
                  <a:lnTo>
                    <a:pt x="109" y="279"/>
                  </a:lnTo>
                  <a:lnTo>
                    <a:pt x="110" y="276"/>
                  </a:lnTo>
                  <a:lnTo>
                    <a:pt x="111" y="273"/>
                  </a:lnTo>
                  <a:lnTo>
                    <a:pt x="112" y="271"/>
                  </a:lnTo>
                  <a:lnTo>
                    <a:pt x="114" y="268"/>
                  </a:lnTo>
                  <a:lnTo>
                    <a:pt x="114" y="265"/>
                  </a:lnTo>
                  <a:lnTo>
                    <a:pt x="118" y="263"/>
                  </a:lnTo>
                  <a:lnTo>
                    <a:pt x="120" y="260"/>
                  </a:lnTo>
                  <a:lnTo>
                    <a:pt x="124" y="258"/>
                  </a:lnTo>
                  <a:lnTo>
                    <a:pt x="128" y="254"/>
                  </a:lnTo>
                  <a:lnTo>
                    <a:pt x="129" y="252"/>
                  </a:lnTo>
                  <a:lnTo>
                    <a:pt x="123" y="256"/>
                  </a:lnTo>
                  <a:lnTo>
                    <a:pt x="119" y="256"/>
                  </a:lnTo>
                  <a:lnTo>
                    <a:pt x="118" y="253"/>
                  </a:lnTo>
                  <a:lnTo>
                    <a:pt x="118" y="249"/>
                  </a:lnTo>
                  <a:lnTo>
                    <a:pt x="121" y="246"/>
                  </a:lnTo>
                  <a:lnTo>
                    <a:pt x="123" y="243"/>
                  </a:lnTo>
                  <a:lnTo>
                    <a:pt x="120" y="244"/>
                  </a:lnTo>
                  <a:lnTo>
                    <a:pt x="126" y="234"/>
                  </a:lnTo>
                  <a:lnTo>
                    <a:pt x="127" y="232"/>
                  </a:lnTo>
                  <a:lnTo>
                    <a:pt x="124" y="233"/>
                  </a:lnTo>
                  <a:lnTo>
                    <a:pt x="121" y="237"/>
                  </a:lnTo>
                  <a:lnTo>
                    <a:pt x="119" y="240"/>
                  </a:lnTo>
                  <a:lnTo>
                    <a:pt x="120" y="236"/>
                  </a:lnTo>
                  <a:lnTo>
                    <a:pt x="123" y="233"/>
                  </a:lnTo>
                  <a:lnTo>
                    <a:pt x="128" y="228"/>
                  </a:lnTo>
                  <a:lnTo>
                    <a:pt x="130" y="225"/>
                  </a:lnTo>
                  <a:lnTo>
                    <a:pt x="132" y="221"/>
                  </a:lnTo>
                  <a:lnTo>
                    <a:pt x="128" y="223"/>
                  </a:lnTo>
                  <a:lnTo>
                    <a:pt x="130" y="219"/>
                  </a:lnTo>
                  <a:lnTo>
                    <a:pt x="132" y="216"/>
                  </a:lnTo>
                  <a:lnTo>
                    <a:pt x="134" y="214"/>
                  </a:lnTo>
                  <a:lnTo>
                    <a:pt x="132" y="209"/>
                  </a:lnTo>
                  <a:lnTo>
                    <a:pt x="133" y="206"/>
                  </a:lnTo>
                  <a:lnTo>
                    <a:pt x="136" y="205"/>
                  </a:lnTo>
                  <a:lnTo>
                    <a:pt x="141" y="205"/>
                  </a:lnTo>
                  <a:lnTo>
                    <a:pt x="137" y="204"/>
                  </a:lnTo>
                  <a:lnTo>
                    <a:pt x="137" y="201"/>
                  </a:lnTo>
                  <a:lnTo>
                    <a:pt x="141" y="200"/>
                  </a:lnTo>
                  <a:lnTo>
                    <a:pt x="144" y="197"/>
                  </a:lnTo>
                  <a:lnTo>
                    <a:pt x="149" y="197"/>
                  </a:lnTo>
                  <a:lnTo>
                    <a:pt x="153" y="199"/>
                  </a:lnTo>
                  <a:lnTo>
                    <a:pt x="156" y="199"/>
                  </a:lnTo>
                  <a:lnTo>
                    <a:pt x="160" y="195"/>
                  </a:lnTo>
                  <a:lnTo>
                    <a:pt x="163" y="192"/>
                  </a:lnTo>
                  <a:lnTo>
                    <a:pt x="160" y="195"/>
                  </a:lnTo>
                  <a:lnTo>
                    <a:pt x="158" y="196"/>
                  </a:lnTo>
                  <a:lnTo>
                    <a:pt x="153" y="198"/>
                  </a:lnTo>
                  <a:lnTo>
                    <a:pt x="148" y="196"/>
                  </a:lnTo>
                  <a:lnTo>
                    <a:pt x="146" y="196"/>
                  </a:lnTo>
                  <a:lnTo>
                    <a:pt x="146" y="192"/>
                  </a:lnTo>
                  <a:lnTo>
                    <a:pt x="143" y="195"/>
                  </a:lnTo>
                  <a:lnTo>
                    <a:pt x="145" y="190"/>
                  </a:lnTo>
                  <a:lnTo>
                    <a:pt x="148" y="191"/>
                  </a:lnTo>
                  <a:lnTo>
                    <a:pt x="153" y="190"/>
                  </a:lnTo>
                  <a:lnTo>
                    <a:pt x="149" y="190"/>
                  </a:lnTo>
                  <a:lnTo>
                    <a:pt x="148" y="186"/>
                  </a:lnTo>
                  <a:lnTo>
                    <a:pt x="150" y="183"/>
                  </a:lnTo>
                  <a:lnTo>
                    <a:pt x="153" y="181"/>
                  </a:lnTo>
                  <a:lnTo>
                    <a:pt x="154" y="179"/>
                  </a:lnTo>
                  <a:lnTo>
                    <a:pt x="157" y="177"/>
                  </a:lnTo>
                  <a:lnTo>
                    <a:pt x="159" y="177"/>
                  </a:lnTo>
                  <a:lnTo>
                    <a:pt x="162" y="179"/>
                  </a:lnTo>
                  <a:lnTo>
                    <a:pt x="165" y="177"/>
                  </a:lnTo>
                  <a:lnTo>
                    <a:pt x="170" y="177"/>
                  </a:lnTo>
                  <a:lnTo>
                    <a:pt x="162" y="176"/>
                  </a:lnTo>
                  <a:lnTo>
                    <a:pt x="159" y="174"/>
                  </a:lnTo>
                  <a:lnTo>
                    <a:pt x="164" y="169"/>
                  </a:lnTo>
                  <a:lnTo>
                    <a:pt x="167" y="166"/>
                  </a:lnTo>
                  <a:lnTo>
                    <a:pt x="163" y="168"/>
                  </a:lnTo>
                  <a:lnTo>
                    <a:pt x="160" y="170"/>
                  </a:lnTo>
                  <a:lnTo>
                    <a:pt x="158" y="173"/>
                  </a:lnTo>
                  <a:lnTo>
                    <a:pt x="155" y="174"/>
                  </a:lnTo>
                  <a:lnTo>
                    <a:pt x="153" y="175"/>
                  </a:lnTo>
                  <a:lnTo>
                    <a:pt x="150" y="179"/>
                  </a:lnTo>
                  <a:lnTo>
                    <a:pt x="145" y="181"/>
                  </a:lnTo>
                  <a:lnTo>
                    <a:pt x="141" y="185"/>
                  </a:lnTo>
                  <a:lnTo>
                    <a:pt x="136" y="188"/>
                  </a:lnTo>
                  <a:lnTo>
                    <a:pt x="132" y="190"/>
                  </a:lnTo>
                  <a:lnTo>
                    <a:pt x="128" y="186"/>
                  </a:lnTo>
                  <a:lnTo>
                    <a:pt x="129" y="183"/>
                  </a:lnTo>
                  <a:lnTo>
                    <a:pt x="127" y="184"/>
                  </a:lnTo>
                  <a:lnTo>
                    <a:pt x="124" y="183"/>
                  </a:lnTo>
                  <a:lnTo>
                    <a:pt x="118" y="174"/>
                  </a:lnTo>
                  <a:lnTo>
                    <a:pt x="119" y="171"/>
                  </a:lnTo>
                  <a:lnTo>
                    <a:pt x="122" y="172"/>
                  </a:lnTo>
                  <a:lnTo>
                    <a:pt x="125" y="174"/>
                  </a:lnTo>
                  <a:lnTo>
                    <a:pt x="131" y="170"/>
                  </a:lnTo>
                  <a:lnTo>
                    <a:pt x="126" y="170"/>
                  </a:lnTo>
                  <a:lnTo>
                    <a:pt x="122" y="169"/>
                  </a:lnTo>
                  <a:lnTo>
                    <a:pt x="118" y="168"/>
                  </a:lnTo>
                  <a:lnTo>
                    <a:pt x="115" y="166"/>
                  </a:lnTo>
                  <a:lnTo>
                    <a:pt x="112" y="167"/>
                  </a:lnTo>
                  <a:lnTo>
                    <a:pt x="110" y="167"/>
                  </a:lnTo>
                  <a:lnTo>
                    <a:pt x="109" y="162"/>
                  </a:lnTo>
                  <a:lnTo>
                    <a:pt x="111" y="160"/>
                  </a:lnTo>
                  <a:lnTo>
                    <a:pt x="120" y="161"/>
                  </a:lnTo>
                  <a:lnTo>
                    <a:pt x="122" y="160"/>
                  </a:lnTo>
                  <a:lnTo>
                    <a:pt x="128" y="164"/>
                  </a:lnTo>
                  <a:lnTo>
                    <a:pt x="127" y="161"/>
                  </a:lnTo>
                  <a:lnTo>
                    <a:pt x="131" y="161"/>
                  </a:lnTo>
                  <a:lnTo>
                    <a:pt x="131" y="156"/>
                  </a:lnTo>
                  <a:lnTo>
                    <a:pt x="136" y="157"/>
                  </a:lnTo>
                  <a:lnTo>
                    <a:pt x="138" y="156"/>
                  </a:lnTo>
                  <a:lnTo>
                    <a:pt x="136" y="156"/>
                  </a:lnTo>
                  <a:lnTo>
                    <a:pt x="137" y="152"/>
                  </a:lnTo>
                  <a:lnTo>
                    <a:pt x="130" y="151"/>
                  </a:lnTo>
                  <a:lnTo>
                    <a:pt x="131" y="147"/>
                  </a:lnTo>
                  <a:lnTo>
                    <a:pt x="133" y="144"/>
                  </a:lnTo>
                  <a:lnTo>
                    <a:pt x="135" y="141"/>
                  </a:lnTo>
                  <a:lnTo>
                    <a:pt x="139" y="140"/>
                  </a:lnTo>
                  <a:lnTo>
                    <a:pt x="142" y="143"/>
                  </a:lnTo>
                  <a:lnTo>
                    <a:pt x="148" y="146"/>
                  </a:lnTo>
                  <a:lnTo>
                    <a:pt x="150" y="145"/>
                  </a:lnTo>
                  <a:lnTo>
                    <a:pt x="148" y="145"/>
                  </a:lnTo>
                  <a:lnTo>
                    <a:pt x="144" y="144"/>
                  </a:lnTo>
                  <a:lnTo>
                    <a:pt x="144" y="140"/>
                  </a:lnTo>
                  <a:lnTo>
                    <a:pt x="141" y="139"/>
                  </a:lnTo>
                  <a:lnTo>
                    <a:pt x="142" y="133"/>
                  </a:lnTo>
                  <a:lnTo>
                    <a:pt x="146" y="133"/>
                  </a:lnTo>
                  <a:lnTo>
                    <a:pt x="148" y="133"/>
                  </a:lnTo>
                  <a:lnTo>
                    <a:pt x="156" y="137"/>
                  </a:lnTo>
                  <a:lnTo>
                    <a:pt x="158" y="137"/>
                  </a:lnTo>
                  <a:lnTo>
                    <a:pt x="154" y="135"/>
                  </a:lnTo>
                  <a:lnTo>
                    <a:pt x="150" y="132"/>
                  </a:lnTo>
                  <a:lnTo>
                    <a:pt x="146" y="130"/>
                  </a:lnTo>
                  <a:lnTo>
                    <a:pt x="149" y="126"/>
                  </a:lnTo>
                  <a:lnTo>
                    <a:pt x="149" y="123"/>
                  </a:lnTo>
                  <a:lnTo>
                    <a:pt x="153" y="121"/>
                  </a:lnTo>
                  <a:lnTo>
                    <a:pt x="156" y="122"/>
                  </a:lnTo>
                  <a:lnTo>
                    <a:pt x="159" y="126"/>
                  </a:lnTo>
                  <a:lnTo>
                    <a:pt x="157" y="121"/>
                  </a:lnTo>
                  <a:lnTo>
                    <a:pt x="160" y="118"/>
                  </a:lnTo>
                  <a:lnTo>
                    <a:pt x="157" y="119"/>
                  </a:lnTo>
                  <a:lnTo>
                    <a:pt x="155" y="119"/>
                  </a:lnTo>
                  <a:lnTo>
                    <a:pt x="151" y="118"/>
                  </a:lnTo>
                  <a:lnTo>
                    <a:pt x="148" y="118"/>
                  </a:lnTo>
                  <a:lnTo>
                    <a:pt x="149" y="113"/>
                  </a:lnTo>
                  <a:lnTo>
                    <a:pt x="151" y="112"/>
                  </a:lnTo>
                  <a:lnTo>
                    <a:pt x="153" y="113"/>
                  </a:lnTo>
                  <a:lnTo>
                    <a:pt x="159" y="112"/>
                  </a:lnTo>
                  <a:lnTo>
                    <a:pt x="162" y="109"/>
                  </a:lnTo>
                  <a:lnTo>
                    <a:pt x="163" y="107"/>
                  </a:lnTo>
                  <a:lnTo>
                    <a:pt x="160" y="108"/>
                  </a:lnTo>
                  <a:lnTo>
                    <a:pt x="157" y="111"/>
                  </a:lnTo>
                  <a:lnTo>
                    <a:pt x="155" y="112"/>
                  </a:lnTo>
                  <a:lnTo>
                    <a:pt x="152" y="109"/>
                  </a:lnTo>
                  <a:lnTo>
                    <a:pt x="154" y="106"/>
                  </a:lnTo>
                  <a:lnTo>
                    <a:pt x="149" y="111"/>
                  </a:lnTo>
                  <a:lnTo>
                    <a:pt x="145" y="111"/>
                  </a:lnTo>
                  <a:lnTo>
                    <a:pt x="144" y="105"/>
                  </a:lnTo>
                  <a:lnTo>
                    <a:pt x="145" y="102"/>
                  </a:lnTo>
                  <a:lnTo>
                    <a:pt x="144" y="99"/>
                  </a:lnTo>
                  <a:lnTo>
                    <a:pt x="144" y="96"/>
                  </a:lnTo>
                  <a:lnTo>
                    <a:pt x="145" y="93"/>
                  </a:lnTo>
                  <a:lnTo>
                    <a:pt x="146" y="90"/>
                  </a:lnTo>
                  <a:lnTo>
                    <a:pt x="149" y="89"/>
                  </a:lnTo>
                  <a:lnTo>
                    <a:pt x="152" y="93"/>
                  </a:lnTo>
                  <a:lnTo>
                    <a:pt x="155" y="97"/>
                  </a:lnTo>
                  <a:lnTo>
                    <a:pt x="159" y="95"/>
                  </a:lnTo>
                  <a:lnTo>
                    <a:pt x="157" y="93"/>
                  </a:lnTo>
                  <a:lnTo>
                    <a:pt x="154" y="91"/>
                  </a:lnTo>
                  <a:lnTo>
                    <a:pt x="153" y="88"/>
                  </a:lnTo>
                  <a:lnTo>
                    <a:pt x="152" y="85"/>
                  </a:lnTo>
                  <a:lnTo>
                    <a:pt x="152" y="80"/>
                  </a:lnTo>
                  <a:lnTo>
                    <a:pt x="155" y="78"/>
                  </a:lnTo>
                  <a:lnTo>
                    <a:pt x="152" y="74"/>
                  </a:lnTo>
                  <a:lnTo>
                    <a:pt x="153" y="71"/>
                  </a:lnTo>
                  <a:lnTo>
                    <a:pt x="154" y="67"/>
                  </a:lnTo>
                  <a:lnTo>
                    <a:pt x="155" y="64"/>
                  </a:lnTo>
                  <a:lnTo>
                    <a:pt x="158" y="63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60" y="71"/>
                  </a:lnTo>
                  <a:lnTo>
                    <a:pt x="162" y="74"/>
                  </a:lnTo>
                  <a:lnTo>
                    <a:pt x="164" y="70"/>
                  </a:lnTo>
                  <a:lnTo>
                    <a:pt x="164" y="67"/>
                  </a:lnTo>
                  <a:lnTo>
                    <a:pt x="163" y="65"/>
                  </a:lnTo>
                  <a:lnTo>
                    <a:pt x="163" y="62"/>
                  </a:lnTo>
                  <a:lnTo>
                    <a:pt x="165" y="60"/>
                  </a:lnTo>
                  <a:lnTo>
                    <a:pt x="168" y="62"/>
                  </a:lnTo>
                  <a:lnTo>
                    <a:pt x="168" y="66"/>
                  </a:lnTo>
                  <a:lnTo>
                    <a:pt x="172" y="67"/>
                  </a:lnTo>
                  <a:lnTo>
                    <a:pt x="173" y="64"/>
                  </a:lnTo>
                  <a:lnTo>
                    <a:pt x="176" y="65"/>
                  </a:lnTo>
                  <a:lnTo>
                    <a:pt x="178" y="68"/>
                  </a:lnTo>
                  <a:lnTo>
                    <a:pt x="182" y="71"/>
                  </a:lnTo>
                  <a:lnTo>
                    <a:pt x="180" y="68"/>
                  </a:lnTo>
                  <a:lnTo>
                    <a:pt x="179" y="65"/>
                  </a:lnTo>
                  <a:lnTo>
                    <a:pt x="176" y="63"/>
                  </a:lnTo>
                  <a:lnTo>
                    <a:pt x="177" y="61"/>
                  </a:lnTo>
                  <a:lnTo>
                    <a:pt x="179" y="64"/>
                  </a:lnTo>
                  <a:lnTo>
                    <a:pt x="182" y="65"/>
                  </a:lnTo>
                  <a:lnTo>
                    <a:pt x="186" y="69"/>
                  </a:lnTo>
                  <a:lnTo>
                    <a:pt x="189" y="74"/>
                  </a:lnTo>
                  <a:lnTo>
                    <a:pt x="189" y="71"/>
                  </a:lnTo>
                  <a:lnTo>
                    <a:pt x="185" y="65"/>
                  </a:lnTo>
                  <a:lnTo>
                    <a:pt x="186" y="62"/>
                  </a:lnTo>
                  <a:lnTo>
                    <a:pt x="184" y="60"/>
                  </a:lnTo>
                  <a:lnTo>
                    <a:pt x="180" y="55"/>
                  </a:lnTo>
                  <a:lnTo>
                    <a:pt x="178" y="53"/>
                  </a:lnTo>
                  <a:lnTo>
                    <a:pt x="176" y="47"/>
                  </a:lnTo>
                  <a:lnTo>
                    <a:pt x="179" y="47"/>
                  </a:lnTo>
                  <a:lnTo>
                    <a:pt x="183" y="50"/>
                  </a:lnTo>
                  <a:lnTo>
                    <a:pt x="185" y="47"/>
                  </a:lnTo>
                  <a:lnTo>
                    <a:pt x="185" y="44"/>
                  </a:lnTo>
                  <a:lnTo>
                    <a:pt x="187" y="44"/>
                  </a:lnTo>
                  <a:lnTo>
                    <a:pt x="185" y="41"/>
                  </a:lnTo>
                  <a:lnTo>
                    <a:pt x="185" y="37"/>
                  </a:lnTo>
                  <a:lnTo>
                    <a:pt x="182" y="33"/>
                  </a:lnTo>
                  <a:lnTo>
                    <a:pt x="184" y="32"/>
                  </a:lnTo>
                  <a:lnTo>
                    <a:pt x="190" y="33"/>
                  </a:lnTo>
                  <a:lnTo>
                    <a:pt x="194" y="33"/>
                  </a:lnTo>
                  <a:lnTo>
                    <a:pt x="198" y="35"/>
                  </a:lnTo>
                  <a:lnTo>
                    <a:pt x="200" y="36"/>
                  </a:lnTo>
                  <a:lnTo>
                    <a:pt x="204" y="39"/>
                  </a:lnTo>
                  <a:lnTo>
                    <a:pt x="202" y="36"/>
                  </a:lnTo>
                  <a:lnTo>
                    <a:pt x="198" y="34"/>
                  </a:lnTo>
                  <a:lnTo>
                    <a:pt x="196" y="30"/>
                  </a:lnTo>
                  <a:lnTo>
                    <a:pt x="195" y="26"/>
                  </a:lnTo>
                  <a:lnTo>
                    <a:pt x="196" y="23"/>
                  </a:lnTo>
                  <a:lnTo>
                    <a:pt x="197" y="20"/>
                  </a:lnTo>
                  <a:lnTo>
                    <a:pt x="201" y="23"/>
                  </a:lnTo>
                  <a:lnTo>
                    <a:pt x="200" y="20"/>
                  </a:lnTo>
                  <a:lnTo>
                    <a:pt x="203" y="17"/>
                  </a:lnTo>
                  <a:lnTo>
                    <a:pt x="205" y="19"/>
                  </a:lnTo>
                  <a:lnTo>
                    <a:pt x="201" y="14"/>
                  </a:lnTo>
                  <a:lnTo>
                    <a:pt x="202" y="11"/>
                  </a:lnTo>
                  <a:lnTo>
                    <a:pt x="205" y="10"/>
                  </a:lnTo>
                  <a:lnTo>
                    <a:pt x="207" y="6"/>
                  </a:lnTo>
                  <a:lnTo>
                    <a:pt x="208" y="3"/>
                  </a:lnTo>
                  <a:close/>
                  <a:moveTo>
                    <a:pt x="148" y="0"/>
                  </a:moveTo>
                  <a:lnTo>
                    <a:pt x="149" y="3"/>
                  </a:lnTo>
                  <a:lnTo>
                    <a:pt x="149" y="6"/>
                  </a:lnTo>
                  <a:lnTo>
                    <a:pt x="149" y="9"/>
                  </a:lnTo>
                  <a:lnTo>
                    <a:pt x="146" y="13"/>
                  </a:lnTo>
                  <a:lnTo>
                    <a:pt x="147" y="14"/>
                  </a:lnTo>
                  <a:lnTo>
                    <a:pt x="144" y="16"/>
                  </a:lnTo>
                  <a:lnTo>
                    <a:pt x="143" y="19"/>
                  </a:lnTo>
                  <a:lnTo>
                    <a:pt x="138" y="20"/>
                  </a:lnTo>
                  <a:lnTo>
                    <a:pt x="137" y="23"/>
                  </a:lnTo>
                  <a:lnTo>
                    <a:pt x="137" y="25"/>
                  </a:lnTo>
                  <a:lnTo>
                    <a:pt x="145" y="23"/>
                  </a:lnTo>
                  <a:lnTo>
                    <a:pt x="147" y="23"/>
                  </a:lnTo>
                  <a:lnTo>
                    <a:pt x="145" y="26"/>
                  </a:lnTo>
                  <a:lnTo>
                    <a:pt x="143" y="28"/>
                  </a:lnTo>
                  <a:lnTo>
                    <a:pt x="141" y="29"/>
                  </a:lnTo>
                  <a:lnTo>
                    <a:pt x="136" y="27"/>
                  </a:lnTo>
                  <a:lnTo>
                    <a:pt x="133" y="28"/>
                  </a:lnTo>
                  <a:lnTo>
                    <a:pt x="133" y="31"/>
                  </a:lnTo>
                  <a:lnTo>
                    <a:pt x="129" y="32"/>
                  </a:lnTo>
                  <a:lnTo>
                    <a:pt x="126" y="34"/>
                  </a:lnTo>
                  <a:lnTo>
                    <a:pt x="123" y="34"/>
                  </a:lnTo>
                  <a:lnTo>
                    <a:pt x="121" y="34"/>
                  </a:lnTo>
                  <a:lnTo>
                    <a:pt x="128" y="34"/>
                  </a:lnTo>
                  <a:lnTo>
                    <a:pt x="130" y="34"/>
                  </a:lnTo>
                  <a:lnTo>
                    <a:pt x="131" y="38"/>
                  </a:lnTo>
                  <a:lnTo>
                    <a:pt x="131" y="41"/>
                  </a:lnTo>
                  <a:lnTo>
                    <a:pt x="128" y="44"/>
                  </a:lnTo>
                  <a:lnTo>
                    <a:pt x="123" y="41"/>
                  </a:lnTo>
                  <a:lnTo>
                    <a:pt x="125" y="45"/>
                  </a:lnTo>
                  <a:lnTo>
                    <a:pt x="123" y="48"/>
                  </a:lnTo>
                  <a:lnTo>
                    <a:pt x="119" y="50"/>
                  </a:lnTo>
                  <a:lnTo>
                    <a:pt x="117" y="48"/>
                  </a:lnTo>
                  <a:lnTo>
                    <a:pt x="115" y="49"/>
                  </a:lnTo>
                  <a:lnTo>
                    <a:pt x="114" y="43"/>
                  </a:lnTo>
                  <a:lnTo>
                    <a:pt x="115" y="38"/>
                  </a:lnTo>
                  <a:lnTo>
                    <a:pt x="119" y="36"/>
                  </a:lnTo>
                  <a:lnTo>
                    <a:pt x="116" y="35"/>
                  </a:lnTo>
                  <a:lnTo>
                    <a:pt x="114" y="38"/>
                  </a:lnTo>
                  <a:lnTo>
                    <a:pt x="111" y="39"/>
                  </a:lnTo>
                  <a:lnTo>
                    <a:pt x="112" y="44"/>
                  </a:lnTo>
                  <a:lnTo>
                    <a:pt x="113" y="49"/>
                  </a:lnTo>
                  <a:lnTo>
                    <a:pt x="113" y="52"/>
                  </a:lnTo>
                  <a:lnTo>
                    <a:pt x="110" y="51"/>
                  </a:lnTo>
                  <a:lnTo>
                    <a:pt x="109" y="55"/>
                  </a:lnTo>
                  <a:lnTo>
                    <a:pt x="103" y="54"/>
                  </a:lnTo>
                  <a:lnTo>
                    <a:pt x="103" y="57"/>
                  </a:lnTo>
                  <a:lnTo>
                    <a:pt x="100" y="58"/>
                  </a:lnTo>
                  <a:lnTo>
                    <a:pt x="96" y="61"/>
                  </a:lnTo>
                  <a:lnTo>
                    <a:pt x="93" y="58"/>
                  </a:lnTo>
                  <a:lnTo>
                    <a:pt x="91" y="54"/>
                  </a:lnTo>
                  <a:lnTo>
                    <a:pt x="97" y="51"/>
                  </a:lnTo>
                  <a:lnTo>
                    <a:pt x="101" y="51"/>
                  </a:lnTo>
                  <a:lnTo>
                    <a:pt x="99" y="48"/>
                  </a:lnTo>
                  <a:lnTo>
                    <a:pt x="102" y="47"/>
                  </a:lnTo>
                  <a:lnTo>
                    <a:pt x="105" y="48"/>
                  </a:lnTo>
                  <a:lnTo>
                    <a:pt x="103" y="45"/>
                  </a:lnTo>
                  <a:lnTo>
                    <a:pt x="98" y="41"/>
                  </a:lnTo>
                  <a:lnTo>
                    <a:pt x="94" y="36"/>
                  </a:lnTo>
                  <a:lnTo>
                    <a:pt x="97" y="35"/>
                  </a:lnTo>
                  <a:lnTo>
                    <a:pt x="99" y="34"/>
                  </a:lnTo>
                  <a:lnTo>
                    <a:pt x="104" y="33"/>
                  </a:lnTo>
                  <a:lnTo>
                    <a:pt x="99" y="33"/>
                  </a:lnTo>
                  <a:lnTo>
                    <a:pt x="100" y="30"/>
                  </a:lnTo>
                  <a:lnTo>
                    <a:pt x="97" y="27"/>
                  </a:lnTo>
                  <a:lnTo>
                    <a:pt x="97" y="24"/>
                  </a:lnTo>
                  <a:lnTo>
                    <a:pt x="98" y="22"/>
                  </a:lnTo>
                  <a:lnTo>
                    <a:pt x="102" y="20"/>
                  </a:lnTo>
                  <a:lnTo>
                    <a:pt x="102" y="17"/>
                  </a:lnTo>
                  <a:lnTo>
                    <a:pt x="104" y="15"/>
                  </a:lnTo>
                  <a:lnTo>
                    <a:pt x="106" y="17"/>
                  </a:lnTo>
                  <a:lnTo>
                    <a:pt x="109" y="18"/>
                  </a:lnTo>
                  <a:lnTo>
                    <a:pt x="108" y="22"/>
                  </a:lnTo>
                  <a:lnTo>
                    <a:pt x="108" y="26"/>
                  </a:lnTo>
                  <a:lnTo>
                    <a:pt x="109" y="29"/>
                  </a:lnTo>
                  <a:lnTo>
                    <a:pt x="109" y="26"/>
                  </a:lnTo>
                  <a:lnTo>
                    <a:pt x="110" y="23"/>
                  </a:lnTo>
                  <a:lnTo>
                    <a:pt x="113" y="21"/>
                  </a:lnTo>
                  <a:lnTo>
                    <a:pt x="115" y="22"/>
                  </a:lnTo>
                  <a:lnTo>
                    <a:pt x="116" y="25"/>
                  </a:lnTo>
                  <a:lnTo>
                    <a:pt x="117" y="22"/>
                  </a:lnTo>
                  <a:lnTo>
                    <a:pt x="117" y="19"/>
                  </a:lnTo>
                  <a:lnTo>
                    <a:pt x="115" y="16"/>
                  </a:lnTo>
                  <a:lnTo>
                    <a:pt x="116" y="14"/>
                  </a:lnTo>
                  <a:lnTo>
                    <a:pt x="120" y="11"/>
                  </a:lnTo>
                  <a:lnTo>
                    <a:pt x="122" y="10"/>
                  </a:lnTo>
                  <a:lnTo>
                    <a:pt x="124" y="10"/>
                  </a:lnTo>
                  <a:lnTo>
                    <a:pt x="129" y="9"/>
                  </a:lnTo>
                  <a:lnTo>
                    <a:pt x="142" y="3"/>
                  </a:lnTo>
                  <a:lnTo>
                    <a:pt x="145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7" name="NI">
              <a:extLst>
                <a:ext uri="{FF2B5EF4-FFF2-40B4-BE49-F238E27FC236}">
                  <a16:creationId xmlns:a16="http://schemas.microsoft.com/office/drawing/2014/main" id="{48E3B87E-DA47-192C-3688-5904E6D7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247" y="3471900"/>
              <a:ext cx="266145" cy="206432"/>
            </a:xfrm>
            <a:custGeom>
              <a:avLst/>
              <a:gdLst>
                <a:gd name="T0" fmla="*/ 111 w 144"/>
                <a:gd name="T1" fmla="*/ 1 h 116"/>
                <a:gd name="T2" fmla="*/ 124 w 144"/>
                <a:gd name="T3" fmla="*/ 7 h 116"/>
                <a:gd name="T4" fmla="*/ 124 w 144"/>
                <a:gd name="T5" fmla="*/ 21 h 116"/>
                <a:gd name="T6" fmla="*/ 128 w 144"/>
                <a:gd name="T7" fmla="*/ 32 h 116"/>
                <a:gd name="T8" fmla="*/ 132 w 144"/>
                <a:gd name="T9" fmla="*/ 41 h 116"/>
                <a:gd name="T10" fmla="*/ 135 w 144"/>
                <a:gd name="T11" fmla="*/ 51 h 116"/>
                <a:gd name="T12" fmla="*/ 137 w 144"/>
                <a:gd name="T13" fmla="*/ 48 h 116"/>
                <a:gd name="T14" fmla="*/ 132 w 144"/>
                <a:gd name="T15" fmla="*/ 57 h 116"/>
                <a:gd name="T16" fmla="*/ 122 w 144"/>
                <a:gd name="T17" fmla="*/ 63 h 116"/>
                <a:gd name="T18" fmla="*/ 129 w 144"/>
                <a:gd name="T19" fmla="*/ 62 h 116"/>
                <a:gd name="T20" fmla="*/ 141 w 144"/>
                <a:gd name="T21" fmla="*/ 62 h 116"/>
                <a:gd name="T22" fmla="*/ 144 w 144"/>
                <a:gd name="T23" fmla="*/ 73 h 116"/>
                <a:gd name="T24" fmla="*/ 143 w 144"/>
                <a:gd name="T25" fmla="*/ 84 h 116"/>
                <a:gd name="T26" fmla="*/ 140 w 144"/>
                <a:gd name="T27" fmla="*/ 93 h 116"/>
                <a:gd name="T28" fmla="*/ 135 w 144"/>
                <a:gd name="T29" fmla="*/ 86 h 116"/>
                <a:gd name="T30" fmla="*/ 138 w 144"/>
                <a:gd name="T31" fmla="*/ 76 h 116"/>
                <a:gd name="T32" fmla="*/ 131 w 144"/>
                <a:gd name="T33" fmla="*/ 73 h 116"/>
                <a:gd name="T34" fmla="*/ 134 w 144"/>
                <a:gd name="T35" fmla="*/ 82 h 116"/>
                <a:gd name="T36" fmla="*/ 132 w 144"/>
                <a:gd name="T37" fmla="*/ 90 h 116"/>
                <a:gd name="T38" fmla="*/ 134 w 144"/>
                <a:gd name="T39" fmla="*/ 98 h 116"/>
                <a:gd name="T40" fmla="*/ 124 w 144"/>
                <a:gd name="T41" fmla="*/ 100 h 116"/>
                <a:gd name="T42" fmla="*/ 117 w 144"/>
                <a:gd name="T43" fmla="*/ 101 h 116"/>
                <a:gd name="T44" fmla="*/ 113 w 144"/>
                <a:gd name="T45" fmla="*/ 111 h 116"/>
                <a:gd name="T46" fmla="*/ 100 w 144"/>
                <a:gd name="T47" fmla="*/ 116 h 116"/>
                <a:gd name="T48" fmla="*/ 92 w 144"/>
                <a:gd name="T49" fmla="*/ 107 h 116"/>
                <a:gd name="T50" fmla="*/ 82 w 144"/>
                <a:gd name="T51" fmla="*/ 109 h 116"/>
                <a:gd name="T52" fmla="*/ 70 w 144"/>
                <a:gd name="T53" fmla="*/ 106 h 116"/>
                <a:gd name="T54" fmla="*/ 74 w 144"/>
                <a:gd name="T55" fmla="*/ 97 h 116"/>
                <a:gd name="T56" fmla="*/ 66 w 144"/>
                <a:gd name="T57" fmla="*/ 90 h 116"/>
                <a:gd name="T58" fmla="*/ 65 w 144"/>
                <a:gd name="T59" fmla="*/ 81 h 116"/>
                <a:gd name="T60" fmla="*/ 61 w 144"/>
                <a:gd name="T61" fmla="*/ 70 h 116"/>
                <a:gd name="T62" fmla="*/ 50 w 144"/>
                <a:gd name="T63" fmla="*/ 74 h 116"/>
                <a:gd name="T64" fmla="*/ 48 w 144"/>
                <a:gd name="T65" fmla="*/ 83 h 116"/>
                <a:gd name="T66" fmla="*/ 40 w 144"/>
                <a:gd name="T67" fmla="*/ 91 h 116"/>
                <a:gd name="T68" fmla="*/ 33 w 144"/>
                <a:gd name="T69" fmla="*/ 91 h 116"/>
                <a:gd name="T70" fmla="*/ 21 w 144"/>
                <a:gd name="T71" fmla="*/ 83 h 116"/>
                <a:gd name="T72" fmla="*/ 11 w 144"/>
                <a:gd name="T73" fmla="*/ 77 h 116"/>
                <a:gd name="T74" fmla="*/ 6 w 144"/>
                <a:gd name="T75" fmla="*/ 64 h 116"/>
                <a:gd name="T76" fmla="*/ 1 w 144"/>
                <a:gd name="T77" fmla="*/ 55 h 116"/>
                <a:gd name="T78" fmla="*/ 6 w 144"/>
                <a:gd name="T79" fmla="*/ 48 h 116"/>
                <a:gd name="T80" fmla="*/ 18 w 144"/>
                <a:gd name="T81" fmla="*/ 47 h 116"/>
                <a:gd name="T82" fmla="*/ 23 w 144"/>
                <a:gd name="T83" fmla="*/ 39 h 116"/>
                <a:gd name="T84" fmla="*/ 23 w 144"/>
                <a:gd name="T85" fmla="*/ 30 h 116"/>
                <a:gd name="T86" fmla="*/ 36 w 144"/>
                <a:gd name="T87" fmla="*/ 32 h 116"/>
                <a:gd name="T88" fmla="*/ 45 w 144"/>
                <a:gd name="T89" fmla="*/ 25 h 116"/>
                <a:gd name="T90" fmla="*/ 51 w 144"/>
                <a:gd name="T91" fmla="*/ 15 h 116"/>
                <a:gd name="T92" fmla="*/ 59 w 144"/>
                <a:gd name="T93" fmla="*/ 8 h 116"/>
                <a:gd name="T94" fmla="*/ 67 w 144"/>
                <a:gd name="T95" fmla="*/ 10 h 116"/>
                <a:gd name="T96" fmla="*/ 75 w 144"/>
                <a:gd name="T97" fmla="*/ 6 h 116"/>
                <a:gd name="T98" fmla="*/ 82 w 144"/>
                <a:gd name="T99" fmla="*/ 1 h 116"/>
                <a:gd name="T100" fmla="*/ 100 w 144"/>
                <a:gd name="T101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4" h="116">
                  <a:moveTo>
                    <a:pt x="105" y="0"/>
                  </a:moveTo>
                  <a:lnTo>
                    <a:pt x="107" y="1"/>
                  </a:lnTo>
                  <a:lnTo>
                    <a:pt x="111" y="1"/>
                  </a:lnTo>
                  <a:lnTo>
                    <a:pt x="117" y="6"/>
                  </a:lnTo>
                  <a:lnTo>
                    <a:pt x="121" y="6"/>
                  </a:lnTo>
                  <a:lnTo>
                    <a:pt x="124" y="7"/>
                  </a:lnTo>
                  <a:lnTo>
                    <a:pt x="127" y="11"/>
                  </a:lnTo>
                  <a:lnTo>
                    <a:pt x="126" y="17"/>
                  </a:lnTo>
                  <a:lnTo>
                    <a:pt x="124" y="21"/>
                  </a:lnTo>
                  <a:lnTo>
                    <a:pt x="128" y="24"/>
                  </a:lnTo>
                  <a:lnTo>
                    <a:pt x="126" y="30"/>
                  </a:lnTo>
                  <a:lnTo>
                    <a:pt x="128" y="32"/>
                  </a:lnTo>
                  <a:lnTo>
                    <a:pt x="130" y="35"/>
                  </a:lnTo>
                  <a:lnTo>
                    <a:pt x="130" y="38"/>
                  </a:lnTo>
                  <a:lnTo>
                    <a:pt x="132" y="41"/>
                  </a:lnTo>
                  <a:lnTo>
                    <a:pt x="132" y="44"/>
                  </a:lnTo>
                  <a:lnTo>
                    <a:pt x="133" y="48"/>
                  </a:lnTo>
                  <a:lnTo>
                    <a:pt x="135" y="51"/>
                  </a:lnTo>
                  <a:lnTo>
                    <a:pt x="133" y="45"/>
                  </a:lnTo>
                  <a:lnTo>
                    <a:pt x="135" y="44"/>
                  </a:lnTo>
                  <a:lnTo>
                    <a:pt x="137" y="48"/>
                  </a:lnTo>
                  <a:lnTo>
                    <a:pt x="137" y="51"/>
                  </a:lnTo>
                  <a:lnTo>
                    <a:pt x="135" y="55"/>
                  </a:lnTo>
                  <a:lnTo>
                    <a:pt x="132" y="57"/>
                  </a:lnTo>
                  <a:lnTo>
                    <a:pt x="129" y="57"/>
                  </a:lnTo>
                  <a:lnTo>
                    <a:pt x="126" y="58"/>
                  </a:lnTo>
                  <a:lnTo>
                    <a:pt x="122" y="63"/>
                  </a:lnTo>
                  <a:lnTo>
                    <a:pt x="123" y="65"/>
                  </a:lnTo>
                  <a:lnTo>
                    <a:pt x="126" y="63"/>
                  </a:lnTo>
                  <a:lnTo>
                    <a:pt x="129" y="62"/>
                  </a:lnTo>
                  <a:lnTo>
                    <a:pt x="132" y="60"/>
                  </a:lnTo>
                  <a:lnTo>
                    <a:pt x="134" y="62"/>
                  </a:lnTo>
                  <a:lnTo>
                    <a:pt x="141" y="62"/>
                  </a:lnTo>
                  <a:lnTo>
                    <a:pt x="142" y="65"/>
                  </a:lnTo>
                  <a:lnTo>
                    <a:pt x="142" y="70"/>
                  </a:lnTo>
                  <a:lnTo>
                    <a:pt x="144" y="73"/>
                  </a:lnTo>
                  <a:lnTo>
                    <a:pt x="143" y="77"/>
                  </a:lnTo>
                  <a:lnTo>
                    <a:pt x="144" y="81"/>
                  </a:lnTo>
                  <a:lnTo>
                    <a:pt x="143" y="84"/>
                  </a:lnTo>
                  <a:lnTo>
                    <a:pt x="142" y="87"/>
                  </a:lnTo>
                  <a:lnTo>
                    <a:pt x="141" y="91"/>
                  </a:lnTo>
                  <a:lnTo>
                    <a:pt x="140" y="93"/>
                  </a:lnTo>
                  <a:lnTo>
                    <a:pt x="137" y="95"/>
                  </a:lnTo>
                  <a:lnTo>
                    <a:pt x="136" y="91"/>
                  </a:lnTo>
                  <a:lnTo>
                    <a:pt x="135" y="86"/>
                  </a:lnTo>
                  <a:lnTo>
                    <a:pt x="138" y="84"/>
                  </a:lnTo>
                  <a:lnTo>
                    <a:pt x="138" y="80"/>
                  </a:lnTo>
                  <a:lnTo>
                    <a:pt x="138" y="76"/>
                  </a:lnTo>
                  <a:lnTo>
                    <a:pt x="135" y="72"/>
                  </a:lnTo>
                  <a:lnTo>
                    <a:pt x="132" y="70"/>
                  </a:lnTo>
                  <a:lnTo>
                    <a:pt x="131" y="73"/>
                  </a:lnTo>
                  <a:lnTo>
                    <a:pt x="134" y="76"/>
                  </a:lnTo>
                  <a:lnTo>
                    <a:pt x="133" y="79"/>
                  </a:lnTo>
                  <a:lnTo>
                    <a:pt x="134" y="82"/>
                  </a:lnTo>
                  <a:lnTo>
                    <a:pt x="131" y="89"/>
                  </a:lnTo>
                  <a:lnTo>
                    <a:pt x="128" y="91"/>
                  </a:lnTo>
                  <a:lnTo>
                    <a:pt x="132" y="90"/>
                  </a:lnTo>
                  <a:lnTo>
                    <a:pt x="135" y="90"/>
                  </a:lnTo>
                  <a:lnTo>
                    <a:pt x="136" y="96"/>
                  </a:lnTo>
                  <a:lnTo>
                    <a:pt x="134" y="98"/>
                  </a:lnTo>
                  <a:lnTo>
                    <a:pt x="130" y="101"/>
                  </a:lnTo>
                  <a:lnTo>
                    <a:pt x="128" y="103"/>
                  </a:lnTo>
                  <a:lnTo>
                    <a:pt x="124" y="100"/>
                  </a:lnTo>
                  <a:lnTo>
                    <a:pt x="121" y="100"/>
                  </a:lnTo>
                  <a:lnTo>
                    <a:pt x="119" y="100"/>
                  </a:lnTo>
                  <a:lnTo>
                    <a:pt x="117" y="101"/>
                  </a:lnTo>
                  <a:lnTo>
                    <a:pt x="116" y="105"/>
                  </a:lnTo>
                  <a:lnTo>
                    <a:pt x="114" y="108"/>
                  </a:lnTo>
                  <a:lnTo>
                    <a:pt x="113" y="111"/>
                  </a:lnTo>
                  <a:lnTo>
                    <a:pt x="109" y="113"/>
                  </a:lnTo>
                  <a:lnTo>
                    <a:pt x="103" y="116"/>
                  </a:lnTo>
                  <a:lnTo>
                    <a:pt x="100" y="116"/>
                  </a:lnTo>
                  <a:lnTo>
                    <a:pt x="97" y="111"/>
                  </a:lnTo>
                  <a:lnTo>
                    <a:pt x="95" y="108"/>
                  </a:lnTo>
                  <a:lnTo>
                    <a:pt x="92" y="107"/>
                  </a:lnTo>
                  <a:lnTo>
                    <a:pt x="88" y="106"/>
                  </a:lnTo>
                  <a:lnTo>
                    <a:pt x="86" y="109"/>
                  </a:lnTo>
                  <a:lnTo>
                    <a:pt x="82" y="109"/>
                  </a:lnTo>
                  <a:lnTo>
                    <a:pt x="80" y="108"/>
                  </a:lnTo>
                  <a:lnTo>
                    <a:pt x="75" y="108"/>
                  </a:lnTo>
                  <a:lnTo>
                    <a:pt x="70" y="106"/>
                  </a:lnTo>
                  <a:lnTo>
                    <a:pt x="71" y="103"/>
                  </a:lnTo>
                  <a:lnTo>
                    <a:pt x="73" y="100"/>
                  </a:lnTo>
                  <a:lnTo>
                    <a:pt x="74" y="97"/>
                  </a:lnTo>
                  <a:lnTo>
                    <a:pt x="72" y="94"/>
                  </a:lnTo>
                  <a:lnTo>
                    <a:pt x="70" y="94"/>
                  </a:lnTo>
                  <a:lnTo>
                    <a:pt x="66" y="90"/>
                  </a:lnTo>
                  <a:lnTo>
                    <a:pt x="65" y="86"/>
                  </a:lnTo>
                  <a:lnTo>
                    <a:pt x="63" y="83"/>
                  </a:lnTo>
                  <a:lnTo>
                    <a:pt x="65" y="81"/>
                  </a:lnTo>
                  <a:lnTo>
                    <a:pt x="65" y="77"/>
                  </a:lnTo>
                  <a:lnTo>
                    <a:pt x="63" y="74"/>
                  </a:lnTo>
                  <a:lnTo>
                    <a:pt x="61" y="70"/>
                  </a:lnTo>
                  <a:lnTo>
                    <a:pt x="58" y="69"/>
                  </a:lnTo>
                  <a:lnTo>
                    <a:pt x="52" y="73"/>
                  </a:lnTo>
                  <a:lnTo>
                    <a:pt x="50" y="74"/>
                  </a:lnTo>
                  <a:lnTo>
                    <a:pt x="47" y="77"/>
                  </a:lnTo>
                  <a:lnTo>
                    <a:pt x="48" y="80"/>
                  </a:lnTo>
                  <a:lnTo>
                    <a:pt x="48" y="83"/>
                  </a:lnTo>
                  <a:lnTo>
                    <a:pt x="44" y="85"/>
                  </a:lnTo>
                  <a:lnTo>
                    <a:pt x="42" y="87"/>
                  </a:lnTo>
                  <a:lnTo>
                    <a:pt x="40" y="91"/>
                  </a:lnTo>
                  <a:lnTo>
                    <a:pt x="37" y="89"/>
                  </a:lnTo>
                  <a:lnTo>
                    <a:pt x="37" y="93"/>
                  </a:lnTo>
                  <a:lnTo>
                    <a:pt x="33" y="91"/>
                  </a:lnTo>
                  <a:lnTo>
                    <a:pt x="28" y="90"/>
                  </a:lnTo>
                  <a:lnTo>
                    <a:pt x="21" y="86"/>
                  </a:lnTo>
                  <a:lnTo>
                    <a:pt x="21" y="83"/>
                  </a:lnTo>
                  <a:lnTo>
                    <a:pt x="18" y="79"/>
                  </a:lnTo>
                  <a:lnTo>
                    <a:pt x="14" y="78"/>
                  </a:lnTo>
                  <a:lnTo>
                    <a:pt x="11" y="77"/>
                  </a:lnTo>
                  <a:lnTo>
                    <a:pt x="11" y="71"/>
                  </a:lnTo>
                  <a:lnTo>
                    <a:pt x="8" y="68"/>
                  </a:lnTo>
                  <a:lnTo>
                    <a:pt x="6" y="64"/>
                  </a:lnTo>
                  <a:lnTo>
                    <a:pt x="6" y="61"/>
                  </a:lnTo>
                  <a:lnTo>
                    <a:pt x="3" y="60"/>
                  </a:lnTo>
                  <a:lnTo>
                    <a:pt x="1" y="55"/>
                  </a:lnTo>
                  <a:lnTo>
                    <a:pt x="0" y="51"/>
                  </a:lnTo>
                  <a:lnTo>
                    <a:pt x="4" y="49"/>
                  </a:lnTo>
                  <a:lnTo>
                    <a:pt x="6" y="48"/>
                  </a:lnTo>
                  <a:lnTo>
                    <a:pt x="9" y="46"/>
                  </a:lnTo>
                  <a:lnTo>
                    <a:pt x="14" y="47"/>
                  </a:lnTo>
                  <a:lnTo>
                    <a:pt x="18" y="47"/>
                  </a:lnTo>
                  <a:lnTo>
                    <a:pt x="24" y="43"/>
                  </a:lnTo>
                  <a:lnTo>
                    <a:pt x="27" y="43"/>
                  </a:lnTo>
                  <a:lnTo>
                    <a:pt x="23" y="39"/>
                  </a:lnTo>
                  <a:lnTo>
                    <a:pt x="19" y="36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28" y="33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8" y="33"/>
                  </a:lnTo>
                  <a:lnTo>
                    <a:pt x="40" y="29"/>
                  </a:lnTo>
                  <a:lnTo>
                    <a:pt x="45" y="25"/>
                  </a:lnTo>
                  <a:lnTo>
                    <a:pt x="48" y="21"/>
                  </a:lnTo>
                  <a:lnTo>
                    <a:pt x="48" y="17"/>
                  </a:lnTo>
                  <a:lnTo>
                    <a:pt x="51" y="15"/>
                  </a:lnTo>
                  <a:lnTo>
                    <a:pt x="52" y="12"/>
                  </a:lnTo>
                  <a:lnTo>
                    <a:pt x="54" y="8"/>
                  </a:lnTo>
                  <a:lnTo>
                    <a:pt x="59" y="8"/>
                  </a:lnTo>
                  <a:lnTo>
                    <a:pt x="62" y="6"/>
                  </a:lnTo>
                  <a:lnTo>
                    <a:pt x="64" y="8"/>
                  </a:lnTo>
                  <a:lnTo>
                    <a:pt x="67" y="10"/>
                  </a:lnTo>
                  <a:lnTo>
                    <a:pt x="71" y="11"/>
                  </a:lnTo>
                  <a:lnTo>
                    <a:pt x="74" y="9"/>
                  </a:lnTo>
                  <a:lnTo>
                    <a:pt x="75" y="6"/>
                  </a:lnTo>
                  <a:lnTo>
                    <a:pt x="77" y="4"/>
                  </a:lnTo>
                  <a:lnTo>
                    <a:pt x="79" y="0"/>
                  </a:lnTo>
                  <a:lnTo>
                    <a:pt x="82" y="1"/>
                  </a:lnTo>
                  <a:lnTo>
                    <a:pt x="90" y="3"/>
                  </a:lnTo>
                  <a:lnTo>
                    <a:pt x="96" y="1"/>
                  </a:lnTo>
                  <a:lnTo>
                    <a:pt x="100" y="2"/>
                  </a:lnTo>
                  <a:lnTo>
                    <a:pt x="103" y="0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rgbClr val="FDDEBE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  <p:sp>
          <p:nvSpPr>
            <p:cNvPr id="348" name="DD">
              <a:extLst>
                <a:ext uri="{FF2B5EF4-FFF2-40B4-BE49-F238E27FC236}">
                  <a16:creationId xmlns:a16="http://schemas.microsoft.com/office/drawing/2014/main" id="{F84B9D7A-DB14-AF27-A006-E30DB00D74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4212" y="3301490"/>
              <a:ext cx="566484" cy="462738"/>
            </a:xfrm>
            <a:custGeom>
              <a:avLst/>
              <a:gdLst>
                <a:gd name="T0" fmla="*/ 105 w 295"/>
                <a:gd name="T1" fmla="*/ 232 h 258"/>
                <a:gd name="T2" fmla="*/ 120 w 295"/>
                <a:gd name="T3" fmla="*/ 240 h 258"/>
                <a:gd name="T4" fmla="*/ 92 w 295"/>
                <a:gd name="T5" fmla="*/ 249 h 258"/>
                <a:gd name="T6" fmla="*/ 76 w 295"/>
                <a:gd name="T7" fmla="*/ 236 h 258"/>
                <a:gd name="T8" fmla="*/ 35 w 295"/>
                <a:gd name="T9" fmla="*/ 224 h 258"/>
                <a:gd name="T10" fmla="*/ 40 w 295"/>
                <a:gd name="T11" fmla="*/ 234 h 258"/>
                <a:gd name="T12" fmla="*/ 155 w 295"/>
                <a:gd name="T13" fmla="*/ 216 h 258"/>
                <a:gd name="T14" fmla="*/ 133 w 295"/>
                <a:gd name="T15" fmla="*/ 225 h 258"/>
                <a:gd name="T16" fmla="*/ 4 w 295"/>
                <a:gd name="T17" fmla="*/ 211 h 258"/>
                <a:gd name="T18" fmla="*/ 20 w 295"/>
                <a:gd name="T19" fmla="*/ 230 h 258"/>
                <a:gd name="T20" fmla="*/ 11 w 295"/>
                <a:gd name="T21" fmla="*/ 228 h 258"/>
                <a:gd name="T22" fmla="*/ 0 w 295"/>
                <a:gd name="T23" fmla="*/ 214 h 258"/>
                <a:gd name="T24" fmla="*/ 57 w 295"/>
                <a:gd name="T25" fmla="*/ 243 h 258"/>
                <a:gd name="T26" fmla="*/ 61 w 295"/>
                <a:gd name="T27" fmla="*/ 220 h 258"/>
                <a:gd name="T28" fmla="*/ 278 w 295"/>
                <a:gd name="T29" fmla="*/ 187 h 258"/>
                <a:gd name="T30" fmla="*/ 293 w 295"/>
                <a:gd name="T31" fmla="*/ 205 h 258"/>
                <a:gd name="T32" fmla="*/ 271 w 295"/>
                <a:gd name="T33" fmla="*/ 198 h 258"/>
                <a:gd name="T34" fmla="*/ 41 w 295"/>
                <a:gd name="T35" fmla="*/ 164 h 258"/>
                <a:gd name="T36" fmla="*/ 50 w 295"/>
                <a:gd name="T37" fmla="*/ 170 h 258"/>
                <a:gd name="T38" fmla="*/ 59 w 295"/>
                <a:gd name="T39" fmla="*/ 172 h 258"/>
                <a:gd name="T40" fmla="*/ 61 w 295"/>
                <a:gd name="T41" fmla="*/ 193 h 258"/>
                <a:gd name="T42" fmla="*/ 55 w 295"/>
                <a:gd name="T43" fmla="*/ 212 h 258"/>
                <a:gd name="T44" fmla="*/ 28 w 295"/>
                <a:gd name="T45" fmla="*/ 211 h 258"/>
                <a:gd name="T46" fmla="*/ 20 w 295"/>
                <a:gd name="T47" fmla="*/ 205 h 258"/>
                <a:gd name="T48" fmla="*/ 13 w 295"/>
                <a:gd name="T49" fmla="*/ 186 h 258"/>
                <a:gd name="T50" fmla="*/ 6 w 295"/>
                <a:gd name="T51" fmla="*/ 176 h 258"/>
                <a:gd name="T52" fmla="*/ 16 w 295"/>
                <a:gd name="T53" fmla="*/ 170 h 258"/>
                <a:gd name="T54" fmla="*/ 160 w 295"/>
                <a:gd name="T55" fmla="*/ 159 h 258"/>
                <a:gd name="T56" fmla="*/ 47 w 295"/>
                <a:gd name="T57" fmla="*/ 128 h 258"/>
                <a:gd name="T58" fmla="*/ 52 w 295"/>
                <a:gd name="T59" fmla="*/ 144 h 258"/>
                <a:gd name="T60" fmla="*/ 47 w 295"/>
                <a:gd name="T61" fmla="*/ 131 h 258"/>
                <a:gd name="T62" fmla="*/ 156 w 295"/>
                <a:gd name="T63" fmla="*/ 119 h 258"/>
                <a:gd name="T64" fmla="*/ 156 w 295"/>
                <a:gd name="T65" fmla="*/ 146 h 258"/>
                <a:gd name="T66" fmla="*/ 138 w 295"/>
                <a:gd name="T67" fmla="*/ 165 h 258"/>
                <a:gd name="T68" fmla="*/ 150 w 295"/>
                <a:gd name="T69" fmla="*/ 187 h 258"/>
                <a:gd name="T70" fmla="*/ 129 w 295"/>
                <a:gd name="T71" fmla="*/ 204 h 258"/>
                <a:gd name="T72" fmla="*/ 130 w 295"/>
                <a:gd name="T73" fmla="*/ 220 h 258"/>
                <a:gd name="T74" fmla="*/ 128 w 295"/>
                <a:gd name="T75" fmla="*/ 226 h 258"/>
                <a:gd name="T76" fmla="*/ 126 w 295"/>
                <a:gd name="T77" fmla="*/ 254 h 258"/>
                <a:gd name="T78" fmla="*/ 117 w 295"/>
                <a:gd name="T79" fmla="*/ 235 h 258"/>
                <a:gd name="T80" fmla="*/ 118 w 295"/>
                <a:gd name="T81" fmla="*/ 220 h 258"/>
                <a:gd name="T82" fmla="*/ 115 w 295"/>
                <a:gd name="T83" fmla="*/ 212 h 258"/>
                <a:gd name="T84" fmla="*/ 105 w 295"/>
                <a:gd name="T85" fmla="*/ 200 h 258"/>
                <a:gd name="T86" fmla="*/ 81 w 295"/>
                <a:gd name="T87" fmla="*/ 189 h 258"/>
                <a:gd name="T88" fmla="*/ 83 w 295"/>
                <a:gd name="T89" fmla="*/ 175 h 258"/>
                <a:gd name="T90" fmla="*/ 68 w 295"/>
                <a:gd name="T91" fmla="*/ 156 h 258"/>
                <a:gd name="T92" fmla="*/ 80 w 295"/>
                <a:gd name="T93" fmla="*/ 152 h 258"/>
                <a:gd name="T94" fmla="*/ 90 w 295"/>
                <a:gd name="T95" fmla="*/ 140 h 258"/>
                <a:gd name="T96" fmla="*/ 87 w 295"/>
                <a:gd name="T97" fmla="*/ 128 h 258"/>
                <a:gd name="T98" fmla="*/ 108 w 295"/>
                <a:gd name="T99" fmla="*/ 132 h 258"/>
                <a:gd name="T100" fmla="*/ 113 w 295"/>
                <a:gd name="T101" fmla="*/ 147 h 258"/>
                <a:gd name="T102" fmla="*/ 118 w 295"/>
                <a:gd name="T103" fmla="*/ 142 h 258"/>
                <a:gd name="T104" fmla="*/ 125 w 295"/>
                <a:gd name="T105" fmla="*/ 138 h 258"/>
                <a:gd name="T106" fmla="*/ 123 w 295"/>
                <a:gd name="T107" fmla="*/ 155 h 258"/>
                <a:gd name="T108" fmla="*/ 126 w 295"/>
                <a:gd name="T109" fmla="*/ 129 h 258"/>
                <a:gd name="T110" fmla="*/ 136 w 295"/>
                <a:gd name="T111" fmla="*/ 111 h 258"/>
                <a:gd name="T112" fmla="*/ 105 w 295"/>
                <a:gd name="T113" fmla="*/ 56 h 258"/>
                <a:gd name="T114" fmla="*/ 67 w 295"/>
                <a:gd name="T115" fmla="*/ 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5" h="258">
                  <a:moveTo>
                    <a:pt x="85" y="222"/>
                  </a:moveTo>
                  <a:lnTo>
                    <a:pt x="86" y="222"/>
                  </a:lnTo>
                  <a:lnTo>
                    <a:pt x="89" y="224"/>
                  </a:lnTo>
                  <a:lnTo>
                    <a:pt x="93" y="229"/>
                  </a:lnTo>
                  <a:lnTo>
                    <a:pt x="96" y="230"/>
                  </a:lnTo>
                  <a:lnTo>
                    <a:pt x="106" y="235"/>
                  </a:lnTo>
                  <a:lnTo>
                    <a:pt x="105" y="232"/>
                  </a:lnTo>
                  <a:lnTo>
                    <a:pt x="107" y="231"/>
                  </a:lnTo>
                  <a:lnTo>
                    <a:pt x="108" y="228"/>
                  </a:lnTo>
                  <a:lnTo>
                    <a:pt x="113" y="229"/>
                  </a:lnTo>
                  <a:lnTo>
                    <a:pt x="114" y="232"/>
                  </a:lnTo>
                  <a:lnTo>
                    <a:pt x="116" y="235"/>
                  </a:lnTo>
                  <a:lnTo>
                    <a:pt x="119" y="237"/>
                  </a:lnTo>
                  <a:lnTo>
                    <a:pt x="120" y="240"/>
                  </a:lnTo>
                  <a:lnTo>
                    <a:pt x="118" y="243"/>
                  </a:lnTo>
                  <a:lnTo>
                    <a:pt x="119" y="247"/>
                  </a:lnTo>
                  <a:lnTo>
                    <a:pt x="115" y="250"/>
                  </a:lnTo>
                  <a:lnTo>
                    <a:pt x="107" y="248"/>
                  </a:lnTo>
                  <a:lnTo>
                    <a:pt x="104" y="249"/>
                  </a:lnTo>
                  <a:lnTo>
                    <a:pt x="102" y="250"/>
                  </a:lnTo>
                  <a:lnTo>
                    <a:pt x="92" y="249"/>
                  </a:lnTo>
                  <a:lnTo>
                    <a:pt x="89" y="246"/>
                  </a:lnTo>
                  <a:lnTo>
                    <a:pt x="83" y="243"/>
                  </a:lnTo>
                  <a:lnTo>
                    <a:pt x="81" y="242"/>
                  </a:lnTo>
                  <a:lnTo>
                    <a:pt x="78" y="241"/>
                  </a:lnTo>
                  <a:lnTo>
                    <a:pt x="75" y="240"/>
                  </a:lnTo>
                  <a:lnTo>
                    <a:pt x="73" y="236"/>
                  </a:lnTo>
                  <a:lnTo>
                    <a:pt x="76" y="236"/>
                  </a:lnTo>
                  <a:lnTo>
                    <a:pt x="79" y="234"/>
                  </a:lnTo>
                  <a:lnTo>
                    <a:pt x="74" y="229"/>
                  </a:lnTo>
                  <a:lnTo>
                    <a:pt x="75" y="226"/>
                  </a:lnTo>
                  <a:lnTo>
                    <a:pt x="77" y="223"/>
                  </a:lnTo>
                  <a:lnTo>
                    <a:pt x="85" y="222"/>
                  </a:lnTo>
                  <a:close/>
                  <a:moveTo>
                    <a:pt x="30" y="221"/>
                  </a:moveTo>
                  <a:lnTo>
                    <a:pt x="35" y="224"/>
                  </a:lnTo>
                  <a:lnTo>
                    <a:pt x="38" y="227"/>
                  </a:lnTo>
                  <a:lnTo>
                    <a:pt x="38" y="228"/>
                  </a:lnTo>
                  <a:lnTo>
                    <a:pt x="41" y="228"/>
                  </a:lnTo>
                  <a:lnTo>
                    <a:pt x="44" y="230"/>
                  </a:lnTo>
                  <a:lnTo>
                    <a:pt x="47" y="232"/>
                  </a:lnTo>
                  <a:lnTo>
                    <a:pt x="43" y="233"/>
                  </a:lnTo>
                  <a:lnTo>
                    <a:pt x="40" y="234"/>
                  </a:lnTo>
                  <a:lnTo>
                    <a:pt x="31" y="224"/>
                  </a:lnTo>
                  <a:lnTo>
                    <a:pt x="30" y="221"/>
                  </a:lnTo>
                  <a:close/>
                  <a:moveTo>
                    <a:pt x="140" y="213"/>
                  </a:moveTo>
                  <a:lnTo>
                    <a:pt x="143" y="213"/>
                  </a:lnTo>
                  <a:lnTo>
                    <a:pt x="149" y="214"/>
                  </a:lnTo>
                  <a:lnTo>
                    <a:pt x="153" y="214"/>
                  </a:lnTo>
                  <a:lnTo>
                    <a:pt x="155" y="216"/>
                  </a:lnTo>
                  <a:lnTo>
                    <a:pt x="156" y="219"/>
                  </a:lnTo>
                  <a:lnTo>
                    <a:pt x="154" y="221"/>
                  </a:lnTo>
                  <a:lnTo>
                    <a:pt x="147" y="220"/>
                  </a:lnTo>
                  <a:lnTo>
                    <a:pt x="142" y="223"/>
                  </a:lnTo>
                  <a:lnTo>
                    <a:pt x="139" y="227"/>
                  </a:lnTo>
                  <a:lnTo>
                    <a:pt x="137" y="227"/>
                  </a:lnTo>
                  <a:lnTo>
                    <a:pt x="133" y="225"/>
                  </a:lnTo>
                  <a:lnTo>
                    <a:pt x="134" y="223"/>
                  </a:lnTo>
                  <a:lnTo>
                    <a:pt x="135" y="220"/>
                  </a:lnTo>
                  <a:lnTo>
                    <a:pt x="137" y="218"/>
                  </a:lnTo>
                  <a:lnTo>
                    <a:pt x="141" y="218"/>
                  </a:lnTo>
                  <a:lnTo>
                    <a:pt x="142" y="215"/>
                  </a:lnTo>
                  <a:lnTo>
                    <a:pt x="140" y="213"/>
                  </a:lnTo>
                  <a:close/>
                  <a:moveTo>
                    <a:pt x="4" y="211"/>
                  </a:moveTo>
                  <a:lnTo>
                    <a:pt x="8" y="211"/>
                  </a:lnTo>
                  <a:lnTo>
                    <a:pt x="11" y="215"/>
                  </a:lnTo>
                  <a:lnTo>
                    <a:pt x="15" y="216"/>
                  </a:lnTo>
                  <a:lnTo>
                    <a:pt x="18" y="219"/>
                  </a:lnTo>
                  <a:lnTo>
                    <a:pt x="20" y="222"/>
                  </a:lnTo>
                  <a:lnTo>
                    <a:pt x="23" y="229"/>
                  </a:lnTo>
                  <a:lnTo>
                    <a:pt x="20" y="230"/>
                  </a:lnTo>
                  <a:lnTo>
                    <a:pt x="17" y="231"/>
                  </a:lnTo>
                  <a:lnTo>
                    <a:pt x="13" y="230"/>
                  </a:lnTo>
                  <a:lnTo>
                    <a:pt x="15" y="228"/>
                  </a:lnTo>
                  <a:lnTo>
                    <a:pt x="18" y="230"/>
                  </a:lnTo>
                  <a:lnTo>
                    <a:pt x="16" y="227"/>
                  </a:lnTo>
                  <a:lnTo>
                    <a:pt x="13" y="227"/>
                  </a:lnTo>
                  <a:lnTo>
                    <a:pt x="11" y="228"/>
                  </a:lnTo>
                  <a:lnTo>
                    <a:pt x="6" y="224"/>
                  </a:lnTo>
                  <a:lnTo>
                    <a:pt x="6" y="221"/>
                  </a:lnTo>
                  <a:lnTo>
                    <a:pt x="11" y="223"/>
                  </a:lnTo>
                  <a:lnTo>
                    <a:pt x="8" y="219"/>
                  </a:lnTo>
                  <a:lnTo>
                    <a:pt x="4" y="217"/>
                  </a:lnTo>
                  <a:lnTo>
                    <a:pt x="3" y="214"/>
                  </a:lnTo>
                  <a:lnTo>
                    <a:pt x="0" y="214"/>
                  </a:lnTo>
                  <a:lnTo>
                    <a:pt x="4" y="211"/>
                  </a:lnTo>
                  <a:close/>
                  <a:moveTo>
                    <a:pt x="69" y="204"/>
                  </a:moveTo>
                  <a:lnTo>
                    <a:pt x="68" y="215"/>
                  </a:lnTo>
                  <a:lnTo>
                    <a:pt x="67" y="218"/>
                  </a:lnTo>
                  <a:lnTo>
                    <a:pt x="64" y="224"/>
                  </a:lnTo>
                  <a:lnTo>
                    <a:pt x="59" y="241"/>
                  </a:lnTo>
                  <a:lnTo>
                    <a:pt x="57" y="243"/>
                  </a:lnTo>
                  <a:lnTo>
                    <a:pt x="55" y="236"/>
                  </a:lnTo>
                  <a:lnTo>
                    <a:pt x="52" y="233"/>
                  </a:lnTo>
                  <a:lnTo>
                    <a:pt x="56" y="229"/>
                  </a:lnTo>
                  <a:lnTo>
                    <a:pt x="58" y="229"/>
                  </a:lnTo>
                  <a:lnTo>
                    <a:pt x="56" y="227"/>
                  </a:lnTo>
                  <a:lnTo>
                    <a:pt x="58" y="223"/>
                  </a:lnTo>
                  <a:lnTo>
                    <a:pt x="61" y="220"/>
                  </a:lnTo>
                  <a:lnTo>
                    <a:pt x="65" y="214"/>
                  </a:lnTo>
                  <a:lnTo>
                    <a:pt x="65" y="212"/>
                  </a:lnTo>
                  <a:lnTo>
                    <a:pt x="67" y="207"/>
                  </a:lnTo>
                  <a:lnTo>
                    <a:pt x="69" y="204"/>
                  </a:lnTo>
                  <a:close/>
                  <a:moveTo>
                    <a:pt x="273" y="182"/>
                  </a:moveTo>
                  <a:lnTo>
                    <a:pt x="276" y="185"/>
                  </a:lnTo>
                  <a:lnTo>
                    <a:pt x="278" y="187"/>
                  </a:lnTo>
                  <a:lnTo>
                    <a:pt x="283" y="189"/>
                  </a:lnTo>
                  <a:lnTo>
                    <a:pt x="286" y="191"/>
                  </a:lnTo>
                  <a:lnTo>
                    <a:pt x="290" y="193"/>
                  </a:lnTo>
                  <a:lnTo>
                    <a:pt x="294" y="196"/>
                  </a:lnTo>
                  <a:lnTo>
                    <a:pt x="295" y="199"/>
                  </a:lnTo>
                  <a:lnTo>
                    <a:pt x="294" y="202"/>
                  </a:lnTo>
                  <a:lnTo>
                    <a:pt x="293" y="205"/>
                  </a:lnTo>
                  <a:lnTo>
                    <a:pt x="292" y="208"/>
                  </a:lnTo>
                  <a:lnTo>
                    <a:pt x="291" y="209"/>
                  </a:lnTo>
                  <a:lnTo>
                    <a:pt x="288" y="209"/>
                  </a:lnTo>
                  <a:lnTo>
                    <a:pt x="284" y="207"/>
                  </a:lnTo>
                  <a:lnTo>
                    <a:pt x="281" y="207"/>
                  </a:lnTo>
                  <a:lnTo>
                    <a:pt x="271" y="202"/>
                  </a:lnTo>
                  <a:lnTo>
                    <a:pt x="271" y="198"/>
                  </a:lnTo>
                  <a:lnTo>
                    <a:pt x="271" y="195"/>
                  </a:lnTo>
                  <a:lnTo>
                    <a:pt x="271" y="190"/>
                  </a:lnTo>
                  <a:lnTo>
                    <a:pt x="272" y="186"/>
                  </a:lnTo>
                  <a:lnTo>
                    <a:pt x="273" y="182"/>
                  </a:lnTo>
                  <a:close/>
                  <a:moveTo>
                    <a:pt x="36" y="161"/>
                  </a:moveTo>
                  <a:lnTo>
                    <a:pt x="38" y="161"/>
                  </a:lnTo>
                  <a:lnTo>
                    <a:pt x="41" y="164"/>
                  </a:lnTo>
                  <a:lnTo>
                    <a:pt x="43" y="167"/>
                  </a:lnTo>
                  <a:lnTo>
                    <a:pt x="45" y="167"/>
                  </a:lnTo>
                  <a:lnTo>
                    <a:pt x="45" y="170"/>
                  </a:lnTo>
                  <a:lnTo>
                    <a:pt x="42" y="175"/>
                  </a:lnTo>
                  <a:lnTo>
                    <a:pt x="45" y="177"/>
                  </a:lnTo>
                  <a:lnTo>
                    <a:pt x="50" y="173"/>
                  </a:lnTo>
                  <a:lnTo>
                    <a:pt x="50" y="170"/>
                  </a:lnTo>
                  <a:lnTo>
                    <a:pt x="52" y="169"/>
                  </a:lnTo>
                  <a:lnTo>
                    <a:pt x="51" y="166"/>
                  </a:lnTo>
                  <a:lnTo>
                    <a:pt x="52" y="162"/>
                  </a:lnTo>
                  <a:lnTo>
                    <a:pt x="54" y="163"/>
                  </a:lnTo>
                  <a:lnTo>
                    <a:pt x="57" y="167"/>
                  </a:lnTo>
                  <a:lnTo>
                    <a:pt x="57" y="169"/>
                  </a:lnTo>
                  <a:lnTo>
                    <a:pt x="59" y="172"/>
                  </a:lnTo>
                  <a:lnTo>
                    <a:pt x="54" y="175"/>
                  </a:lnTo>
                  <a:lnTo>
                    <a:pt x="51" y="175"/>
                  </a:lnTo>
                  <a:lnTo>
                    <a:pt x="56" y="176"/>
                  </a:lnTo>
                  <a:lnTo>
                    <a:pt x="62" y="185"/>
                  </a:lnTo>
                  <a:lnTo>
                    <a:pt x="63" y="190"/>
                  </a:lnTo>
                  <a:lnTo>
                    <a:pt x="61" y="190"/>
                  </a:lnTo>
                  <a:lnTo>
                    <a:pt x="61" y="193"/>
                  </a:lnTo>
                  <a:lnTo>
                    <a:pt x="63" y="197"/>
                  </a:lnTo>
                  <a:lnTo>
                    <a:pt x="63" y="200"/>
                  </a:lnTo>
                  <a:lnTo>
                    <a:pt x="62" y="204"/>
                  </a:lnTo>
                  <a:lnTo>
                    <a:pt x="61" y="207"/>
                  </a:lnTo>
                  <a:lnTo>
                    <a:pt x="59" y="210"/>
                  </a:lnTo>
                  <a:lnTo>
                    <a:pt x="58" y="212"/>
                  </a:lnTo>
                  <a:lnTo>
                    <a:pt x="55" y="212"/>
                  </a:lnTo>
                  <a:lnTo>
                    <a:pt x="53" y="212"/>
                  </a:lnTo>
                  <a:lnTo>
                    <a:pt x="50" y="214"/>
                  </a:lnTo>
                  <a:lnTo>
                    <a:pt x="47" y="216"/>
                  </a:lnTo>
                  <a:lnTo>
                    <a:pt x="42" y="214"/>
                  </a:lnTo>
                  <a:lnTo>
                    <a:pt x="37" y="213"/>
                  </a:lnTo>
                  <a:lnTo>
                    <a:pt x="32" y="210"/>
                  </a:lnTo>
                  <a:lnTo>
                    <a:pt x="28" y="211"/>
                  </a:lnTo>
                  <a:lnTo>
                    <a:pt x="24" y="211"/>
                  </a:lnTo>
                  <a:lnTo>
                    <a:pt x="27" y="207"/>
                  </a:lnTo>
                  <a:lnTo>
                    <a:pt x="27" y="204"/>
                  </a:lnTo>
                  <a:lnTo>
                    <a:pt x="26" y="202"/>
                  </a:lnTo>
                  <a:lnTo>
                    <a:pt x="23" y="202"/>
                  </a:lnTo>
                  <a:lnTo>
                    <a:pt x="20" y="201"/>
                  </a:lnTo>
                  <a:lnTo>
                    <a:pt x="20" y="205"/>
                  </a:lnTo>
                  <a:lnTo>
                    <a:pt x="18" y="207"/>
                  </a:lnTo>
                  <a:lnTo>
                    <a:pt x="18" y="203"/>
                  </a:lnTo>
                  <a:lnTo>
                    <a:pt x="18" y="200"/>
                  </a:lnTo>
                  <a:lnTo>
                    <a:pt x="15" y="198"/>
                  </a:lnTo>
                  <a:lnTo>
                    <a:pt x="13" y="195"/>
                  </a:lnTo>
                  <a:lnTo>
                    <a:pt x="13" y="192"/>
                  </a:lnTo>
                  <a:lnTo>
                    <a:pt x="13" y="186"/>
                  </a:lnTo>
                  <a:lnTo>
                    <a:pt x="10" y="186"/>
                  </a:lnTo>
                  <a:lnTo>
                    <a:pt x="7" y="183"/>
                  </a:lnTo>
                  <a:lnTo>
                    <a:pt x="10" y="182"/>
                  </a:lnTo>
                  <a:lnTo>
                    <a:pt x="8" y="179"/>
                  </a:lnTo>
                  <a:lnTo>
                    <a:pt x="5" y="177"/>
                  </a:lnTo>
                  <a:lnTo>
                    <a:pt x="3" y="174"/>
                  </a:lnTo>
                  <a:lnTo>
                    <a:pt x="6" y="176"/>
                  </a:lnTo>
                  <a:lnTo>
                    <a:pt x="9" y="177"/>
                  </a:lnTo>
                  <a:lnTo>
                    <a:pt x="4" y="172"/>
                  </a:lnTo>
                  <a:lnTo>
                    <a:pt x="4" y="170"/>
                  </a:lnTo>
                  <a:lnTo>
                    <a:pt x="6" y="167"/>
                  </a:lnTo>
                  <a:lnTo>
                    <a:pt x="9" y="167"/>
                  </a:lnTo>
                  <a:lnTo>
                    <a:pt x="13" y="171"/>
                  </a:lnTo>
                  <a:lnTo>
                    <a:pt x="16" y="170"/>
                  </a:lnTo>
                  <a:lnTo>
                    <a:pt x="22" y="166"/>
                  </a:lnTo>
                  <a:lnTo>
                    <a:pt x="29" y="164"/>
                  </a:lnTo>
                  <a:lnTo>
                    <a:pt x="31" y="162"/>
                  </a:lnTo>
                  <a:lnTo>
                    <a:pt x="34" y="162"/>
                  </a:lnTo>
                  <a:lnTo>
                    <a:pt x="36" y="161"/>
                  </a:lnTo>
                  <a:close/>
                  <a:moveTo>
                    <a:pt x="156" y="151"/>
                  </a:moveTo>
                  <a:lnTo>
                    <a:pt x="160" y="159"/>
                  </a:lnTo>
                  <a:lnTo>
                    <a:pt x="158" y="162"/>
                  </a:lnTo>
                  <a:lnTo>
                    <a:pt x="156" y="164"/>
                  </a:lnTo>
                  <a:lnTo>
                    <a:pt x="153" y="163"/>
                  </a:lnTo>
                  <a:lnTo>
                    <a:pt x="152" y="158"/>
                  </a:lnTo>
                  <a:lnTo>
                    <a:pt x="154" y="156"/>
                  </a:lnTo>
                  <a:lnTo>
                    <a:pt x="156" y="151"/>
                  </a:lnTo>
                  <a:close/>
                  <a:moveTo>
                    <a:pt x="47" y="128"/>
                  </a:moveTo>
                  <a:lnTo>
                    <a:pt x="49" y="130"/>
                  </a:lnTo>
                  <a:lnTo>
                    <a:pt x="51" y="132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4" y="136"/>
                  </a:lnTo>
                  <a:lnTo>
                    <a:pt x="52" y="140"/>
                  </a:lnTo>
                  <a:lnTo>
                    <a:pt x="52" y="144"/>
                  </a:lnTo>
                  <a:lnTo>
                    <a:pt x="50" y="147"/>
                  </a:lnTo>
                  <a:lnTo>
                    <a:pt x="47" y="145"/>
                  </a:lnTo>
                  <a:lnTo>
                    <a:pt x="46" y="141"/>
                  </a:lnTo>
                  <a:lnTo>
                    <a:pt x="47" y="139"/>
                  </a:lnTo>
                  <a:lnTo>
                    <a:pt x="50" y="137"/>
                  </a:lnTo>
                  <a:lnTo>
                    <a:pt x="50" y="134"/>
                  </a:lnTo>
                  <a:lnTo>
                    <a:pt x="47" y="131"/>
                  </a:lnTo>
                  <a:lnTo>
                    <a:pt x="47" y="128"/>
                  </a:lnTo>
                  <a:close/>
                  <a:moveTo>
                    <a:pt x="136" y="111"/>
                  </a:moveTo>
                  <a:lnTo>
                    <a:pt x="141" y="111"/>
                  </a:lnTo>
                  <a:lnTo>
                    <a:pt x="145" y="113"/>
                  </a:lnTo>
                  <a:lnTo>
                    <a:pt x="149" y="113"/>
                  </a:lnTo>
                  <a:lnTo>
                    <a:pt x="152" y="115"/>
                  </a:lnTo>
                  <a:lnTo>
                    <a:pt x="156" y="119"/>
                  </a:lnTo>
                  <a:lnTo>
                    <a:pt x="154" y="123"/>
                  </a:lnTo>
                  <a:lnTo>
                    <a:pt x="152" y="129"/>
                  </a:lnTo>
                  <a:lnTo>
                    <a:pt x="152" y="133"/>
                  </a:lnTo>
                  <a:lnTo>
                    <a:pt x="154" y="135"/>
                  </a:lnTo>
                  <a:lnTo>
                    <a:pt x="155" y="139"/>
                  </a:lnTo>
                  <a:lnTo>
                    <a:pt x="156" y="142"/>
                  </a:lnTo>
                  <a:lnTo>
                    <a:pt x="156" y="146"/>
                  </a:lnTo>
                  <a:lnTo>
                    <a:pt x="156" y="148"/>
                  </a:lnTo>
                  <a:lnTo>
                    <a:pt x="155" y="151"/>
                  </a:lnTo>
                  <a:lnTo>
                    <a:pt x="153" y="155"/>
                  </a:lnTo>
                  <a:lnTo>
                    <a:pt x="149" y="160"/>
                  </a:lnTo>
                  <a:lnTo>
                    <a:pt x="147" y="158"/>
                  </a:lnTo>
                  <a:lnTo>
                    <a:pt x="143" y="161"/>
                  </a:lnTo>
                  <a:lnTo>
                    <a:pt x="138" y="165"/>
                  </a:lnTo>
                  <a:lnTo>
                    <a:pt x="136" y="171"/>
                  </a:lnTo>
                  <a:lnTo>
                    <a:pt x="137" y="176"/>
                  </a:lnTo>
                  <a:lnTo>
                    <a:pt x="140" y="178"/>
                  </a:lnTo>
                  <a:lnTo>
                    <a:pt x="144" y="178"/>
                  </a:lnTo>
                  <a:lnTo>
                    <a:pt x="147" y="181"/>
                  </a:lnTo>
                  <a:lnTo>
                    <a:pt x="149" y="183"/>
                  </a:lnTo>
                  <a:lnTo>
                    <a:pt x="150" y="187"/>
                  </a:lnTo>
                  <a:lnTo>
                    <a:pt x="150" y="191"/>
                  </a:lnTo>
                  <a:lnTo>
                    <a:pt x="147" y="193"/>
                  </a:lnTo>
                  <a:lnTo>
                    <a:pt x="136" y="196"/>
                  </a:lnTo>
                  <a:lnTo>
                    <a:pt x="132" y="201"/>
                  </a:lnTo>
                  <a:lnTo>
                    <a:pt x="132" y="204"/>
                  </a:lnTo>
                  <a:lnTo>
                    <a:pt x="130" y="200"/>
                  </a:lnTo>
                  <a:lnTo>
                    <a:pt x="129" y="204"/>
                  </a:lnTo>
                  <a:lnTo>
                    <a:pt x="133" y="204"/>
                  </a:lnTo>
                  <a:lnTo>
                    <a:pt x="136" y="208"/>
                  </a:lnTo>
                  <a:lnTo>
                    <a:pt x="133" y="210"/>
                  </a:lnTo>
                  <a:lnTo>
                    <a:pt x="135" y="215"/>
                  </a:lnTo>
                  <a:lnTo>
                    <a:pt x="135" y="217"/>
                  </a:lnTo>
                  <a:lnTo>
                    <a:pt x="132" y="218"/>
                  </a:lnTo>
                  <a:lnTo>
                    <a:pt x="130" y="220"/>
                  </a:lnTo>
                  <a:lnTo>
                    <a:pt x="127" y="219"/>
                  </a:lnTo>
                  <a:lnTo>
                    <a:pt x="124" y="217"/>
                  </a:lnTo>
                  <a:lnTo>
                    <a:pt x="121" y="220"/>
                  </a:lnTo>
                  <a:lnTo>
                    <a:pt x="121" y="224"/>
                  </a:lnTo>
                  <a:lnTo>
                    <a:pt x="123" y="224"/>
                  </a:lnTo>
                  <a:lnTo>
                    <a:pt x="126" y="224"/>
                  </a:lnTo>
                  <a:lnTo>
                    <a:pt x="128" y="226"/>
                  </a:lnTo>
                  <a:lnTo>
                    <a:pt x="131" y="226"/>
                  </a:lnTo>
                  <a:lnTo>
                    <a:pt x="135" y="229"/>
                  </a:lnTo>
                  <a:lnTo>
                    <a:pt x="132" y="236"/>
                  </a:lnTo>
                  <a:lnTo>
                    <a:pt x="129" y="241"/>
                  </a:lnTo>
                  <a:lnTo>
                    <a:pt x="127" y="244"/>
                  </a:lnTo>
                  <a:lnTo>
                    <a:pt x="126" y="248"/>
                  </a:lnTo>
                  <a:lnTo>
                    <a:pt x="126" y="254"/>
                  </a:lnTo>
                  <a:lnTo>
                    <a:pt x="126" y="258"/>
                  </a:lnTo>
                  <a:lnTo>
                    <a:pt x="124" y="256"/>
                  </a:lnTo>
                  <a:lnTo>
                    <a:pt x="121" y="250"/>
                  </a:lnTo>
                  <a:lnTo>
                    <a:pt x="121" y="247"/>
                  </a:lnTo>
                  <a:lnTo>
                    <a:pt x="123" y="243"/>
                  </a:lnTo>
                  <a:lnTo>
                    <a:pt x="120" y="238"/>
                  </a:lnTo>
                  <a:lnTo>
                    <a:pt x="117" y="235"/>
                  </a:lnTo>
                  <a:lnTo>
                    <a:pt x="117" y="232"/>
                  </a:lnTo>
                  <a:lnTo>
                    <a:pt x="114" y="230"/>
                  </a:lnTo>
                  <a:lnTo>
                    <a:pt x="114" y="227"/>
                  </a:lnTo>
                  <a:lnTo>
                    <a:pt x="113" y="224"/>
                  </a:lnTo>
                  <a:lnTo>
                    <a:pt x="114" y="221"/>
                  </a:lnTo>
                  <a:lnTo>
                    <a:pt x="116" y="222"/>
                  </a:lnTo>
                  <a:lnTo>
                    <a:pt x="118" y="220"/>
                  </a:lnTo>
                  <a:lnTo>
                    <a:pt x="121" y="219"/>
                  </a:lnTo>
                  <a:lnTo>
                    <a:pt x="119" y="215"/>
                  </a:lnTo>
                  <a:lnTo>
                    <a:pt x="115" y="213"/>
                  </a:lnTo>
                  <a:lnTo>
                    <a:pt x="109" y="211"/>
                  </a:lnTo>
                  <a:lnTo>
                    <a:pt x="106" y="209"/>
                  </a:lnTo>
                  <a:lnTo>
                    <a:pt x="109" y="210"/>
                  </a:lnTo>
                  <a:lnTo>
                    <a:pt x="115" y="212"/>
                  </a:lnTo>
                  <a:lnTo>
                    <a:pt x="118" y="213"/>
                  </a:lnTo>
                  <a:lnTo>
                    <a:pt x="113" y="208"/>
                  </a:lnTo>
                  <a:lnTo>
                    <a:pt x="116" y="205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08" y="201"/>
                  </a:lnTo>
                  <a:lnTo>
                    <a:pt x="105" y="200"/>
                  </a:lnTo>
                  <a:lnTo>
                    <a:pt x="101" y="199"/>
                  </a:lnTo>
                  <a:lnTo>
                    <a:pt x="96" y="197"/>
                  </a:lnTo>
                  <a:lnTo>
                    <a:pt x="88" y="199"/>
                  </a:lnTo>
                  <a:lnTo>
                    <a:pt x="85" y="196"/>
                  </a:lnTo>
                  <a:lnTo>
                    <a:pt x="87" y="196"/>
                  </a:lnTo>
                  <a:lnTo>
                    <a:pt x="85" y="192"/>
                  </a:lnTo>
                  <a:lnTo>
                    <a:pt x="81" y="189"/>
                  </a:lnTo>
                  <a:lnTo>
                    <a:pt x="82" y="186"/>
                  </a:lnTo>
                  <a:lnTo>
                    <a:pt x="78" y="187"/>
                  </a:lnTo>
                  <a:lnTo>
                    <a:pt x="77" y="183"/>
                  </a:lnTo>
                  <a:lnTo>
                    <a:pt x="79" y="183"/>
                  </a:lnTo>
                  <a:lnTo>
                    <a:pt x="81" y="182"/>
                  </a:lnTo>
                  <a:lnTo>
                    <a:pt x="84" y="180"/>
                  </a:lnTo>
                  <a:lnTo>
                    <a:pt x="83" y="175"/>
                  </a:lnTo>
                  <a:lnTo>
                    <a:pt x="81" y="172"/>
                  </a:lnTo>
                  <a:lnTo>
                    <a:pt x="79" y="170"/>
                  </a:lnTo>
                  <a:lnTo>
                    <a:pt x="79" y="167"/>
                  </a:lnTo>
                  <a:lnTo>
                    <a:pt x="80" y="164"/>
                  </a:lnTo>
                  <a:lnTo>
                    <a:pt x="77" y="159"/>
                  </a:lnTo>
                  <a:lnTo>
                    <a:pt x="74" y="158"/>
                  </a:lnTo>
                  <a:lnTo>
                    <a:pt x="68" y="156"/>
                  </a:lnTo>
                  <a:lnTo>
                    <a:pt x="77" y="156"/>
                  </a:lnTo>
                  <a:lnTo>
                    <a:pt x="72" y="153"/>
                  </a:lnTo>
                  <a:lnTo>
                    <a:pt x="70" y="151"/>
                  </a:lnTo>
                  <a:lnTo>
                    <a:pt x="66" y="150"/>
                  </a:lnTo>
                  <a:lnTo>
                    <a:pt x="74" y="150"/>
                  </a:lnTo>
                  <a:lnTo>
                    <a:pt x="79" y="148"/>
                  </a:lnTo>
                  <a:lnTo>
                    <a:pt x="80" y="152"/>
                  </a:lnTo>
                  <a:lnTo>
                    <a:pt x="83" y="152"/>
                  </a:lnTo>
                  <a:lnTo>
                    <a:pt x="81" y="150"/>
                  </a:lnTo>
                  <a:lnTo>
                    <a:pt x="85" y="150"/>
                  </a:lnTo>
                  <a:lnTo>
                    <a:pt x="88" y="148"/>
                  </a:lnTo>
                  <a:lnTo>
                    <a:pt x="90" y="147"/>
                  </a:lnTo>
                  <a:lnTo>
                    <a:pt x="91" y="144"/>
                  </a:lnTo>
                  <a:lnTo>
                    <a:pt x="90" y="140"/>
                  </a:lnTo>
                  <a:lnTo>
                    <a:pt x="92" y="141"/>
                  </a:lnTo>
                  <a:lnTo>
                    <a:pt x="96" y="139"/>
                  </a:lnTo>
                  <a:lnTo>
                    <a:pt x="99" y="137"/>
                  </a:lnTo>
                  <a:lnTo>
                    <a:pt x="99" y="133"/>
                  </a:lnTo>
                  <a:lnTo>
                    <a:pt x="97" y="130"/>
                  </a:lnTo>
                  <a:lnTo>
                    <a:pt x="91" y="129"/>
                  </a:lnTo>
                  <a:lnTo>
                    <a:pt x="87" y="128"/>
                  </a:lnTo>
                  <a:lnTo>
                    <a:pt x="86" y="125"/>
                  </a:lnTo>
                  <a:lnTo>
                    <a:pt x="92" y="128"/>
                  </a:lnTo>
                  <a:lnTo>
                    <a:pt x="103" y="129"/>
                  </a:lnTo>
                  <a:lnTo>
                    <a:pt x="106" y="130"/>
                  </a:lnTo>
                  <a:lnTo>
                    <a:pt x="109" y="129"/>
                  </a:lnTo>
                  <a:lnTo>
                    <a:pt x="111" y="133"/>
                  </a:lnTo>
                  <a:lnTo>
                    <a:pt x="108" y="132"/>
                  </a:lnTo>
                  <a:lnTo>
                    <a:pt x="110" y="138"/>
                  </a:lnTo>
                  <a:lnTo>
                    <a:pt x="110" y="142"/>
                  </a:lnTo>
                  <a:lnTo>
                    <a:pt x="108" y="142"/>
                  </a:lnTo>
                  <a:lnTo>
                    <a:pt x="105" y="144"/>
                  </a:lnTo>
                  <a:lnTo>
                    <a:pt x="108" y="144"/>
                  </a:lnTo>
                  <a:lnTo>
                    <a:pt x="110" y="143"/>
                  </a:lnTo>
                  <a:lnTo>
                    <a:pt x="113" y="147"/>
                  </a:lnTo>
                  <a:lnTo>
                    <a:pt x="108" y="148"/>
                  </a:lnTo>
                  <a:lnTo>
                    <a:pt x="111" y="150"/>
                  </a:lnTo>
                  <a:lnTo>
                    <a:pt x="114" y="152"/>
                  </a:lnTo>
                  <a:lnTo>
                    <a:pt x="114" y="156"/>
                  </a:lnTo>
                  <a:lnTo>
                    <a:pt x="117" y="149"/>
                  </a:lnTo>
                  <a:lnTo>
                    <a:pt x="117" y="146"/>
                  </a:lnTo>
                  <a:lnTo>
                    <a:pt x="118" y="142"/>
                  </a:lnTo>
                  <a:lnTo>
                    <a:pt x="121" y="141"/>
                  </a:lnTo>
                  <a:lnTo>
                    <a:pt x="122" y="138"/>
                  </a:lnTo>
                  <a:lnTo>
                    <a:pt x="121" y="135"/>
                  </a:lnTo>
                  <a:lnTo>
                    <a:pt x="120" y="132"/>
                  </a:lnTo>
                  <a:lnTo>
                    <a:pt x="123" y="132"/>
                  </a:lnTo>
                  <a:lnTo>
                    <a:pt x="124" y="135"/>
                  </a:lnTo>
                  <a:lnTo>
                    <a:pt x="125" y="138"/>
                  </a:lnTo>
                  <a:lnTo>
                    <a:pt x="126" y="141"/>
                  </a:lnTo>
                  <a:lnTo>
                    <a:pt x="127" y="145"/>
                  </a:lnTo>
                  <a:lnTo>
                    <a:pt x="128" y="148"/>
                  </a:lnTo>
                  <a:lnTo>
                    <a:pt x="124" y="150"/>
                  </a:lnTo>
                  <a:lnTo>
                    <a:pt x="123" y="152"/>
                  </a:lnTo>
                  <a:lnTo>
                    <a:pt x="120" y="155"/>
                  </a:lnTo>
                  <a:lnTo>
                    <a:pt x="123" y="155"/>
                  </a:lnTo>
                  <a:lnTo>
                    <a:pt x="124" y="152"/>
                  </a:lnTo>
                  <a:lnTo>
                    <a:pt x="127" y="153"/>
                  </a:lnTo>
                  <a:lnTo>
                    <a:pt x="128" y="156"/>
                  </a:lnTo>
                  <a:lnTo>
                    <a:pt x="130" y="151"/>
                  </a:lnTo>
                  <a:lnTo>
                    <a:pt x="127" y="139"/>
                  </a:lnTo>
                  <a:lnTo>
                    <a:pt x="127" y="136"/>
                  </a:lnTo>
                  <a:lnTo>
                    <a:pt x="126" y="129"/>
                  </a:lnTo>
                  <a:lnTo>
                    <a:pt x="123" y="128"/>
                  </a:lnTo>
                  <a:lnTo>
                    <a:pt x="119" y="130"/>
                  </a:lnTo>
                  <a:lnTo>
                    <a:pt x="117" y="129"/>
                  </a:lnTo>
                  <a:lnTo>
                    <a:pt x="120" y="124"/>
                  </a:lnTo>
                  <a:lnTo>
                    <a:pt x="125" y="121"/>
                  </a:lnTo>
                  <a:lnTo>
                    <a:pt x="132" y="113"/>
                  </a:lnTo>
                  <a:lnTo>
                    <a:pt x="136" y="111"/>
                  </a:lnTo>
                  <a:close/>
                  <a:moveTo>
                    <a:pt x="105" y="56"/>
                  </a:moveTo>
                  <a:lnTo>
                    <a:pt x="102" y="59"/>
                  </a:lnTo>
                  <a:lnTo>
                    <a:pt x="101" y="61"/>
                  </a:lnTo>
                  <a:lnTo>
                    <a:pt x="99" y="61"/>
                  </a:lnTo>
                  <a:lnTo>
                    <a:pt x="97" y="58"/>
                  </a:lnTo>
                  <a:lnTo>
                    <a:pt x="102" y="57"/>
                  </a:lnTo>
                  <a:lnTo>
                    <a:pt x="105" y="56"/>
                  </a:lnTo>
                  <a:close/>
                  <a:moveTo>
                    <a:pt x="77" y="0"/>
                  </a:moveTo>
                  <a:lnTo>
                    <a:pt x="80" y="2"/>
                  </a:lnTo>
                  <a:lnTo>
                    <a:pt x="77" y="3"/>
                  </a:lnTo>
                  <a:lnTo>
                    <a:pt x="73" y="4"/>
                  </a:lnTo>
                  <a:lnTo>
                    <a:pt x="74" y="8"/>
                  </a:lnTo>
                  <a:lnTo>
                    <a:pt x="71" y="10"/>
                  </a:lnTo>
                  <a:lnTo>
                    <a:pt x="67" y="8"/>
                  </a:lnTo>
                  <a:lnTo>
                    <a:pt x="64" y="8"/>
                  </a:lnTo>
                  <a:lnTo>
                    <a:pt x="65" y="4"/>
                  </a:lnTo>
                  <a:lnTo>
                    <a:pt x="69" y="2"/>
                  </a:lnTo>
                  <a:lnTo>
                    <a:pt x="71" y="1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DC7306"/>
            </a:solidFill>
            <a:ln w="635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k-SK" sz="1801"/>
            </a:p>
          </p:txBody>
        </p:sp>
      </p:grpSp>
    </p:spTree>
    <p:extLst>
      <p:ext uri="{BB962C8B-B14F-4D97-AF65-F5344CB8AC3E}">
        <p14:creationId xmlns:p14="http://schemas.microsoft.com/office/powerpoint/2010/main" val="2239843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7708B-590D-0B9E-7D72-8DD9184F7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83A513F2-E01A-3323-6BCB-4F52815E5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BFF551A-A3AE-9C4D-08D9-EC76FB419E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91CD989-9FBC-06CE-70E7-A0C7ECAFB6A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309879"/>
            <a:ext cx="8351281" cy="5004293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o-lives at MARI</a:t>
            </a:r>
          </a:p>
          <a:p>
            <a:pPr algn="l"/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Baltics TSO Elering, AST and Litgrid successfully accessed the MARI platform on October 2nd, 4th and 8th, 2024.</a:t>
            </a:r>
          </a:p>
          <a:p>
            <a:pPr algn="l"/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reby, the Estonian, Lithuanian, and Latvian national markets are connected to the MARI platform in accordance with the EB Regulation, allowing now interchanges of balancing energy from mFRR.</a:t>
            </a:r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nk to the </a:t>
            </a:r>
            <a:r>
              <a:rPr lang="en-US" dirty="0">
                <a:hlinkClick r:id="rId3"/>
              </a:rPr>
              <a:t>241010_Communication_note_Baltic_TSOs__Elering__AST_and_Litgrid__go-live.pdf</a:t>
            </a:r>
            <a:endParaRPr lang="en-US" dirty="0"/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o-lives at PICASSO</a:t>
            </a:r>
          </a:p>
          <a:p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 11. October, Energinet.dk joint PICASSO with both LFC-Areas EnDK1 and EnDK2, also the first exchange of aFRR took place between different synchronous areas. Due to several operational and technical issues, the go-live procedure lasted from 2</a:t>
            </a:r>
            <a:r>
              <a:rPr lang="en-US" i="1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d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October to 11</a:t>
            </a:r>
            <a:r>
              <a:rPr lang="en-US" i="1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</a:t>
            </a:r>
          </a:p>
          <a:p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 17. October, TenneT NL joint PICASSO. The first attempt on the 15</a:t>
            </a:r>
            <a:r>
              <a:rPr lang="en-US" i="1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 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ctober was stopped due to a configuration issue.</a:t>
            </a:r>
          </a:p>
          <a:p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 5. November, SEPS joint PICASSO</a:t>
            </a:r>
          </a:p>
          <a:p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nk to the press release: </a:t>
            </a:r>
            <a:r>
              <a:rPr lang="en-US" dirty="0">
                <a:hlinkClick r:id="rId4"/>
              </a:rPr>
              <a:t>PICASSO_press_release_platform_accession_Energinet_and_TenneT_NL.pdf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r>
              <a:rPr lang="en-US" dirty="0">
                <a:hlinkClick r:id="rId5"/>
              </a:rPr>
              <a:t>PICASSO_press_release_platform_accession_SEPS_for_ENTSO-E.pdf</a:t>
            </a:r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77940D-00D8-E52C-D50F-70AAF0084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2462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7708B-590D-0B9E-7D72-8DD9184F7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83A513F2-E01A-3323-6BCB-4F52815E5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BFF551A-A3AE-9C4D-08D9-EC76FB419E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91CD989-9FBC-06CE-70E7-A0C7ECAFB6A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309879"/>
            <a:ext cx="8351281" cy="5004293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astic demand in PICASSO</a:t>
            </a: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th the Go-live of PICASSO, the first TSO is using the “elastic demand” concept. </a:t>
            </a: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mathematical description of the elastic demand is included in the public AOF description of PICASSO: </a:t>
            </a:r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de-DE" dirty="0">
                <a:hlinkClick r:id="rId3"/>
              </a:rPr>
              <a:t>Data View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publications related to the elastic demand are available on the TransnetBW Homepage: </a:t>
            </a:r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dirty="0">
                <a:hlinkClick r:id="rId4"/>
              </a:rPr>
              <a:t>PICASSO - Ancillary Services - Energy Market – TransnetBW</a:t>
            </a:r>
            <a:endParaRPr lang="en-US" dirty="0"/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ublic Stakeholder Workshop</a:t>
            </a: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annual Balancing platforms stakeholders' workshop will take place on 11</a:t>
            </a:r>
            <a:r>
              <a:rPr lang="en-US" baseline="30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cember, </a:t>
            </a: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rom 1pm to 4 pm. </a:t>
            </a:r>
          </a:p>
          <a:p>
            <a:r>
              <a:rPr lang="de-DE" dirty="0" err="1">
                <a:hlinkClick r:id="rId5"/>
              </a:rPr>
              <a:t>Balancing</a:t>
            </a:r>
            <a:r>
              <a:rPr lang="de-DE" dirty="0">
                <a:hlinkClick r:id="rId5"/>
              </a:rPr>
              <a:t> </a:t>
            </a:r>
            <a:r>
              <a:rPr lang="de-DE" dirty="0" err="1">
                <a:hlinkClick r:id="rId5"/>
              </a:rPr>
              <a:t>platforms</a:t>
            </a:r>
            <a:r>
              <a:rPr lang="de-DE" dirty="0">
                <a:hlinkClick r:id="rId5"/>
              </a:rPr>
              <a:t> </a:t>
            </a:r>
            <a:r>
              <a:rPr lang="de-DE" dirty="0" err="1">
                <a:hlinkClick r:id="rId5"/>
              </a:rPr>
              <a:t>stakeholders</a:t>
            </a:r>
            <a:r>
              <a:rPr lang="de-DE" dirty="0">
                <a:hlinkClick r:id="rId5"/>
              </a:rPr>
              <a:t>' </a:t>
            </a:r>
            <a:r>
              <a:rPr lang="de-DE" dirty="0" err="1">
                <a:hlinkClick r:id="rId5"/>
              </a:rPr>
              <a:t>workshop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77940D-00D8-E52C-D50F-70AAF0084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085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PICASSO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: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ession Roadmap based on 26.9. published version</a:t>
            </a:r>
          </a:p>
          <a:p>
            <a:r>
              <a:rPr lang="en-US" dirty="0">
                <a:hlinkClick r:id="rId3"/>
              </a:rPr>
              <a:t>PICASSO_12th_Accession_roadmap_ext.pdf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69ACF77-97A5-3CF1-BBCA-9FB71A3C2C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709" y="1804971"/>
            <a:ext cx="6767849" cy="4531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1090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PICASSO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: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ession Roadmap based on 26.9. published version / footnotes</a:t>
            </a: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2219BC0-7CC4-222E-E401-CF3A466975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662928"/>
            <a:ext cx="8269150" cy="182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463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890A1F-7D81-528C-8DCB-3D4BC9F98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3474027A-113B-A837-60CD-C7C8FCEAE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E8242BF-6BEE-D967-4DDE-5CCAFCD228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MARI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101C63C-7E86-E5CD-39E1-F85ABCE435E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: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ccession Roadmap based on 10.10 published version </a:t>
            </a:r>
            <a:r>
              <a:rPr lang="en-US" dirty="0">
                <a:hlinkClick r:id="rId3"/>
              </a:rPr>
              <a:t>MARI_Accession_roadmap_OCT_2024.pdf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3A63C4-E90F-CF9D-E528-3F3440DA8D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CCE40B0-681A-E0AC-B354-D86FABCC60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999" y="1642868"/>
            <a:ext cx="6807935" cy="4978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671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MARI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: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ession Roadmap based on 10.10. published version / footnotes</a:t>
            </a: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AF7D811-EAAA-74B8-0137-8039D1D2C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999" y="1687393"/>
            <a:ext cx="6769994" cy="4209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685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MARI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d </a:t>
            </a:r>
            <a:r>
              <a:rPr lang="en-US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ectrica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cceleration of accession to MARI:</a:t>
            </a: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 the request of the NRA, RE from Spain intends to access th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FRR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latform already in December 2024 and not in February 2025, as stated in the published accession roadmaps. RE has already informed local stakehol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haring of ATC (from RTE) is allowing participation of RE and REN in exchanges of balancing energy with other MARI operational TSOs (APG, German TSOs, CEPS)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32071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Magnus Red 4ENERGY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2.xml><?xml version="1.0" encoding="utf-8"?>
<a:theme xmlns:a="http://schemas.openxmlformats.org/drawingml/2006/main" name="12_Magnus Red 4ENERGY">
  <a:themeElements>
    <a:clrScheme name="MARI PMO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B5905"/>
      </a:accent1>
      <a:accent2>
        <a:srgbClr val="0078AA"/>
      </a:accent2>
      <a:accent3>
        <a:srgbClr val="5F5F5F"/>
      </a:accent3>
      <a:accent4>
        <a:srgbClr val="DC7306"/>
      </a:accent4>
      <a:accent5>
        <a:srgbClr val="E4002B"/>
      </a:accent5>
      <a:accent6>
        <a:srgbClr val="BFBFBF"/>
      </a:accent6>
      <a:hlink>
        <a:srgbClr val="3F3F3F"/>
      </a:hlink>
      <a:folHlink>
        <a:srgbClr val="A5A5A5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7FA2B128EEFB42966526B431863192" ma:contentTypeVersion="3" ma:contentTypeDescription="Create a new document." ma:contentTypeScope="" ma:versionID="b571e774194a608990b7871124e4bbb9">
  <xsd:schema xmlns:xsd="http://www.w3.org/2001/XMLSchema" xmlns:xs="http://www.w3.org/2001/XMLSchema" xmlns:p="http://schemas.microsoft.com/office/2006/metadata/properties" xmlns:ns2="f89569d2-067d-48de-ab35-d2ef9d0f13c9" targetNamespace="http://schemas.microsoft.com/office/2006/metadata/properties" ma:root="true" ma:fieldsID="c2b70cf290f5c2d8978e13b112a65cc5" ns2:_="">
    <xsd:import namespace="f89569d2-067d-48de-ab35-d2ef9d0f13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9569d2-067d-48de-ab35-d2ef9d0f13c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0253D32-09FC-47BD-AF51-984B94A0C9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9569d2-067d-48de-ab35-d2ef9d0f13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396C6EC-B670-4B8B-B6A1-D1F3B660B840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89569d2-067d-48de-ab35-d2ef9d0f13c9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470D290-21E3-4C5B-AA28-46F7A54A636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89738c2-04c6-4350-92ad-ce129e1deca5}" enabled="1" method="Privileged" siteId="{5a599c86-6e50-4562-81a7-1b85777f7db7}" contentBits="0" removed="0"/>
  <clbl:label id="{eb769cfb-dd8b-4bb8-a400-4916379695bd}" enabled="1" method="Privileged" siteId="{d602ad75-52f3-4a9e-930c-683bb9414935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669</Words>
  <Application>Microsoft Office PowerPoint</Application>
  <PresentationFormat>A4 Paper (210x297 mm)</PresentationFormat>
  <Paragraphs>104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Unicode MS</vt:lpstr>
      <vt:lpstr>Calibri</vt:lpstr>
      <vt:lpstr>Wingdings</vt:lpstr>
      <vt:lpstr>11_Magnus Red 4ENERGY</vt:lpstr>
      <vt:lpstr>12_Magnus Red 4ENERGY</vt:lpstr>
      <vt:lpstr>think-cell Folie</vt:lpstr>
      <vt:lpstr>PowerPoint Presentation</vt:lpstr>
      <vt:lpstr>Introduction</vt:lpstr>
      <vt:lpstr>Recent developments and updates</vt:lpstr>
      <vt:lpstr>Recent developments and updates</vt:lpstr>
      <vt:lpstr>Recent developments and updates</vt:lpstr>
      <vt:lpstr>Recent developments and updates</vt:lpstr>
      <vt:lpstr>Recent developments and updates</vt:lpstr>
      <vt:lpstr>Recent developments and updates</vt:lpstr>
      <vt:lpstr>Recent developments and updat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oph Hindersmann</dc:creator>
  <cp:lastModifiedBy>Kristine Marcina</cp:lastModifiedBy>
  <cp:revision>367</cp:revision>
  <dcterms:created xsi:type="dcterms:W3CDTF">2018-12-04T09:56:18Z</dcterms:created>
  <dcterms:modified xsi:type="dcterms:W3CDTF">2024-11-25T20:3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7FA2B128EEFB42966526B431863192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11_Magnus Red 4ENERGY:6\12_Magnus Red 4ENERGY:7</vt:lpwstr>
  </property>
  <property fmtid="{D5CDD505-2E9C-101B-9397-08002B2CF9AE}" pid="5" name="ClassificationContentMarkingFooterText">
    <vt:lpwstr>Klasifikace: Veřejné</vt:lpwstr>
  </property>
  <property fmtid="{D5CDD505-2E9C-101B-9397-08002B2CF9AE}" pid="6" name="ClassificationContentMarkingHeaderLocations">
    <vt:lpwstr>11_Magnus Red 4ENERGY:6\12_Magnus Red 4ENERGY:8</vt:lpwstr>
  </property>
  <property fmtid="{D5CDD505-2E9C-101B-9397-08002B2CF9AE}" pid="7" name="ClassificationContentMarkingHeaderText">
    <vt:lpwstr>Intern (Internal)</vt:lpwstr>
  </property>
</Properties>
</file>